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heme/theme4.xml" ContentType="application/vnd.openxmlformats-officedocument.theme+xml"/>
  <Override PartName="/ppt/tags/tag4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30" r:id="rId2"/>
    <p:sldMasterId id="2147483765" r:id="rId3"/>
  </p:sldMasterIdLst>
  <p:notesMasterIdLst>
    <p:notesMasterId r:id="rId34"/>
  </p:notesMasterIdLst>
  <p:sldIdLst>
    <p:sldId id="270" r:id="rId4"/>
    <p:sldId id="3169" r:id="rId5"/>
    <p:sldId id="3168" r:id="rId6"/>
    <p:sldId id="3166" r:id="rId7"/>
    <p:sldId id="3155" r:id="rId8"/>
    <p:sldId id="1646" r:id="rId9"/>
    <p:sldId id="3174" r:id="rId10"/>
    <p:sldId id="352" r:id="rId11"/>
    <p:sldId id="3176" r:id="rId12"/>
    <p:sldId id="3175" r:id="rId13"/>
    <p:sldId id="296" r:id="rId14"/>
    <p:sldId id="297" r:id="rId15"/>
    <p:sldId id="298" r:id="rId16"/>
    <p:sldId id="3142" r:id="rId17"/>
    <p:sldId id="3146" r:id="rId18"/>
    <p:sldId id="3177" r:id="rId19"/>
    <p:sldId id="3164" r:id="rId20"/>
    <p:sldId id="334" r:id="rId21"/>
    <p:sldId id="1606" r:id="rId22"/>
    <p:sldId id="357" r:id="rId23"/>
    <p:sldId id="363" r:id="rId24"/>
    <p:sldId id="3179" r:id="rId25"/>
    <p:sldId id="3180" r:id="rId26"/>
    <p:sldId id="3181" r:id="rId27"/>
    <p:sldId id="3182" r:id="rId28"/>
    <p:sldId id="3183" r:id="rId29"/>
    <p:sldId id="590" r:id="rId30"/>
    <p:sldId id="3188" r:id="rId31"/>
    <p:sldId id="3184" r:id="rId32"/>
    <p:sldId id="336"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C12A1"/>
    <a:srgbClr val="6600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00" autoAdjust="0"/>
    <p:restoredTop sz="94660"/>
  </p:normalViewPr>
  <p:slideViewPr>
    <p:cSldViewPr snapToGrid="0">
      <p:cViewPr varScale="1">
        <p:scale>
          <a:sx n="63" d="100"/>
          <a:sy n="63" d="100"/>
        </p:scale>
        <p:origin x="72" y="435"/>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21" Type="http://schemas.openxmlformats.org/officeDocument/2006/relationships/slide" Target="slides/slide18.xml"/><Relationship Id="rId34" Type="http://schemas.openxmlformats.org/officeDocument/2006/relationships/notesMaster" Target="notesMasters/notes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presProps" Target="presProps.xml"/><Relationship Id="rId8" Type="http://schemas.openxmlformats.org/officeDocument/2006/relationships/slide" Target="slides/slide5.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AB83749-885D-48D1-967F-00BB69D4C2F7}" type="datetimeFigureOut">
              <a:rPr lang="en-US" smtClean="0"/>
              <a:t>4/5/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6EF25D8-4119-41F2-9CE7-23F1B694E9C2}" type="slidenum">
              <a:rPr lang="en-US" smtClean="0"/>
              <a:t>‹#›</a:t>
            </a:fld>
            <a:endParaRPr lang="en-US"/>
          </a:p>
        </p:txBody>
      </p:sp>
    </p:spTree>
    <p:extLst>
      <p:ext uri="{BB962C8B-B14F-4D97-AF65-F5344CB8AC3E}">
        <p14:creationId xmlns:p14="http://schemas.microsoft.com/office/powerpoint/2010/main" val="27532534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D49899-8068-451D-AB31-C86BE8DB6C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45825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otective Lifetime Assurance UL is now one of three UL products in the Protective portfolio. </a:t>
            </a:r>
          </a:p>
          <a:p>
            <a:r>
              <a:rPr lang="en-US" dirty="0"/>
              <a:t>Prebuilt Home-It’s the most streamlined product available only with level pay case designs, specializing in lapse protection periods all the way to age 121. </a:t>
            </a:r>
          </a:p>
          <a:p>
            <a:r>
              <a:rPr lang="en-US" dirty="0"/>
              <a:t>Builder with 12 plans to choose from-Protective Advantage Choice UL is more customizable by offering the ability to take lump sums and 1035 Exchanges, along with single pay, short pay or level pay designs. </a:t>
            </a:r>
          </a:p>
          <a:p>
            <a:r>
              <a:rPr lang="en-US" dirty="0"/>
              <a:t>Custom Home - Finally, Protective Indexed Choice UL is a guaranteed indexed UL product with all of the customization of Advantage Choice UL, but with even greater flexibility based on greater cash value accumulation potentia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A6B9F4-DAEA-4315-8C62-17698F01C88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3393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otective Lifetime Assurance UL is a guaranteed universal life product available up to age 85. Lapse protection can be designed for no less than a period to age 90 or 20-years, whichever is greater. Although this is the minimum lapse protection period, having lapse protection for at least 30 years enhances the flexibility of premium timing and catching up. It doesn’t have a rolling target, but the target premium will equal the premium calculated on the illustratio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A6B9F4-DAEA-4315-8C62-17698F01C88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248659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otective Lifetime Assurance UL has a unique Return of Premium Endorsement. It offers 25% of premiums paid to date, including those for riders or substandard premiums, available on or after the 10th policy anniversary, upon full surrender. The ROP will never be more than 50% of the current death benefit at the time the ROP is invoked. Once the policy reaches the end of policy year 10, the ROP is available and never expires. It’s automatically included in the policy with all issue ages, so long as the underwriting class is anything but the tobacco class, and any substandard ratings are no higher than Table 4 or a $5 flat extra premium. There is no minimum lapse protection period required, other than the product minimum of age 90 or 20 years, to make the ROP available so long as the client meets these other eligibility conditions.</a:t>
            </a:r>
          </a:p>
        </p:txBody>
      </p:sp>
      <p:sp>
        <p:nvSpPr>
          <p:cNvPr id="4" name="Slide Number Placeholder 3"/>
          <p:cNvSpPr>
            <a:spLocks noGrp="1"/>
          </p:cNvSpPr>
          <p:nvPr>
            <p:ph type="sldNum" sz="quarter" idx="5"/>
          </p:nvPr>
        </p:nvSpPr>
        <p:spPr/>
        <p:txBody>
          <a:bodyPr/>
          <a:lstStyle/>
          <a:p>
            <a:fld id="{DAA6B9F4-DAEA-4315-8C62-17698F01C88E}" type="slidenum">
              <a:rPr lang="en-US" smtClean="0"/>
              <a:t>21</a:t>
            </a:fld>
            <a:endParaRPr lang="en-US" dirty="0"/>
          </a:p>
        </p:txBody>
      </p:sp>
    </p:spTree>
    <p:extLst>
      <p:ext uri="{BB962C8B-B14F-4D97-AF65-F5344CB8AC3E}">
        <p14:creationId xmlns:p14="http://schemas.microsoft.com/office/powerpoint/2010/main" val="20991476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D49899-8068-451D-AB31-C86BE8DB6C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76007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D49899-8068-451D-AB31-C86BE8DB6C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42830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ients may face an imposing amount of risk as they plan for the possibility of using long-term care in their lifetimes. [read from slide.]</a:t>
            </a:r>
          </a:p>
        </p:txBody>
      </p:sp>
      <p:sp>
        <p:nvSpPr>
          <p:cNvPr id="4" name="Slide Number Placeholder 3"/>
          <p:cNvSpPr>
            <a:spLocks noGrp="1"/>
          </p:cNvSpPr>
          <p:nvPr>
            <p:ph type="sldNum" sz="quarter" idx="10"/>
          </p:nvPr>
        </p:nvSpPr>
        <p:spPr/>
        <p:txBody>
          <a:bodyPr/>
          <a:lstStyle/>
          <a:p>
            <a:pPr defTabSz="942289">
              <a:defRPr/>
            </a:pPr>
            <a:fld id="{DAA6B9F4-DAEA-4315-8C62-17698F01C88E}" type="slidenum">
              <a:rPr lang="en-US">
                <a:solidFill>
                  <a:prstClr val="black"/>
                </a:solidFill>
                <a:latin typeface="Calibri"/>
              </a:rPr>
              <a:pPr defTabSz="942289">
                <a:defRPr/>
              </a:pPr>
              <a:t>27</a:t>
            </a:fld>
            <a:endParaRPr lang="en-US" dirty="0">
              <a:solidFill>
                <a:prstClr val="black"/>
              </a:solidFill>
              <a:latin typeface="Calibri"/>
            </a:endParaRPr>
          </a:p>
        </p:txBody>
      </p:sp>
    </p:spTree>
    <p:extLst>
      <p:ext uri="{BB962C8B-B14F-4D97-AF65-F5344CB8AC3E}">
        <p14:creationId xmlns:p14="http://schemas.microsoft.com/office/powerpoint/2010/main" val="13654785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D49899-8068-451D-AB31-C86BE8DB6C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33467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4" name="Slide Number Placeholder 3"/>
          <p:cNvSpPr>
            <a:spLocks noGrp="1"/>
          </p:cNvSpPr>
          <p:nvPr>
            <p:ph type="sldNum" sz="quarter" idx="10"/>
          </p:nvPr>
        </p:nvSpPr>
        <p:spPr/>
        <p:txBody>
          <a:bodyPr/>
          <a:lstStyle/>
          <a:p>
            <a:fld id="{6A335AC9-5A1D-4330-943D-A220417D4939}" type="slidenum">
              <a:rPr lang="en-US" smtClean="0">
                <a:solidFill>
                  <a:prstClr val="black"/>
                </a:solidFill>
              </a:rPr>
              <a:pPr/>
              <a:t>6</a:t>
            </a:fld>
            <a:endParaRPr lang="en-US" dirty="0">
              <a:solidFill>
                <a:prstClr val="black"/>
              </a:solidFill>
            </a:endParaRPr>
          </a:p>
        </p:txBody>
      </p:sp>
      <p:sp>
        <p:nvSpPr>
          <p:cNvPr id="5" name="Notes Placeholder 4"/>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31199066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We continue to earn high financial strength and performance ratings from major rating agencies. Its </a:t>
            </a:r>
            <a:r>
              <a:rPr lang="en-US" sz="1200" dirty="0" err="1"/>
              <a:t>comdex</a:t>
            </a:r>
            <a:r>
              <a:rPr lang="en-US" sz="1200" dirty="0"/>
              <a:t> score is 91.</a:t>
            </a:r>
            <a:endParaRPr lang="en-US" sz="1200" dirty="0">
              <a:cs typeface="Arial"/>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A6B9F4-DAEA-4315-8C62-17698F01C88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321653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86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z="1200" kern="1200" dirty="0">
                <a:solidFill>
                  <a:schemeClr val="tx1"/>
                </a:solidFill>
                <a:effectLst/>
                <a:latin typeface="+mn-lt"/>
                <a:ea typeface="+mn-ea"/>
                <a:cs typeface="+mn-cs"/>
              </a:rPr>
              <a:t>The Protective Way is the thought we put into our business, our decisions, even our product design. Our focus revolves around producers and clients, outcomes and doing what we say we will do. We’re careful about the promises we make—and then deliver on them. We work hard to avoid unwelcome surprises and disappointments for clients. We do the right thing. That commitment informs everything we do every day, large and small.</a:t>
            </a:r>
          </a:p>
          <a:p>
            <a:endParaRPr lang="en-US" alt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Of all the things we’re most proud, perhaps our products stand out the most. They reflect who we are and embody our core principles. Now,</a:t>
            </a:r>
            <a:r>
              <a:rPr lang="en-US" sz="1200" kern="1200" baseline="0" dirty="0">
                <a:solidFill>
                  <a:schemeClr val="tx1"/>
                </a:solidFill>
                <a:effectLst/>
                <a:latin typeface="+mn-lt"/>
                <a:ea typeface="+mn-ea"/>
                <a:cs typeface="+mn-cs"/>
              </a:rPr>
              <a:t> let’s talk about how Protective Indexed Choice UL can deliver for clients.</a:t>
            </a:r>
            <a:endParaRPr lang="en-US" sz="1200" kern="1200" dirty="0">
              <a:solidFill>
                <a:schemeClr val="tx1"/>
              </a:solidFill>
              <a:effectLst/>
              <a:latin typeface="+mn-lt"/>
              <a:ea typeface="+mn-ea"/>
              <a:cs typeface="+mn-cs"/>
            </a:endParaRPr>
          </a:p>
        </p:txBody>
      </p:sp>
      <p:sp>
        <p:nvSpPr>
          <p:cNvPr id="2867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p>
            <a:fld id="{3F0DC734-54BA-439B-ABA8-167178E25900}" type="slidenum">
              <a:rPr lang="en-US" altLang="en-US" smtClean="0">
                <a:solidFill>
                  <a:prstClr val="black"/>
                </a:solidFill>
                <a:latin typeface="Gill Sans"/>
                <a:ea typeface="ヒラギノ角ゴ ProN W3"/>
                <a:cs typeface="ヒラギノ角ゴ ProN W3"/>
                <a:sym typeface="Gill Sans"/>
              </a:rPr>
              <a:pPr/>
              <a:t>8</a:t>
            </a:fld>
            <a:endParaRPr lang="en-US" altLang="en-US">
              <a:solidFill>
                <a:prstClr val="black"/>
              </a:solidFill>
              <a:latin typeface="Gill Sans"/>
              <a:ea typeface="ヒラギノ角ゴ ProN W3"/>
              <a:cs typeface="ヒラギノ角ゴ ProN W3"/>
              <a:sym typeface="Gill Sans"/>
            </a:endParaRPr>
          </a:p>
        </p:txBody>
      </p:sp>
      <p:sp>
        <p:nvSpPr>
          <p:cNvPr id="2" name="Date Placeholder 1"/>
          <p:cNvSpPr>
            <a:spLocks noGrp="1"/>
          </p:cNvSpPr>
          <p:nvPr>
            <p:ph type="dt" idx="10"/>
          </p:nvPr>
        </p:nvSpPr>
        <p:spPr/>
        <p:txBody>
          <a:bodyPr/>
          <a:lstStyle/>
          <a:p>
            <a:pPr>
              <a:defRPr/>
            </a:pPr>
            <a:endParaRPr lang="en-US" dirty="0">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D49899-8068-451D-AB31-C86BE8DB6C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64800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D49899-8068-451D-AB31-C86BE8DB6C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13200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DD49899-8068-451D-AB31-C86BE8DB6CC1}" type="slidenum">
              <a:rPr lang="en-US" smtClean="0"/>
              <a:t>17</a:t>
            </a:fld>
            <a:endParaRPr lang="en-US"/>
          </a:p>
        </p:txBody>
      </p:sp>
    </p:spTree>
    <p:extLst>
      <p:ext uri="{BB962C8B-B14F-4D97-AF65-F5344CB8AC3E}">
        <p14:creationId xmlns:p14="http://schemas.microsoft.com/office/powerpoint/2010/main" val="19556207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9363">
              <a:spcBef>
                <a:spcPct val="0"/>
              </a:spcBef>
              <a:defRPr/>
            </a:pPr>
            <a:r>
              <a:rPr lang="en-US" sz="1000" dirty="0">
                <a:latin typeface="Arial" panose="020B0604020202020204" pitchFamily="34" charset="0"/>
                <a:cs typeface="Arial" panose="020B0604020202020204" pitchFamily="34" charset="0"/>
              </a:rPr>
              <a:t>Before we wrap up today’s presentation, I want to go over the transition rules.</a:t>
            </a:r>
          </a:p>
          <a:p>
            <a:pPr defTabSz="939363">
              <a:spcBef>
                <a:spcPct val="0"/>
              </a:spcBef>
              <a:defRPr/>
            </a:pPr>
            <a:endParaRPr lang="en-US" sz="1000" dirty="0">
              <a:latin typeface="Arial" panose="020B0604020202020204" pitchFamily="34" charset="0"/>
              <a:cs typeface="Arial" panose="020B0604020202020204" pitchFamily="34" charset="0"/>
            </a:endParaRPr>
          </a:p>
          <a:p>
            <a:pPr defTabSz="939363">
              <a:spcBef>
                <a:spcPct val="0"/>
              </a:spcBef>
              <a:defRPr/>
            </a:pPr>
            <a:r>
              <a:rPr lang="en-US" sz="1000" dirty="0">
                <a:latin typeface="Arial" panose="020B0604020202020204" pitchFamily="34" charset="0"/>
                <a:cs typeface="Arial" panose="020B0604020202020204" pitchFamily="34" charset="0"/>
              </a:rPr>
              <a:t>&lt;&lt;Slides 14 and 15 can be omitted if we passed the transition period&gt;&gt;</a:t>
            </a:r>
          </a:p>
        </p:txBody>
      </p:sp>
      <p:sp>
        <p:nvSpPr>
          <p:cNvPr id="4" name="Slide Number Placeholder 3"/>
          <p:cNvSpPr>
            <a:spLocks noGrp="1"/>
          </p:cNvSpPr>
          <p:nvPr>
            <p:ph type="sldNum" sz="quarter" idx="10"/>
          </p:nvPr>
        </p:nvSpPr>
        <p:spPr/>
        <p:txBody>
          <a:bodyPr/>
          <a:lstStyle/>
          <a:p>
            <a:fld id="{F6F5C079-8312-4520-A5B0-914A29BA2CAC}"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28140124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2.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image" Target="../media/image19.jpe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1.emf"/><Relationship Id="rId4" Type="http://schemas.openxmlformats.org/officeDocument/2006/relationships/oleObject" Target="../embeddings/oleObject1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1.emf"/><Relationship Id="rId4"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5.png"/><Relationship Id="rId5" Type="http://schemas.openxmlformats.org/officeDocument/2006/relationships/image" Target="../media/image13.emf"/><Relationship Id="rId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svg"/><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15.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1.xml"/><Relationship Id="rId7" Type="http://schemas.openxmlformats.org/officeDocument/2006/relationships/image" Target="../media/image7.sv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svg"/><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2.xml"/><Relationship Id="rId7" Type="http://schemas.openxmlformats.org/officeDocument/2006/relationships/image" Target="../media/image7.svg"/><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9.emf"/><Relationship Id="rId4" Type="http://schemas.openxmlformats.org/officeDocument/2006/relationships/oleObject" Target="../embeddings/oleObject5.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9.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10.emf"/><Relationship Id="rId4" Type="http://schemas.openxmlformats.org/officeDocument/2006/relationships/oleObject" Target="../embeddings/oleObject6.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svg"/><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image" Target="../media/image5.png"/><Relationship Id="rId5" Type="http://schemas.openxmlformats.org/officeDocument/2006/relationships/image" Target="../media/image10.emf"/><Relationship Id="rId4" Type="http://schemas.openxmlformats.org/officeDocument/2006/relationships/oleObject" Target="../embeddings/oleObject7.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11.emf"/><Relationship Id="rId4" Type="http://schemas.openxmlformats.org/officeDocument/2006/relationships/oleObject" Target="../embeddings/oleObject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11.emf"/><Relationship Id="rId4" Type="http://schemas.openxmlformats.org/officeDocument/2006/relationships/oleObject" Target="../embeddings/oleObject9.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11.emf"/><Relationship Id="rId4" Type="http://schemas.openxmlformats.org/officeDocument/2006/relationships/oleObject" Target="../embeddings/oleObject10.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12.emf"/><Relationship Id="rId4" Type="http://schemas.openxmlformats.org/officeDocument/2006/relationships/oleObject" Target="../embeddings/oleObject11.bin"/></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11.emf"/><Relationship Id="rId4" Type="http://schemas.openxmlformats.org/officeDocument/2006/relationships/oleObject" Target="../embeddings/oleObject12.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11.emf"/><Relationship Id="rId4" Type="http://schemas.openxmlformats.org/officeDocument/2006/relationships/oleObject" Target="../embeddings/oleObject13.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svg"/><Relationship Id="rId2" Type="http://schemas.openxmlformats.org/officeDocument/2006/relationships/tags" Target="../tags/tag29.xml"/><Relationship Id="rId1" Type="http://schemas.openxmlformats.org/officeDocument/2006/relationships/vmlDrawing" Target="../drawings/vmlDrawing29.vml"/><Relationship Id="rId6" Type="http://schemas.openxmlformats.org/officeDocument/2006/relationships/image" Target="../media/image5.png"/><Relationship Id="rId5" Type="http://schemas.openxmlformats.org/officeDocument/2006/relationships/image" Target="../media/image13.emf"/><Relationship Id="rId4" Type="http://schemas.openxmlformats.org/officeDocument/2006/relationships/oleObject" Target="../embeddings/oleObject1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0.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svg"/><Relationship Id="rId2" Type="http://schemas.openxmlformats.org/officeDocument/2006/relationships/tags" Target="../tags/tag30.xml"/><Relationship Id="rId1" Type="http://schemas.openxmlformats.org/officeDocument/2006/relationships/vmlDrawing" Target="../drawings/vmlDrawing30.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15.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5.png"/><Relationship Id="rId5" Type="http://schemas.openxmlformats.org/officeDocument/2006/relationships/image" Target="../media/image10.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svg"/><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3.xml"/><Relationship Id="rId7" Type="http://schemas.openxmlformats.org/officeDocument/2006/relationships/image" Target="../media/image7.svg"/><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5.vml"/><Relationship Id="rId5" Type="http://schemas.openxmlformats.org/officeDocument/2006/relationships/image" Target="../media/image9.emf"/><Relationship Id="rId4" Type="http://schemas.openxmlformats.org/officeDocument/2006/relationships/oleObject" Target="../embeddings/oleObject5.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36.vml"/><Relationship Id="rId5" Type="http://schemas.openxmlformats.org/officeDocument/2006/relationships/image" Target="../media/image10.emf"/><Relationship Id="rId4" Type="http://schemas.openxmlformats.org/officeDocument/2006/relationships/oleObject" Target="../embeddings/oleObject6.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svg"/><Relationship Id="rId2" Type="http://schemas.openxmlformats.org/officeDocument/2006/relationships/tags" Target="../tags/tag37.xml"/><Relationship Id="rId1" Type="http://schemas.openxmlformats.org/officeDocument/2006/relationships/vmlDrawing" Target="../drawings/vmlDrawing37.vml"/><Relationship Id="rId6" Type="http://schemas.openxmlformats.org/officeDocument/2006/relationships/image" Target="../media/image5.png"/><Relationship Id="rId5" Type="http://schemas.openxmlformats.org/officeDocument/2006/relationships/image" Target="../media/image10.emf"/><Relationship Id="rId4" Type="http://schemas.openxmlformats.org/officeDocument/2006/relationships/oleObject" Target="../embeddings/oleObject7.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vmlDrawing" Target="../drawings/vmlDrawing38.vml"/><Relationship Id="rId5" Type="http://schemas.openxmlformats.org/officeDocument/2006/relationships/image" Target="../media/image11.emf"/><Relationship Id="rId4" Type="http://schemas.openxmlformats.org/officeDocument/2006/relationships/oleObject" Target="../embeddings/oleObject8.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vmlDrawing" Target="../drawings/vmlDrawing39.vml"/><Relationship Id="rId5" Type="http://schemas.openxmlformats.org/officeDocument/2006/relationships/image" Target="../media/image11.emf"/><Relationship Id="rId4" Type="http://schemas.openxmlformats.org/officeDocument/2006/relationships/oleObject" Target="../embeddings/oleObject9.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vmlDrawing" Target="../drawings/vmlDrawing40.vml"/><Relationship Id="rId5" Type="http://schemas.openxmlformats.org/officeDocument/2006/relationships/image" Target="../media/image11.emf"/><Relationship Id="rId4" Type="http://schemas.openxmlformats.org/officeDocument/2006/relationships/oleObject" Target="../embeddings/oleObject10.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vmlDrawing" Target="../drawings/vmlDrawing41.vml"/><Relationship Id="rId5" Type="http://schemas.openxmlformats.org/officeDocument/2006/relationships/image" Target="../media/image12.emf"/><Relationship Id="rId4" Type="http://schemas.openxmlformats.org/officeDocument/2006/relationships/oleObject" Target="../embeddings/oleObject11.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vmlDrawing" Target="../drawings/vmlDrawing42.vml"/><Relationship Id="rId5" Type="http://schemas.openxmlformats.org/officeDocument/2006/relationships/image" Target="../media/image11.emf"/><Relationship Id="rId4" Type="http://schemas.openxmlformats.org/officeDocument/2006/relationships/oleObject" Target="../embeddings/oleObject12.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3.xml"/><Relationship Id="rId1" Type="http://schemas.openxmlformats.org/officeDocument/2006/relationships/vmlDrawing" Target="../drawings/vmlDrawing43.vml"/><Relationship Id="rId5" Type="http://schemas.openxmlformats.org/officeDocument/2006/relationships/image" Target="../media/image11.emf"/><Relationship Id="rId4" Type="http://schemas.openxmlformats.org/officeDocument/2006/relationships/oleObject" Target="../embeddings/oleObject13.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svg"/><Relationship Id="rId2" Type="http://schemas.openxmlformats.org/officeDocument/2006/relationships/tags" Target="../tags/tag44.xml"/><Relationship Id="rId1" Type="http://schemas.openxmlformats.org/officeDocument/2006/relationships/vmlDrawing" Target="../drawings/vmlDrawing44.vml"/><Relationship Id="rId6" Type="http://schemas.openxmlformats.org/officeDocument/2006/relationships/image" Target="../media/image5.png"/><Relationship Id="rId5" Type="http://schemas.openxmlformats.org/officeDocument/2006/relationships/image" Target="../media/image13.emf"/><Relationship Id="rId4" Type="http://schemas.openxmlformats.org/officeDocument/2006/relationships/oleObject" Target="../embeddings/oleObject14.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7.svg"/><Relationship Id="rId2" Type="http://schemas.openxmlformats.org/officeDocument/2006/relationships/tags" Target="../tags/tag45.xml"/><Relationship Id="rId1" Type="http://schemas.openxmlformats.org/officeDocument/2006/relationships/vmlDrawing" Target="../drawings/vmlDrawing45.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15.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6E5EC05-B70E-0449-BE8C-62E577850024}"/>
              </a:ext>
            </a:extLst>
          </p:cNvPr>
          <p:cNvGraphicFramePr>
            <a:graphicFrameLocks noChangeAspect="1"/>
          </p:cNvGraphicFramePr>
          <p:nvPr>
            <p:custDataLst>
              <p:tags r:id="rId2"/>
            </p:custDataLst>
            <p:extLst>
              <p:ext uri="{D42A27DB-BD31-4B8C-83A1-F6EECF244321}">
                <p14:modId xmlns:p14="http://schemas.microsoft.com/office/powerpoint/2010/main" val="38461206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7433"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96E5EC05-B70E-0449-BE8C-62E57785002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Subtitle 2"/>
          <p:cNvSpPr>
            <a:spLocks noGrp="1"/>
          </p:cNvSpPr>
          <p:nvPr>
            <p:ph type="subTitle" idx="1" hasCustomPrompt="1"/>
          </p:nvPr>
        </p:nvSpPr>
        <p:spPr>
          <a:xfrm>
            <a:off x="914400" y="3538907"/>
            <a:ext cx="9448800" cy="1147393"/>
          </a:xfrm>
        </p:spPr>
        <p:txBody>
          <a:bodyPr/>
          <a:lstStyle>
            <a:lvl1pPr marL="0" indent="0" algn="l">
              <a:buNone/>
              <a:defRPr sz="3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or subtitle</a:t>
            </a:r>
          </a:p>
        </p:txBody>
      </p:sp>
      <p:sp>
        <p:nvSpPr>
          <p:cNvPr id="2" name="Title 1"/>
          <p:cNvSpPr>
            <a:spLocks noGrp="1"/>
          </p:cNvSpPr>
          <p:nvPr>
            <p:ph type="ctrTitle"/>
          </p:nvPr>
        </p:nvSpPr>
        <p:spPr>
          <a:xfrm>
            <a:off x="914400" y="1600200"/>
            <a:ext cx="10363200" cy="2000251"/>
          </a:xfrm>
        </p:spPr>
        <p:txBody>
          <a:bodyPr vert="horz" anchor="b"/>
          <a:lstStyle>
            <a:lvl1pPr>
              <a:defRPr sz="4800">
                <a:solidFill>
                  <a:schemeClr val="tx2"/>
                </a:solidFill>
              </a:defRPr>
            </a:lvl1pPr>
          </a:lstStyle>
          <a:p>
            <a:r>
              <a:rPr lang="en-US"/>
              <a:t>Click to edit Master title style</a:t>
            </a:r>
          </a:p>
        </p:txBody>
      </p:sp>
      <p:sp>
        <p:nvSpPr>
          <p:cNvPr id="7" name="Text Placeholder 3">
            <a:extLst>
              <a:ext uri="{FF2B5EF4-FFF2-40B4-BE49-F238E27FC236}">
                <a16:creationId xmlns:a16="http://schemas.microsoft.com/office/drawing/2014/main" id="{5740C42A-E075-6949-900C-E63BE9FB862C}"/>
              </a:ext>
            </a:extLst>
          </p:cNvPr>
          <p:cNvSpPr>
            <a:spLocks noGrp="1"/>
          </p:cNvSpPr>
          <p:nvPr>
            <p:ph type="body" sz="half" idx="2" hasCustomPrompt="1"/>
          </p:nvPr>
        </p:nvSpPr>
        <p:spPr>
          <a:xfrm>
            <a:off x="914399" y="6169025"/>
            <a:ext cx="3706285" cy="462819"/>
          </a:xfrm>
        </p:spPr>
        <p:txBody>
          <a:bodyPr anchor="b"/>
          <a:lstStyle>
            <a:lvl1pPr marL="0" indent="0">
              <a:buNone/>
              <a:defRPr sz="180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date</a:t>
            </a:r>
          </a:p>
        </p:txBody>
      </p:sp>
      <p:sp>
        <p:nvSpPr>
          <p:cNvPr id="9" name="TextBox 8">
            <a:extLst>
              <a:ext uri="{FF2B5EF4-FFF2-40B4-BE49-F238E27FC236}">
                <a16:creationId xmlns:a16="http://schemas.microsoft.com/office/drawing/2014/main" id="{733C8FB4-9A4D-AF4D-A6E6-B12D36795417}"/>
              </a:ext>
            </a:extLst>
          </p:cNvPr>
          <p:cNvSpPr txBox="1"/>
          <p:nvPr/>
        </p:nvSpPr>
        <p:spPr>
          <a:xfrm>
            <a:off x="9282514" y="6368176"/>
            <a:ext cx="2223686" cy="246221"/>
          </a:xfrm>
          <a:prstGeom prst="rect">
            <a:avLst/>
          </a:prstGeom>
          <a:noFill/>
        </p:spPr>
        <p:txBody>
          <a:bodyPr wrap="none" lIns="0" tIns="0" rIns="0" bIns="0" rtlCol="0" anchor="b">
            <a:noAutofit/>
          </a:bodyPr>
          <a:lstStyle/>
          <a:p>
            <a:pPr algn="r"/>
            <a:r>
              <a:rPr lang="en-US" sz="1000" dirty="0">
                <a:solidFill>
                  <a:schemeClr val="tx2"/>
                </a:solidFill>
              </a:rPr>
              <a:t>Confidential—do not copy or distribute</a:t>
            </a:r>
          </a:p>
        </p:txBody>
      </p:sp>
      <p:pic>
        <p:nvPicPr>
          <p:cNvPr id="10" name="Graphic 9">
            <a:extLst>
              <a:ext uri="{FF2B5EF4-FFF2-40B4-BE49-F238E27FC236}">
                <a16:creationId xmlns:a16="http://schemas.microsoft.com/office/drawing/2014/main" id="{38E64605-F0BA-FB47-BA44-1B4718D042C3}"/>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917576" y="457200"/>
            <a:ext cx="2057398" cy="439079"/>
          </a:xfrm>
          <a:prstGeom prst="rect">
            <a:avLst/>
          </a:prstGeom>
        </p:spPr>
      </p:pic>
      <p:sp>
        <p:nvSpPr>
          <p:cNvPr id="17" name="Graphic 15">
            <a:extLst>
              <a:ext uri="{FF2B5EF4-FFF2-40B4-BE49-F238E27FC236}">
                <a16:creationId xmlns:a16="http://schemas.microsoft.com/office/drawing/2014/main" id="{C3993FF1-66A1-8047-94FB-57CAB5A2A53C}"/>
              </a:ext>
            </a:extLst>
          </p:cNvPr>
          <p:cNvSpPr/>
          <p:nvPr/>
        </p:nvSpPr>
        <p:spPr>
          <a:xfrm>
            <a:off x="0" y="0"/>
            <a:ext cx="11495956" cy="6858000"/>
          </a:xfrm>
          <a:custGeom>
            <a:avLst/>
            <a:gdLst>
              <a:gd name="connsiteX0" fmla="*/ 913727 w 11495956"/>
              <a:gd name="connsiteY0" fmla="*/ 5845175 h 6858000"/>
              <a:gd name="connsiteX1" fmla="*/ 0 w 11495956"/>
              <a:gd name="connsiteY1" fmla="*/ 5707507 h 6858000"/>
              <a:gd name="connsiteX2" fmla="*/ 0 w 11495956"/>
              <a:gd name="connsiteY2" fmla="*/ 5674868 h 6858000"/>
              <a:gd name="connsiteX3" fmla="*/ 915631 w 11495956"/>
              <a:gd name="connsiteY3" fmla="*/ 5813425 h 6858000"/>
              <a:gd name="connsiteX4" fmla="*/ 1314117 w 11495956"/>
              <a:gd name="connsiteY4" fmla="*/ 5826125 h 6858000"/>
              <a:gd name="connsiteX5" fmla="*/ 3163400 w 11495956"/>
              <a:gd name="connsiteY5" fmla="*/ 5582158 h 6858000"/>
              <a:gd name="connsiteX6" fmla="*/ 5592518 w 11495956"/>
              <a:gd name="connsiteY6" fmla="*/ 4582414 h 6858000"/>
              <a:gd name="connsiteX7" fmla="*/ 7672262 w 11495956"/>
              <a:gd name="connsiteY7" fmla="*/ 2977007 h 6858000"/>
              <a:gd name="connsiteX8" fmla="*/ 8996405 w 11495956"/>
              <a:gd name="connsiteY8" fmla="*/ 1144651 h 6858000"/>
              <a:gd name="connsiteX9" fmla="*/ 9404536 w 11495956"/>
              <a:gd name="connsiteY9" fmla="*/ 0 h 6858000"/>
              <a:gd name="connsiteX10" fmla="*/ 9436897 w 11495956"/>
              <a:gd name="connsiteY10" fmla="*/ 0 h 6858000"/>
              <a:gd name="connsiteX11" fmla="*/ 9024832 w 11495956"/>
              <a:gd name="connsiteY11" fmla="*/ 1158621 h 6858000"/>
              <a:gd name="connsiteX12" fmla="*/ 7695105 w 11495956"/>
              <a:gd name="connsiteY12" fmla="*/ 2999232 h 6858000"/>
              <a:gd name="connsiteX13" fmla="*/ 5608381 w 11495956"/>
              <a:gd name="connsiteY13" fmla="*/ 4609846 h 6858000"/>
              <a:gd name="connsiteX14" fmla="*/ 3171775 w 11495956"/>
              <a:gd name="connsiteY14" fmla="*/ 5613146 h 6858000"/>
              <a:gd name="connsiteX15" fmla="*/ 1314752 w 11495956"/>
              <a:gd name="connsiteY15" fmla="*/ 5858002 h 6858000"/>
              <a:gd name="connsiteX16" fmla="*/ 913727 w 11495956"/>
              <a:gd name="connsiteY16" fmla="*/ 5845175 h 6858000"/>
              <a:gd name="connsiteX17" fmla="*/ 10845433 w 11495956"/>
              <a:gd name="connsiteY17" fmla="*/ 2059432 h 6858000"/>
              <a:gd name="connsiteX18" fmla="*/ 11495956 w 11495956"/>
              <a:gd name="connsiteY18" fmla="*/ 0 h 6858000"/>
              <a:gd name="connsiteX19" fmla="*/ 11463849 w 11495956"/>
              <a:gd name="connsiteY19" fmla="*/ 0 h 6858000"/>
              <a:gd name="connsiteX20" fmla="*/ 10816626 w 11495956"/>
              <a:gd name="connsiteY20" fmla="*/ 2045335 h 6858000"/>
              <a:gd name="connsiteX21" fmla="*/ 6607897 w 11495956"/>
              <a:gd name="connsiteY21" fmla="*/ 6342380 h 6858000"/>
              <a:gd name="connsiteX22" fmla="*/ 5612950 w 11495956"/>
              <a:gd name="connsiteY22" fmla="*/ 6858000 h 6858000"/>
              <a:gd name="connsiteX23" fmla="*/ 5688332 w 11495956"/>
              <a:gd name="connsiteY23" fmla="*/ 6858000 h 6858000"/>
              <a:gd name="connsiteX24" fmla="*/ 6623761 w 11495956"/>
              <a:gd name="connsiteY24" fmla="*/ 6369939 h 6858000"/>
              <a:gd name="connsiteX25" fmla="*/ 10845307 w 11495956"/>
              <a:gd name="connsiteY25" fmla="*/ 205943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495956" h="6858000">
                <a:moveTo>
                  <a:pt x="913727" y="5845175"/>
                </a:moveTo>
                <a:cubicBezTo>
                  <a:pt x="605664" y="5826592"/>
                  <a:pt x="299874" y="5780520"/>
                  <a:pt x="0" y="5707507"/>
                </a:cubicBezTo>
                <a:lnTo>
                  <a:pt x="0" y="5674868"/>
                </a:lnTo>
                <a:cubicBezTo>
                  <a:pt x="300420" y="5748543"/>
                  <a:pt x="606875" y="5794917"/>
                  <a:pt x="915631" y="5813425"/>
                </a:cubicBezTo>
                <a:cubicBezTo>
                  <a:pt x="1046852" y="5821892"/>
                  <a:pt x="1179681" y="5826125"/>
                  <a:pt x="1314117" y="5826125"/>
                </a:cubicBezTo>
                <a:cubicBezTo>
                  <a:pt x="1904994" y="5826125"/>
                  <a:pt x="2525060" y="5744464"/>
                  <a:pt x="3163400" y="5582158"/>
                </a:cubicBezTo>
                <a:cubicBezTo>
                  <a:pt x="3991211" y="5372100"/>
                  <a:pt x="4808489" y="5035296"/>
                  <a:pt x="5592518" y="4582414"/>
                </a:cubicBezTo>
                <a:cubicBezTo>
                  <a:pt x="6376546" y="4129532"/>
                  <a:pt x="7076309" y="3589274"/>
                  <a:pt x="7672262" y="2977007"/>
                </a:cubicBezTo>
                <a:cubicBezTo>
                  <a:pt x="8236235" y="2397633"/>
                  <a:pt x="8681931" y="1781048"/>
                  <a:pt x="8996405" y="1144651"/>
                </a:cubicBezTo>
                <a:cubicBezTo>
                  <a:pt x="9190064" y="752475"/>
                  <a:pt x="9326235" y="368300"/>
                  <a:pt x="9404536" y="0"/>
                </a:cubicBezTo>
                <a:lnTo>
                  <a:pt x="9436897" y="0"/>
                </a:lnTo>
                <a:cubicBezTo>
                  <a:pt x="9358342" y="373126"/>
                  <a:pt x="9221156" y="762000"/>
                  <a:pt x="9024832" y="1158621"/>
                </a:cubicBezTo>
                <a:cubicBezTo>
                  <a:pt x="8708835" y="1798066"/>
                  <a:pt x="8261489" y="2417318"/>
                  <a:pt x="7695105" y="2999232"/>
                </a:cubicBezTo>
                <a:cubicBezTo>
                  <a:pt x="7096995" y="3613531"/>
                  <a:pt x="6394948" y="4154932"/>
                  <a:pt x="5608381" y="4609846"/>
                </a:cubicBezTo>
                <a:cubicBezTo>
                  <a:pt x="4821815" y="5064760"/>
                  <a:pt x="4001871" y="5401818"/>
                  <a:pt x="3171775" y="5613146"/>
                </a:cubicBezTo>
                <a:cubicBezTo>
                  <a:pt x="2532420" y="5775579"/>
                  <a:pt x="1907532" y="5858002"/>
                  <a:pt x="1314752" y="5858002"/>
                </a:cubicBezTo>
                <a:cubicBezTo>
                  <a:pt x="1180231" y="5857875"/>
                  <a:pt x="1044822" y="5853684"/>
                  <a:pt x="913727" y="5845175"/>
                </a:cubicBezTo>
                <a:close/>
                <a:moveTo>
                  <a:pt x="10845433" y="2059432"/>
                </a:moveTo>
                <a:cubicBezTo>
                  <a:pt x="11186305" y="1369441"/>
                  <a:pt x="11403822" y="678942"/>
                  <a:pt x="11495956" y="0"/>
                </a:cubicBezTo>
                <a:lnTo>
                  <a:pt x="11463849" y="0"/>
                </a:lnTo>
                <a:cubicBezTo>
                  <a:pt x="11372222" y="674116"/>
                  <a:pt x="11155593" y="1359916"/>
                  <a:pt x="10816626" y="2045335"/>
                </a:cubicBezTo>
                <a:cubicBezTo>
                  <a:pt x="9985134" y="3728720"/>
                  <a:pt x="8490048" y="5254752"/>
                  <a:pt x="6607897" y="6342380"/>
                </a:cubicBezTo>
                <a:cubicBezTo>
                  <a:pt x="6281747" y="6530848"/>
                  <a:pt x="5950098" y="6702721"/>
                  <a:pt x="5612950" y="6858000"/>
                </a:cubicBezTo>
                <a:lnTo>
                  <a:pt x="5688332" y="6858000"/>
                </a:lnTo>
                <a:cubicBezTo>
                  <a:pt x="6003991" y="6710342"/>
                  <a:pt x="6315801" y="6547655"/>
                  <a:pt x="6623761" y="6369939"/>
                </a:cubicBezTo>
                <a:cubicBezTo>
                  <a:pt x="8511622" y="5279263"/>
                  <a:pt x="10010769" y="3748405"/>
                  <a:pt x="10845307" y="2059432"/>
                </a:cubicBezTo>
                <a:close/>
              </a:path>
            </a:pathLst>
          </a:custGeom>
          <a:solidFill>
            <a:srgbClr val="CBBBE9"/>
          </a:solidFill>
          <a:ln w="12689" cap="flat">
            <a:noFill/>
            <a:prstDash val="solid"/>
            <a:miter/>
          </a:ln>
        </p:spPr>
        <p:txBody>
          <a:bodyPr rtlCol="0" anchor="ctr"/>
          <a:lstStyle/>
          <a:p>
            <a:endParaRPr lang="en-US" dirty="0"/>
          </a:p>
        </p:txBody>
      </p:sp>
    </p:spTree>
    <p:extLst>
      <p:ext uri="{BB962C8B-B14F-4D97-AF65-F5344CB8AC3E}">
        <p14:creationId xmlns:p14="http://schemas.microsoft.com/office/powerpoint/2010/main" val="867828414"/>
      </p:ext>
    </p:extLst>
  </p:cSld>
  <p:clrMapOvr>
    <a:masterClrMapping/>
  </p:clrMapOvr>
  <p:extLst>
    <p:ext uri="{DCECCB84-F9BA-43D5-87BE-67443E8EF086}">
      <p15:sldGuideLst xmlns:p15="http://schemas.microsoft.com/office/powerpoint/2012/main">
        <p15:guide id="1" pos="576">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F9CC1DC-27E2-0D44-931C-EED07AE3943A}"/>
              </a:ext>
            </a:extLst>
          </p:cNvPr>
          <p:cNvGraphicFramePr>
            <a:graphicFrameLocks noChangeAspect="1"/>
          </p:cNvGraphicFramePr>
          <p:nvPr>
            <p:custDataLst>
              <p:tags r:id="rId2"/>
            </p:custDataLst>
            <p:extLst>
              <p:ext uri="{D42A27DB-BD31-4B8C-83A1-F6EECF244321}">
                <p14:modId xmlns:p14="http://schemas.microsoft.com/office/powerpoint/2010/main" val="21908267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6649"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8F9CC1DC-27E2-0D44-931C-EED07AE3943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12949365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2_Blank Slide with title (customiz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Blank Slide (Customize)</a:t>
            </a:r>
          </a:p>
        </p:txBody>
      </p:sp>
    </p:spTree>
    <p:extLst>
      <p:ext uri="{BB962C8B-B14F-4D97-AF65-F5344CB8AC3E}">
        <p14:creationId xmlns:p14="http://schemas.microsoft.com/office/powerpoint/2010/main" val="115189694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2_TWO images and text">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p:txBody>
          <a:bodyPr/>
          <a:lstStyle>
            <a:lvl1pPr>
              <a:defRPr sz="3200"/>
            </a:lvl1pPr>
          </a:lstStyle>
          <a:p>
            <a:r>
              <a:rPr lang="en-US" dirty="0"/>
              <a:t>Comparing two items or features</a:t>
            </a:r>
          </a:p>
        </p:txBody>
      </p:sp>
      <p:sp>
        <p:nvSpPr>
          <p:cNvPr id="4" name="Text Placeholder 3"/>
          <p:cNvSpPr>
            <a:spLocks noGrp="1"/>
          </p:cNvSpPr>
          <p:nvPr userDrawn="1">
            <p:ph type="body" sz="quarter" idx="10" hasCustomPrompt="1"/>
          </p:nvPr>
        </p:nvSpPr>
        <p:spPr>
          <a:xfrm>
            <a:off x="3676357" y="1535378"/>
            <a:ext cx="7908160" cy="2103396"/>
          </a:xfrm>
        </p:spPr>
        <p:txBody>
          <a:bodyPr/>
          <a:lstStyle>
            <a:lvl1pPr marL="0" indent="0">
              <a:buNone/>
              <a:defRPr sz="2133" baseline="0"/>
            </a:lvl1pPr>
          </a:lstStyle>
          <a:p>
            <a:pPr lvl="0"/>
            <a:r>
              <a:rPr lang="en-US" dirty="0"/>
              <a:t>Enter your text here</a:t>
            </a:r>
          </a:p>
        </p:txBody>
      </p:sp>
      <p:sp>
        <p:nvSpPr>
          <p:cNvPr id="5" name="Text Placeholder 3"/>
          <p:cNvSpPr>
            <a:spLocks noGrp="1"/>
          </p:cNvSpPr>
          <p:nvPr userDrawn="1">
            <p:ph type="body" sz="quarter" idx="11" hasCustomPrompt="1"/>
          </p:nvPr>
        </p:nvSpPr>
        <p:spPr>
          <a:xfrm>
            <a:off x="3676357" y="4128454"/>
            <a:ext cx="7908160" cy="2058407"/>
          </a:xfrm>
        </p:spPr>
        <p:txBody>
          <a:bodyPr/>
          <a:lstStyle>
            <a:lvl1pPr marL="0" indent="0">
              <a:buNone/>
              <a:defRPr sz="2133"/>
            </a:lvl1pPr>
          </a:lstStyle>
          <a:p>
            <a:pPr lvl="0"/>
            <a:r>
              <a:rPr lang="en-US" dirty="0"/>
              <a:t>Enter your text here</a:t>
            </a:r>
          </a:p>
        </p:txBody>
      </p:sp>
      <p:cxnSp>
        <p:nvCxnSpPr>
          <p:cNvPr id="7" name="Straight Connector 6"/>
          <p:cNvCxnSpPr/>
          <p:nvPr userDrawn="1"/>
        </p:nvCxnSpPr>
        <p:spPr>
          <a:xfrm>
            <a:off x="611717" y="3860359"/>
            <a:ext cx="11580283"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21" name="Text Placeholder 4"/>
          <p:cNvSpPr>
            <a:spLocks noGrp="1"/>
          </p:cNvSpPr>
          <p:nvPr userDrawn="1">
            <p:ph type="body" sz="quarter" idx="14" hasCustomPrompt="1"/>
          </p:nvPr>
        </p:nvSpPr>
        <p:spPr>
          <a:xfrm>
            <a:off x="589139" y="881767"/>
            <a:ext cx="10972800" cy="366932"/>
          </a:xfrm>
        </p:spPr>
        <p:txBody>
          <a:bodyPr/>
          <a:lstStyle>
            <a:lvl1pPr marL="0" indent="0">
              <a:buNone/>
              <a:defRPr sz="2667" baseline="0"/>
            </a:lvl1pPr>
            <a:lvl2pPr marL="302675" indent="0">
              <a:buNone/>
              <a:defRPr/>
            </a:lvl2pPr>
          </a:lstStyle>
          <a:p>
            <a:pPr lvl="0"/>
            <a:r>
              <a:rPr lang="en-US" dirty="0"/>
              <a:t>Sub-header optional—delete if not needed</a:t>
            </a:r>
          </a:p>
        </p:txBody>
      </p:sp>
      <p:sp>
        <p:nvSpPr>
          <p:cNvPr id="22" name="Text Placeholder 5"/>
          <p:cNvSpPr>
            <a:spLocks noGrp="1"/>
          </p:cNvSpPr>
          <p:nvPr userDrawn="1">
            <p:ph type="body" sz="quarter" idx="15" hasCustomPrompt="1"/>
          </p:nvPr>
        </p:nvSpPr>
        <p:spPr>
          <a:xfrm>
            <a:off x="3138793" y="6560363"/>
            <a:ext cx="5927388" cy="214955"/>
          </a:xfrm>
        </p:spPr>
        <p:txBody>
          <a:bodyPr/>
          <a:lstStyle>
            <a:lvl1pPr marL="0" indent="0" algn="ctr">
              <a:buNone/>
              <a:defRPr sz="933" baseline="0"/>
            </a:lvl1pPr>
          </a:lstStyle>
          <a:p>
            <a:pPr lvl="0"/>
            <a:r>
              <a:rPr lang="en-US" dirty="0"/>
              <a:t>For internal use only.</a:t>
            </a:r>
          </a:p>
        </p:txBody>
      </p:sp>
      <p:grpSp>
        <p:nvGrpSpPr>
          <p:cNvPr id="23" name="Group 22"/>
          <p:cNvGrpSpPr/>
          <p:nvPr userDrawn="1"/>
        </p:nvGrpSpPr>
        <p:grpSpPr>
          <a:xfrm>
            <a:off x="-2120087" y="1725355"/>
            <a:ext cx="1879365" cy="2359171"/>
            <a:chOff x="-1663544" y="2872984"/>
            <a:chExt cx="1409524" cy="2359171"/>
          </a:xfrm>
        </p:grpSpPr>
        <p:pic>
          <p:nvPicPr>
            <p:cNvPr id="2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663544" y="4584536"/>
              <a:ext cx="1409524" cy="6476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TextBox 24"/>
            <p:cNvSpPr txBox="1"/>
            <p:nvPr/>
          </p:nvSpPr>
          <p:spPr>
            <a:xfrm>
              <a:off x="-1663544" y="2872984"/>
              <a:ext cx="1386540" cy="1384995"/>
            </a:xfrm>
            <a:prstGeom prst="rect">
              <a:avLst/>
            </a:prstGeom>
            <a:noFill/>
          </p:spPr>
          <p:txBody>
            <a:bodyPr wrap="square" rtlCol="0">
              <a:spAutoFit/>
            </a:bodyPr>
            <a:lstStyle/>
            <a:p>
              <a:r>
                <a:rPr lang="en-US" sz="1400" dirty="0"/>
                <a:t>To crop image or reposition image inside of frame, right click on the image and select the crop tool</a:t>
              </a:r>
            </a:p>
          </p:txBody>
        </p:sp>
      </p:grpSp>
    </p:spTree>
    <p:extLst>
      <p:ext uri="{BB962C8B-B14F-4D97-AF65-F5344CB8AC3E}">
        <p14:creationId xmlns:p14="http://schemas.microsoft.com/office/powerpoint/2010/main" val="79391061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9" name="Content Placeholder 2"/>
          <p:cNvSpPr>
            <a:spLocks noGrp="1"/>
          </p:cNvSpPr>
          <p:nvPr>
            <p:ph idx="1"/>
          </p:nvPr>
        </p:nvSpPr>
        <p:spPr>
          <a:xfrm>
            <a:off x="609600" y="1223674"/>
            <a:ext cx="10972800" cy="2655085"/>
          </a:xfrm>
          <a:prstGeom prst="rect">
            <a:avLst/>
          </a:prstGeom>
        </p:spPr>
        <p:txBody>
          <a:bodyPr>
            <a:spAutoFit/>
          </a:bodyPr>
          <a:lstStyle>
            <a:lvl1pPr marL="306895" indent="-306895">
              <a:spcBef>
                <a:spcPts val="0"/>
              </a:spcBef>
              <a:spcAft>
                <a:spcPts val="1600"/>
              </a:spcAft>
              <a:buClr>
                <a:srgbClr val="F26B31"/>
              </a:buClr>
              <a:buSzPct val="85000"/>
              <a:buFont typeface="Wingdings 3" panose="05040102010807070707" pitchFamily="18" charset="2"/>
              <a:buChar char=""/>
              <a:defRPr sz="2667">
                <a:latin typeface="Arial" panose="020B0604020202020204" pitchFamily="34" charset="0"/>
                <a:cs typeface="Arial" panose="020B0604020202020204" pitchFamily="34" charset="0"/>
              </a:defRPr>
            </a:lvl1pPr>
            <a:lvl2pPr marL="990526" indent="-380972">
              <a:spcBef>
                <a:spcPts val="0"/>
              </a:spcBef>
              <a:spcAft>
                <a:spcPts val="1600"/>
              </a:spcAft>
              <a:buClr>
                <a:srgbClr val="F26B31"/>
              </a:buClr>
              <a:buSzPct val="85000"/>
              <a:buFont typeface="Arial" panose="020B0604020202020204" pitchFamily="34" charset="0"/>
              <a:buChar char="–"/>
              <a:defRPr sz="2400">
                <a:latin typeface="Arial" panose="020B0604020202020204" pitchFamily="34" charset="0"/>
                <a:cs typeface="Arial" panose="020B0604020202020204" pitchFamily="34" charset="0"/>
              </a:defRPr>
            </a:lvl2pPr>
            <a:lvl3pPr>
              <a:spcBef>
                <a:spcPts val="0"/>
              </a:spcBef>
              <a:spcAft>
                <a:spcPts val="1600"/>
              </a:spcAft>
              <a:buClr>
                <a:srgbClr val="F26B31"/>
              </a:buClr>
              <a:buSzPct val="100000"/>
              <a:buFont typeface="Wingdings" pitchFamily="2" charset="2"/>
              <a:buChar char="§"/>
              <a:defRPr sz="2133">
                <a:latin typeface="Arial" panose="020B0604020202020204" pitchFamily="34" charset="0"/>
                <a:cs typeface="Arial" panose="020B0604020202020204" pitchFamily="34" charset="0"/>
              </a:defRPr>
            </a:lvl3pPr>
            <a:lvl4pPr marL="2133440" indent="-304776">
              <a:spcBef>
                <a:spcPts val="0"/>
              </a:spcBef>
              <a:spcAft>
                <a:spcPts val="1600"/>
              </a:spcAft>
              <a:buClr>
                <a:srgbClr val="F26B31"/>
              </a:buClr>
              <a:buSzPct val="100000"/>
              <a:buFont typeface="Arial" pitchFamily="34" charset="0"/>
              <a:buChar char="•"/>
              <a:defRPr sz="2133">
                <a:latin typeface="Arial" panose="020B0604020202020204" pitchFamily="34" charset="0"/>
                <a:cs typeface="Arial" panose="020B0604020202020204" pitchFamily="34" charset="0"/>
              </a:defRPr>
            </a:lvl4pPr>
            <a:lvl5pPr marL="2742994" indent="-304776">
              <a:spcBef>
                <a:spcPts val="0"/>
              </a:spcBef>
              <a:spcAft>
                <a:spcPts val="1600"/>
              </a:spcAft>
              <a:buClr>
                <a:srgbClr val="F26B31"/>
              </a:buClr>
              <a:buSzPct val="100000"/>
              <a:buFont typeface="Arial" pitchFamily="34" charset="0"/>
              <a:buChar char="•"/>
              <a:defRPr sz="2133">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p:cNvSpPr>
            <a:spLocks noGrp="1"/>
          </p:cNvSpPr>
          <p:nvPr>
            <p:ph type="body" sz="quarter" idx="10" hasCustomPrompt="1"/>
          </p:nvPr>
        </p:nvSpPr>
        <p:spPr>
          <a:xfrm>
            <a:off x="609600" y="6248400"/>
            <a:ext cx="9144000" cy="457200"/>
          </a:xfrm>
          <a:prstGeom prst="rect">
            <a:avLst/>
          </a:prstGeom>
        </p:spPr>
        <p:txBody>
          <a:bodyPr/>
          <a:lstStyle>
            <a:lvl1pPr marL="0" indent="0">
              <a:lnSpc>
                <a:spcPts val="2000"/>
              </a:lnSpc>
              <a:spcBef>
                <a:spcPts val="0"/>
              </a:spcBef>
              <a:buNone/>
              <a:defRPr sz="1867"/>
            </a:lvl1pPr>
            <a:lvl2pPr marL="609555" indent="0">
              <a:buNone/>
              <a:defRPr sz="1867"/>
            </a:lvl2pPr>
            <a:lvl3pPr marL="1219110" indent="0">
              <a:buNone/>
              <a:defRPr sz="1867"/>
            </a:lvl3pPr>
            <a:lvl4pPr marL="1828664" indent="0">
              <a:buNone/>
              <a:defRPr sz="1867"/>
            </a:lvl4pPr>
            <a:lvl5pPr marL="2438218" indent="0">
              <a:buNone/>
              <a:defRPr sz="1867"/>
            </a:lvl5pPr>
          </a:lstStyle>
          <a:p>
            <a:pPr lvl="0"/>
            <a:r>
              <a:rPr lang="en-US" dirty="0"/>
              <a:t>Click to add footnote</a:t>
            </a:r>
          </a:p>
        </p:txBody>
      </p:sp>
      <p:sp>
        <p:nvSpPr>
          <p:cNvPr id="5" name="Slide Number Placeholder 3"/>
          <p:cNvSpPr>
            <a:spLocks noGrp="1"/>
          </p:cNvSpPr>
          <p:nvPr>
            <p:ph type="sldNum" sz="quarter" idx="4"/>
          </p:nvPr>
        </p:nvSpPr>
        <p:spPr>
          <a:xfrm>
            <a:off x="9987279" y="6332452"/>
            <a:ext cx="508000" cy="373149"/>
          </a:xfrm>
          <a:prstGeom prst="rect">
            <a:avLst/>
          </a:prstGeom>
        </p:spPr>
        <p:txBody>
          <a:bodyPr vert="horz" lIns="91440" tIns="45720" rIns="91440" bIns="45720" rtlCol="0" anchor="ctr"/>
          <a:lstStyle>
            <a:lvl1pPr algn="ctr">
              <a:defRPr sz="1333">
                <a:solidFill>
                  <a:schemeClr val="tx1">
                    <a:tint val="75000"/>
                  </a:schemeClr>
                </a:solidFill>
              </a:defRPr>
            </a:lvl1pPr>
          </a:lstStyle>
          <a:p>
            <a:fld id="{25225481-AED8-4991-B6A9-80D3714A3A06}"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38924190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Color background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BA933EB-78B0-4294-804D-85CD9D4C5182}"/>
              </a:ext>
            </a:extLst>
          </p:cNvPr>
          <p:cNvSpPr/>
          <p:nvPr userDrawn="1"/>
        </p:nvSpPr>
        <p:spPr>
          <a:xfrm>
            <a:off x="0" y="16044"/>
            <a:ext cx="12192000" cy="60478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 name="Rectangle 3">
            <a:extLst>
              <a:ext uri="{FF2B5EF4-FFF2-40B4-BE49-F238E27FC236}">
                <a16:creationId xmlns:a16="http://schemas.microsoft.com/office/drawing/2014/main" id="{B3180F2B-0AE1-42A9-B852-A8BA848E96E3}"/>
              </a:ext>
            </a:extLst>
          </p:cNvPr>
          <p:cNvSpPr/>
          <p:nvPr userDrawn="1"/>
        </p:nvSpPr>
        <p:spPr>
          <a:xfrm rot="10800000">
            <a:off x="-1" y="1"/>
            <a:ext cx="12192000" cy="147479"/>
          </a:xfrm>
          <a:prstGeom prst="rect">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13C22BB3-6183-4636-8A68-7BB953874512}"/>
              </a:ext>
            </a:extLst>
          </p:cNvPr>
          <p:cNvSpPr>
            <a:spLocks noGrp="1"/>
          </p:cNvSpPr>
          <p:nvPr>
            <p:ph type="title" hasCustomPrompt="1"/>
          </p:nvPr>
        </p:nvSpPr>
        <p:spPr>
          <a:xfrm>
            <a:off x="572878" y="794084"/>
            <a:ext cx="4184477" cy="4802485"/>
          </a:xfrm>
        </p:spPr>
        <p:txBody>
          <a:bodyPr/>
          <a:lstStyle>
            <a:lvl1pPr algn="l">
              <a:defRPr sz="2667">
                <a:solidFill>
                  <a:schemeClr val="bg1"/>
                </a:solidFill>
              </a:defRPr>
            </a:lvl1pPr>
          </a:lstStyle>
          <a:p>
            <a:r>
              <a:rPr lang="en-US" dirty="0"/>
              <a:t>Color background layout</a:t>
            </a:r>
          </a:p>
        </p:txBody>
      </p:sp>
    </p:spTree>
    <p:extLst>
      <p:ext uri="{BB962C8B-B14F-4D97-AF65-F5344CB8AC3E}">
        <p14:creationId xmlns:p14="http://schemas.microsoft.com/office/powerpoint/2010/main" val="160341844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530352"/>
            <a:ext cx="10972800" cy="1143000"/>
          </a:xfrm>
        </p:spPr>
        <p:txBody>
          <a:bodyPr>
            <a:normAutofit/>
          </a:bodyPr>
          <a:lstStyle>
            <a:lvl1pPr algn="l">
              <a:defRPr sz="4000" baseline="0">
                <a:solidFill>
                  <a:srgbClr val="7F7F7F"/>
                </a:solidFill>
              </a:defRPr>
            </a:lvl1pPr>
          </a:lstStyle>
          <a:p>
            <a:r>
              <a:rPr lang="en-US"/>
              <a:t>Click to edit Master title style</a:t>
            </a:r>
            <a:endParaRPr lang="en-US" dirty="0"/>
          </a:p>
        </p:txBody>
      </p:sp>
      <p:sp>
        <p:nvSpPr>
          <p:cNvPr id="3" name="Content Placeholder 2"/>
          <p:cNvSpPr>
            <a:spLocks noGrp="1"/>
          </p:cNvSpPr>
          <p:nvPr>
            <p:ph idx="1"/>
          </p:nvPr>
        </p:nvSpPr>
        <p:spPr>
          <a:xfrm>
            <a:off x="609600" y="1755648"/>
            <a:ext cx="10972800" cy="4270248"/>
          </a:xfrm>
        </p:spPr>
        <p:txBody>
          <a:bodyPr/>
          <a:lstStyle>
            <a:lvl1pPr>
              <a:buClr>
                <a:srgbClr val="00A9E0"/>
              </a:buClr>
              <a:defRPr/>
            </a:lvl1pPr>
            <a:lvl2pPr marL="742950" indent="-285750">
              <a:buClr>
                <a:srgbClr val="00A9E0"/>
              </a:buClr>
              <a:buFont typeface="Arial" pitchFamily="34" charset="0"/>
              <a:buChar char="–"/>
              <a:defRPr/>
            </a:lvl2pPr>
            <a:lvl3pPr>
              <a:buClr>
                <a:srgbClr val="00A9E0"/>
              </a:buClr>
              <a:defRPr/>
            </a:lvl3pPr>
            <a:lvl4pPr>
              <a:buClr>
                <a:srgbClr val="00A9E0"/>
              </a:buClr>
              <a:defRPr/>
            </a:lvl4pPr>
            <a:lvl5pPr>
              <a:buClr>
                <a:srgbClr val="00A9E0"/>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eaLnBrk="1" latinLnBrk="0" hangingPunct="1"/>
            <a:endParaRPr lang="en-US"/>
          </a:p>
        </p:txBody>
      </p:sp>
      <p:sp>
        <p:nvSpPr>
          <p:cNvPr id="5" name="Footer Placeholder 4"/>
          <p:cNvSpPr>
            <a:spLocks noGrp="1"/>
          </p:cNvSpPr>
          <p:nvPr>
            <p:ph type="ftr" sz="quarter" idx="11"/>
          </p:nvPr>
        </p:nvSpPr>
        <p:spPr/>
        <p:txBody>
          <a:bodyPr/>
          <a:lstStyle/>
          <a:p>
            <a:endParaRPr kumimoji="0" lang="en-US"/>
          </a:p>
        </p:txBody>
      </p:sp>
      <p:sp>
        <p:nvSpPr>
          <p:cNvPr id="6" name="Slide Number Placeholder 5"/>
          <p:cNvSpPr>
            <a:spLocks noGrp="1"/>
          </p:cNvSpPr>
          <p:nvPr>
            <p:ph type="sldNum" sz="quarter" idx="12"/>
          </p:nvPr>
        </p:nvSpPr>
        <p:spPr/>
        <p:txBody>
          <a:bodyPr/>
          <a:lstStyle/>
          <a:p>
            <a:fld id="{69E29E33-B620-47F9-BB04-8846C2A5AFCC}" type="slidenum">
              <a:rPr kumimoji="0" lang="en-US" smtClean="0"/>
              <a:pPr eaLnBrk="1" latinLnBrk="0" hangingPunct="1"/>
              <a:t>‹#›</a:t>
            </a:fld>
            <a:endParaRPr kumimoji="0" lang="en-US"/>
          </a:p>
        </p:txBody>
      </p:sp>
      <p:pic>
        <p:nvPicPr>
          <p:cNvPr id="7" name="Picture 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394" y="6161485"/>
            <a:ext cx="12229207" cy="745629"/>
          </a:xfrm>
          <a:prstGeom prst="rect">
            <a:avLst/>
          </a:prstGeom>
          <a:solidFill>
            <a:srgbClr val="2399DB"/>
          </a:solidFill>
          <a:ln>
            <a:noFill/>
          </a:ln>
          <a:extLst>
            <a:ext uri="{91240B29-F687-4F45-9708-019B960494DF}">
              <a14:hiddenLine xmlns:a14="http://schemas.microsoft.com/office/drawing/2010/main" w="12700">
                <a:solidFill>
                  <a:schemeClr val="tx1"/>
                </a:solidFill>
                <a:miter lim="800000"/>
                <a:headEnd/>
                <a:tailEnd/>
              </a14:hiddenLine>
            </a:ext>
          </a:extLst>
        </p:spPr>
      </p:pic>
      <p:pic>
        <p:nvPicPr>
          <p:cNvPr id="8" name="Picture 6"/>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382126" y="6175996"/>
            <a:ext cx="2178844" cy="657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9"/>
          <p:cNvCxnSpPr>
            <a:cxnSpLocks noChangeShapeType="1"/>
          </p:cNvCxnSpPr>
          <p:nvPr/>
        </p:nvCxnSpPr>
        <p:spPr bwMode="auto">
          <a:xfrm>
            <a:off x="-13395" y="6117953"/>
            <a:ext cx="12215813" cy="0"/>
          </a:xfrm>
          <a:prstGeom prst="line">
            <a:avLst/>
          </a:prstGeom>
          <a:noFill/>
          <a:ln w="127000" algn="ctr">
            <a:solidFill>
              <a:srgbClr val="F26B31"/>
            </a:solidFill>
            <a:round/>
            <a:headEnd/>
            <a:tailEnd/>
          </a:ln>
        </p:spPr>
      </p:cxnSp>
      <p:cxnSp>
        <p:nvCxnSpPr>
          <p:cNvPr id="10" name="Straight Connector 9"/>
          <p:cNvCxnSpPr/>
          <p:nvPr/>
        </p:nvCxnSpPr>
        <p:spPr bwMode="auto">
          <a:xfrm>
            <a:off x="609600" y="482203"/>
            <a:ext cx="10972800" cy="0"/>
          </a:xfrm>
          <a:prstGeom prst="line">
            <a:avLst/>
          </a:prstGeom>
          <a:blipFill dpi="0" rotWithShape="0">
            <a:blip r:embed="rId4" cstate="print"/>
            <a:srcRect/>
            <a:tile tx="0" ty="0" sx="100000" sy="100000" flip="none" algn="tl"/>
          </a:blipFill>
          <a:ln w="25400" cap="flat" cmpd="sng" algn="ctr">
            <a:solidFill>
              <a:schemeClr val="bg1">
                <a:lumMod val="85000"/>
              </a:scheme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Tree>
    <p:extLst>
      <p:ext uri="{BB962C8B-B14F-4D97-AF65-F5344CB8AC3E}">
        <p14:creationId xmlns:p14="http://schemas.microsoft.com/office/powerpoint/2010/main" val="35527529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98306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and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BC4F0E7-7A71-CD4B-892C-E037C95A85FF}"/>
              </a:ext>
            </a:extLst>
          </p:cNvPr>
          <p:cNvGraphicFramePr>
            <a:graphicFrameLocks noChangeAspect="1"/>
          </p:cNvGraphicFramePr>
          <p:nvPr>
            <p:custDataLst>
              <p:tags r:id="rId2"/>
            </p:custDataLst>
            <p:extLst>
              <p:ext uri="{D42A27DB-BD31-4B8C-83A1-F6EECF244321}">
                <p14:modId xmlns:p14="http://schemas.microsoft.com/office/powerpoint/2010/main" val="27262648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7673"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BBC4F0E7-7A71-CD4B-892C-E037C95A85F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
        <p:nvSpPr>
          <p:cNvPr id="3" name="Content Placeholder 2"/>
          <p:cNvSpPr>
            <a:spLocks noGrp="1"/>
          </p:cNvSpPr>
          <p:nvPr>
            <p:ph sz="half" idx="1"/>
          </p:nvPr>
        </p:nvSpPr>
        <p:spPr>
          <a:xfrm>
            <a:off x="685800" y="1545336"/>
            <a:ext cx="5181600" cy="4123944"/>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a:extLst>
              <a:ext uri="{FF2B5EF4-FFF2-40B4-BE49-F238E27FC236}">
                <a16:creationId xmlns:a16="http://schemas.microsoft.com/office/drawing/2014/main" id="{BE1CFF2A-43F1-D94B-93AF-F563A6206EC4}"/>
              </a:ext>
            </a:extLst>
          </p:cNvPr>
          <p:cNvSpPr>
            <a:spLocks noGrp="1"/>
          </p:cNvSpPr>
          <p:nvPr>
            <p:ph type="body" sz="quarter" idx="10" hasCustomPrompt="1"/>
          </p:nvPr>
        </p:nvSpPr>
        <p:spPr>
          <a:xfrm>
            <a:off x="685800" y="5830756"/>
            <a:ext cx="5181600" cy="344619"/>
          </a:xfrm>
        </p:spPr>
        <p:txBody>
          <a:bodyPr anchor="b"/>
          <a:lstStyle>
            <a:lvl1pPr>
              <a:defRPr sz="800"/>
            </a:lvl1pPr>
            <a:lvl2pPr marL="0" indent="0">
              <a:buNone/>
              <a:defRPr/>
            </a:lvl2pPr>
          </a:lstStyle>
          <a:p>
            <a:pPr lvl="0"/>
            <a:r>
              <a:rPr lang="en-US"/>
              <a:t>Click to add footnote</a:t>
            </a:r>
          </a:p>
        </p:txBody>
      </p:sp>
      <p:sp>
        <p:nvSpPr>
          <p:cNvPr id="6" name="Picture Placeholder 5">
            <a:extLst>
              <a:ext uri="{FF2B5EF4-FFF2-40B4-BE49-F238E27FC236}">
                <a16:creationId xmlns:a16="http://schemas.microsoft.com/office/drawing/2014/main" id="{DE5C0F5A-1D2E-AB42-9962-83B986F457F9}"/>
              </a:ext>
            </a:extLst>
          </p:cNvPr>
          <p:cNvSpPr>
            <a:spLocks noGrp="1"/>
          </p:cNvSpPr>
          <p:nvPr>
            <p:ph type="pic" sz="quarter" idx="11"/>
          </p:nvPr>
        </p:nvSpPr>
        <p:spPr>
          <a:xfrm>
            <a:off x="6324600" y="1600200"/>
            <a:ext cx="5181600" cy="4575175"/>
          </a:xfrm>
        </p:spPr>
        <p:txBody>
          <a:bodyPr/>
          <a:lstStyle>
            <a:lvl1pPr>
              <a:defRPr sz="1200">
                <a:solidFill>
                  <a:schemeClr val="accent5"/>
                </a:solidFill>
              </a:defRPr>
            </a:lvl1pPr>
          </a:lstStyle>
          <a:p>
            <a:r>
              <a:rPr lang="en-US" dirty="0"/>
              <a:t>Click icon to add picture</a:t>
            </a:r>
          </a:p>
        </p:txBody>
      </p:sp>
    </p:spTree>
    <p:extLst>
      <p:ext uri="{BB962C8B-B14F-4D97-AF65-F5344CB8AC3E}">
        <p14:creationId xmlns:p14="http://schemas.microsoft.com/office/powerpoint/2010/main" val="3448726721"/>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BC4F0E7-7A71-CD4B-892C-E037C95A85FF}"/>
              </a:ext>
            </a:extLst>
          </p:cNvPr>
          <p:cNvGraphicFramePr>
            <a:graphicFrameLocks noChangeAspect="1"/>
          </p:cNvGraphicFramePr>
          <p:nvPr>
            <p:custDataLst>
              <p:tags r:id="rId2"/>
            </p:custDataLst>
            <p:extLst>
              <p:ext uri="{D42A27DB-BD31-4B8C-83A1-F6EECF244321}">
                <p14:modId xmlns:p14="http://schemas.microsoft.com/office/powerpoint/2010/main" val="18467164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8697"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BBC4F0E7-7A71-CD4B-892C-E037C95A85F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9902681-C126-1945-8FB5-CDCBA10AC104}"/>
              </a:ext>
            </a:extLst>
          </p:cNvPr>
          <p:cNvSpPr>
            <a:spLocks noGrp="1"/>
          </p:cNvSpPr>
          <p:nvPr>
            <p:ph type="body" sz="quarter" idx="10" hasCustomPrompt="1"/>
          </p:nvPr>
        </p:nvSpPr>
        <p:spPr>
          <a:xfrm>
            <a:off x="685800" y="1451222"/>
            <a:ext cx="7061200" cy="4645025"/>
          </a:xfrm>
        </p:spPr>
        <p:txBody>
          <a:bodyPr/>
          <a:lstStyle>
            <a:lvl1pPr>
              <a:defRPr sz="4800">
                <a:solidFill>
                  <a:schemeClr val="tx2"/>
                </a:solidFill>
              </a:defRPr>
            </a:lvl1pPr>
            <a:lvl2pPr marL="293688" indent="-293688">
              <a:buFont typeface="System Font Regular"/>
              <a:buChar char="—"/>
              <a:defRPr sz="2400" b="1">
                <a:solidFill>
                  <a:schemeClr val="tx2"/>
                </a:solidFill>
              </a:defRPr>
            </a:lvl2pPr>
          </a:lstStyle>
          <a:p>
            <a:pPr lvl="0"/>
            <a:r>
              <a:rPr lang="en-US"/>
              <a:t>Click to add quote</a:t>
            </a:r>
          </a:p>
          <a:p>
            <a:pPr lvl="1"/>
            <a:r>
              <a:rPr lang="en-US"/>
              <a:t>Quote attribution</a:t>
            </a:r>
          </a:p>
        </p:txBody>
      </p:sp>
      <p:sp>
        <p:nvSpPr>
          <p:cNvPr id="17" name="Freeform 16">
            <a:extLst>
              <a:ext uri="{FF2B5EF4-FFF2-40B4-BE49-F238E27FC236}">
                <a16:creationId xmlns:a16="http://schemas.microsoft.com/office/drawing/2014/main" id="{4574A430-1352-8D46-9275-A265880BF00E}"/>
              </a:ext>
            </a:extLst>
          </p:cNvPr>
          <p:cNvSpPr/>
          <p:nvPr/>
        </p:nvSpPr>
        <p:spPr>
          <a:xfrm>
            <a:off x="8205752" y="505"/>
            <a:ext cx="3296004" cy="2589680"/>
          </a:xfrm>
          <a:custGeom>
            <a:avLst/>
            <a:gdLst>
              <a:gd name="connsiteX0" fmla="*/ 2126516 w 3296004"/>
              <a:gd name="connsiteY0" fmla="*/ 0 h 2589680"/>
              <a:gd name="connsiteX1" fmla="*/ 2965963 w 3296004"/>
              <a:gd name="connsiteY1" fmla="*/ 0 h 2589680"/>
              <a:gd name="connsiteX2" fmla="*/ 3296004 w 3296004"/>
              <a:gd name="connsiteY2" fmla="*/ 707390 h 2589680"/>
              <a:gd name="connsiteX3" fmla="*/ 2268814 w 3296004"/>
              <a:gd name="connsiteY3" fmla="*/ 2518815 h 2589680"/>
              <a:gd name="connsiteX4" fmla="*/ 2085768 w 3296004"/>
              <a:gd name="connsiteY4" fmla="*/ 2589680 h 2589680"/>
              <a:gd name="connsiteX5" fmla="*/ 1933442 w 3296004"/>
              <a:gd name="connsiteY5" fmla="*/ 2498604 h 2589680"/>
              <a:gd name="connsiteX6" fmla="*/ 1831890 w 3296004"/>
              <a:gd name="connsiteY6" fmla="*/ 2377211 h 2589680"/>
              <a:gd name="connsiteX7" fmla="*/ 1862483 w 3296004"/>
              <a:gd name="connsiteY7" fmla="*/ 2154509 h 2589680"/>
              <a:gd name="connsiteX8" fmla="*/ 2279350 w 3296004"/>
              <a:gd name="connsiteY8" fmla="*/ 1425897 h 2589680"/>
              <a:gd name="connsiteX9" fmla="*/ 1862483 w 3296004"/>
              <a:gd name="connsiteY9" fmla="*/ 535343 h 2589680"/>
              <a:gd name="connsiteX10" fmla="*/ 2126516 w 3296004"/>
              <a:gd name="connsiteY10" fmla="*/ 0 h 2589680"/>
              <a:gd name="connsiteX11" fmla="*/ 337184 w 3296004"/>
              <a:gd name="connsiteY11" fmla="*/ 0 h 2589680"/>
              <a:gd name="connsiteX12" fmla="*/ 1176505 w 3296004"/>
              <a:gd name="connsiteY12" fmla="*/ 0 h 2589680"/>
              <a:gd name="connsiteX13" fmla="*/ 1506546 w 3296004"/>
              <a:gd name="connsiteY13" fmla="*/ 707390 h 2589680"/>
              <a:gd name="connsiteX14" fmla="*/ 479483 w 3296004"/>
              <a:gd name="connsiteY14" fmla="*/ 2518815 h 2589680"/>
              <a:gd name="connsiteX15" fmla="*/ 296437 w 3296004"/>
              <a:gd name="connsiteY15" fmla="*/ 2589680 h 2589680"/>
              <a:gd name="connsiteX16" fmla="*/ 144110 w 3296004"/>
              <a:gd name="connsiteY16" fmla="*/ 2498604 h 2589680"/>
              <a:gd name="connsiteX17" fmla="*/ 42559 w 3296004"/>
              <a:gd name="connsiteY17" fmla="*/ 2377211 h 2589680"/>
              <a:gd name="connsiteX18" fmla="*/ 73025 w 3296004"/>
              <a:gd name="connsiteY18" fmla="*/ 2154509 h 2589680"/>
              <a:gd name="connsiteX19" fmla="*/ 490019 w 3296004"/>
              <a:gd name="connsiteY19" fmla="*/ 1425897 h 2589680"/>
              <a:gd name="connsiteX20" fmla="*/ 73025 w 3296004"/>
              <a:gd name="connsiteY20" fmla="*/ 535343 h 2589680"/>
              <a:gd name="connsiteX21" fmla="*/ 337184 w 3296004"/>
              <a:gd name="connsiteY21" fmla="*/ 0 h 258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296004" h="2589680">
                <a:moveTo>
                  <a:pt x="2126516" y="0"/>
                </a:moveTo>
                <a:lnTo>
                  <a:pt x="2965963" y="0"/>
                </a:lnTo>
                <a:cubicBezTo>
                  <a:pt x="3172112" y="161437"/>
                  <a:pt x="3296004" y="438582"/>
                  <a:pt x="3296004" y="707390"/>
                </a:cubicBezTo>
                <a:cubicBezTo>
                  <a:pt x="3296004" y="1446108"/>
                  <a:pt x="2848544" y="2114592"/>
                  <a:pt x="2268814" y="2518815"/>
                </a:cubicBezTo>
                <a:cubicBezTo>
                  <a:pt x="2197601" y="2569469"/>
                  <a:pt x="2136544" y="2589680"/>
                  <a:pt x="2085768" y="2589680"/>
                </a:cubicBezTo>
                <a:cubicBezTo>
                  <a:pt x="2024965" y="2589680"/>
                  <a:pt x="1984217" y="2559364"/>
                  <a:pt x="1933442" y="2498604"/>
                </a:cubicBezTo>
                <a:lnTo>
                  <a:pt x="1831890" y="2377211"/>
                </a:lnTo>
                <a:cubicBezTo>
                  <a:pt x="1770960" y="2296240"/>
                  <a:pt x="1770960" y="2245586"/>
                  <a:pt x="1862483" y="2154509"/>
                </a:cubicBezTo>
                <a:cubicBezTo>
                  <a:pt x="2065839" y="1952145"/>
                  <a:pt x="2279350" y="1668810"/>
                  <a:pt x="2279350" y="1425897"/>
                </a:cubicBezTo>
                <a:cubicBezTo>
                  <a:pt x="2279350" y="1122351"/>
                  <a:pt x="1862483" y="899649"/>
                  <a:pt x="1862483" y="535343"/>
                </a:cubicBezTo>
                <a:cubicBezTo>
                  <a:pt x="1859909" y="325260"/>
                  <a:pt x="1957941" y="126494"/>
                  <a:pt x="2126516" y="0"/>
                </a:cubicBezTo>
                <a:close/>
                <a:moveTo>
                  <a:pt x="337184" y="0"/>
                </a:moveTo>
                <a:lnTo>
                  <a:pt x="1176505" y="0"/>
                </a:lnTo>
                <a:cubicBezTo>
                  <a:pt x="1382653" y="161437"/>
                  <a:pt x="1506546" y="438582"/>
                  <a:pt x="1506546" y="707390"/>
                </a:cubicBezTo>
                <a:cubicBezTo>
                  <a:pt x="1506546" y="1446108"/>
                  <a:pt x="1059086" y="2114592"/>
                  <a:pt x="479483" y="2518815"/>
                </a:cubicBezTo>
                <a:cubicBezTo>
                  <a:pt x="408270" y="2569469"/>
                  <a:pt x="347213" y="2589680"/>
                  <a:pt x="296437" y="2589680"/>
                </a:cubicBezTo>
                <a:cubicBezTo>
                  <a:pt x="235633" y="2589680"/>
                  <a:pt x="194886" y="2559364"/>
                  <a:pt x="144110" y="2498604"/>
                </a:cubicBezTo>
                <a:lnTo>
                  <a:pt x="42559" y="2377211"/>
                </a:lnTo>
                <a:cubicBezTo>
                  <a:pt x="-18498" y="2296240"/>
                  <a:pt x="-18498" y="2245586"/>
                  <a:pt x="73025" y="2154509"/>
                </a:cubicBezTo>
                <a:cubicBezTo>
                  <a:pt x="276508" y="1952145"/>
                  <a:pt x="490019" y="1668810"/>
                  <a:pt x="490019" y="1425897"/>
                </a:cubicBezTo>
                <a:cubicBezTo>
                  <a:pt x="490019" y="1122351"/>
                  <a:pt x="73025" y="899649"/>
                  <a:pt x="73025" y="535343"/>
                </a:cubicBezTo>
                <a:cubicBezTo>
                  <a:pt x="70501" y="325242"/>
                  <a:pt x="168578" y="126480"/>
                  <a:pt x="337184" y="0"/>
                </a:cubicBezTo>
                <a:close/>
              </a:path>
            </a:pathLst>
          </a:custGeom>
          <a:solidFill>
            <a:schemeClr val="accent2"/>
          </a:solidFill>
          <a:ln w="12676" cap="flat">
            <a:noFill/>
            <a:prstDash val="solid"/>
            <a:miter/>
          </a:ln>
        </p:spPr>
        <p:txBody>
          <a:bodyPr rtlCol="0" anchor="ctr"/>
          <a:lstStyle/>
          <a:p>
            <a:endParaRPr lang="en-US" dirty="0"/>
          </a:p>
        </p:txBody>
      </p:sp>
    </p:spTree>
    <p:extLst>
      <p:ext uri="{BB962C8B-B14F-4D97-AF65-F5344CB8AC3E}">
        <p14:creationId xmlns:p14="http://schemas.microsoft.com/office/powerpoint/2010/main" val="446018196"/>
      </p:ext>
    </p:extLst>
  </p:cSld>
  <p:clrMapOvr>
    <a:masterClrMapping/>
  </p:clrMapOvr>
  <p:extLst>
    <p:ext uri="{DCECCB84-F9BA-43D5-87BE-67443E8EF086}">
      <p15:sldGuideLst xmlns:p15="http://schemas.microsoft.com/office/powerpoint/2012/main">
        <p15:guide id="1" pos="2506">
          <p15:clr>
            <a:srgbClr val="FBAE40"/>
          </p15:clr>
        </p15:guide>
        <p15:guide id="2" pos="2801">
          <p15:clr>
            <a:srgbClr val="FBAE40"/>
          </p15:clr>
        </p15:guide>
        <p15:guide id="3" pos="4880">
          <p15:clr>
            <a:srgbClr val="FBAE40"/>
          </p15:clr>
        </p15:guide>
        <p15:guide id="4" pos="516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Back Page Whit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697ED2-7864-804D-A838-3895B0E880AA}"/>
              </a:ext>
            </a:extLst>
          </p:cNvPr>
          <p:cNvGraphicFramePr>
            <a:graphicFrameLocks noChangeAspect="1"/>
          </p:cNvGraphicFramePr>
          <p:nvPr>
            <p:custDataLst>
              <p:tags r:id="rId2"/>
            </p:custDataLst>
            <p:extLst>
              <p:ext uri="{D42A27DB-BD31-4B8C-83A1-F6EECF244321}">
                <p14:modId xmlns:p14="http://schemas.microsoft.com/office/powerpoint/2010/main" val="14934201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9721"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36697ED2-7864-804D-A838-3895B0E880A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7" name="Graphic 6">
            <a:extLst>
              <a:ext uri="{FF2B5EF4-FFF2-40B4-BE49-F238E27FC236}">
                <a16:creationId xmlns:a16="http://schemas.microsoft.com/office/drawing/2014/main" id="{C38FFA5E-DB10-9E4A-8BC3-341A85808E30}"/>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4498111" y="2884787"/>
            <a:ext cx="3195778" cy="682026"/>
          </a:xfrm>
          <a:prstGeom prst="rect">
            <a:avLst/>
          </a:prstGeom>
        </p:spPr>
      </p:pic>
    </p:spTree>
    <p:extLst>
      <p:ext uri="{BB962C8B-B14F-4D97-AF65-F5344CB8AC3E}">
        <p14:creationId xmlns:p14="http://schemas.microsoft.com/office/powerpoint/2010/main" val="3274680715"/>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ack Page Purpl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697ED2-7864-804D-A838-3895B0E880AA}"/>
              </a:ext>
            </a:extLst>
          </p:cNvPr>
          <p:cNvGraphicFramePr>
            <a:graphicFrameLocks noChangeAspect="1"/>
          </p:cNvGraphicFramePr>
          <p:nvPr>
            <p:custDataLst>
              <p:tags r:id="rId2"/>
            </p:custDataLst>
            <p:extLst>
              <p:ext uri="{D42A27DB-BD31-4B8C-83A1-F6EECF244321}">
                <p14:modId xmlns:p14="http://schemas.microsoft.com/office/powerpoint/2010/main" val="24858369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0745"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36697ED2-7864-804D-A838-3895B0E880A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7" name="Graphic 6">
            <a:extLst>
              <a:ext uri="{FF2B5EF4-FFF2-40B4-BE49-F238E27FC236}">
                <a16:creationId xmlns:a16="http://schemas.microsoft.com/office/drawing/2014/main" id="{C38FFA5E-DB10-9E4A-8BC3-341A85808E3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98109" y="2884787"/>
            <a:ext cx="3195782" cy="682026"/>
          </a:xfrm>
          <a:prstGeom prst="rect">
            <a:avLst/>
          </a:prstGeom>
        </p:spPr>
      </p:pic>
    </p:spTree>
    <p:extLst>
      <p:ext uri="{BB962C8B-B14F-4D97-AF65-F5344CB8AC3E}">
        <p14:creationId xmlns:p14="http://schemas.microsoft.com/office/powerpoint/2010/main" val="1640914120"/>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Agenda slide">
    <p:spTree>
      <p:nvGrpSpPr>
        <p:cNvPr id="1" name=""/>
        <p:cNvGrpSpPr/>
        <p:nvPr/>
      </p:nvGrpSpPr>
      <p:grpSpPr>
        <a:xfrm>
          <a:off x="0" y="0"/>
          <a:ext cx="0" cy="0"/>
          <a:chOff x="0" y="0"/>
          <a:chExt cx="0" cy="0"/>
        </a:xfrm>
      </p:grpSpPr>
      <p:sp>
        <p:nvSpPr>
          <p:cNvPr id="8" name="Title 3">
            <a:extLst>
              <a:ext uri="{FF2B5EF4-FFF2-40B4-BE49-F238E27FC236}">
                <a16:creationId xmlns:a16="http://schemas.microsoft.com/office/drawing/2014/main" id="{E17BC4B8-D150-4BA8-93A0-C48FE0AAAB7A}"/>
              </a:ext>
            </a:extLst>
          </p:cNvPr>
          <p:cNvSpPr txBox="1">
            <a:spLocks/>
          </p:cNvSpPr>
          <p:nvPr userDrawn="1"/>
        </p:nvSpPr>
        <p:spPr>
          <a:xfrm>
            <a:off x="799075" y="2864273"/>
            <a:ext cx="2591304" cy="760907"/>
          </a:xfrm>
          <a:prstGeom prst="rect">
            <a:avLst/>
          </a:prstGeom>
        </p:spPr>
        <p:txBody>
          <a:bodyPr vert="horz" lIns="0" tIns="0" rIns="0" bIns="0" rtlCol="0" anchor="ctr">
            <a:noAutofit/>
          </a:bodyPr>
          <a:lstStyle>
            <a:lvl1pPr algn="l" defTabSz="914400" rtl="0" eaLnBrk="1" latinLnBrk="0" hangingPunct="1">
              <a:spcBef>
                <a:spcPct val="0"/>
              </a:spcBef>
              <a:buNone/>
              <a:defRPr sz="2000" kern="1200">
                <a:solidFill>
                  <a:srgbClr val="00A9E0"/>
                </a:solidFill>
                <a:latin typeface="+mj-lt"/>
                <a:ea typeface="+mj-ea"/>
                <a:cs typeface="+mj-cs"/>
              </a:defRPr>
            </a:lvl1pPr>
          </a:lstStyle>
          <a:p>
            <a:r>
              <a:rPr lang="en-US" sz="2000" dirty="0">
                <a:solidFill>
                  <a:schemeClr val="accent1"/>
                </a:solidFill>
              </a:rPr>
              <a:t>Agenda</a:t>
            </a:r>
          </a:p>
        </p:txBody>
      </p:sp>
      <p:sp>
        <p:nvSpPr>
          <p:cNvPr id="6" name="Table Placeholder 5">
            <a:extLst>
              <a:ext uri="{FF2B5EF4-FFF2-40B4-BE49-F238E27FC236}">
                <a16:creationId xmlns:a16="http://schemas.microsoft.com/office/drawing/2014/main" id="{61F637FD-D272-41C4-8249-3D645E08E813}"/>
              </a:ext>
            </a:extLst>
          </p:cNvPr>
          <p:cNvSpPr>
            <a:spLocks noGrp="1"/>
          </p:cNvSpPr>
          <p:nvPr>
            <p:ph type="tbl" sz="quarter" idx="10" hasCustomPrompt="1"/>
          </p:nvPr>
        </p:nvSpPr>
        <p:spPr>
          <a:xfrm>
            <a:off x="3639237" y="1970761"/>
            <a:ext cx="4913529" cy="2547928"/>
          </a:xfrm>
        </p:spPr>
        <p:txBody>
          <a:bodyPr/>
          <a:lstStyle>
            <a:lvl1pPr marL="0" indent="0" algn="ctr">
              <a:buNone/>
              <a:defRPr i="1">
                <a:solidFill>
                  <a:schemeClr val="bg1">
                    <a:lumMod val="65000"/>
                  </a:schemeClr>
                </a:solidFill>
              </a:defRPr>
            </a:lvl1pPr>
          </a:lstStyle>
          <a:p>
            <a:r>
              <a:rPr lang="en-US" dirty="0"/>
              <a:t>Click to insert table</a:t>
            </a:r>
          </a:p>
        </p:txBody>
      </p:sp>
      <p:sp>
        <p:nvSpPr>
          <p:cNvPr id="9" name="Footer Placeholder 4">
            <a:extLst>
              <a:ext uri="{FF2B5EF4-FFF2-40B4-BE49-F238E27FC236}">
                <a16:creationId xmlns:a16="http://schemas.microsoft.com/office/drawing/2014/main" id="{B4BB518C-F02D-4A7A-85E6-B54DAE9A607F}"/>
              </a:ext>
            </a:extLst>
          </p:cNvPr>
          <p:cNvSpPr>
            <a:spLocks noGrp="1"/>
          </p:cNvSpPr>
          <p:nvPr>
            <p:ph type="ftr" sz="quarter" idx="3"/>
          </p:nvPr>
        </p:nvSpPr>
        <p:spPr>
          <a:xfrm>
            <a:off x="5134751" y="6322703"/>
            <a:ext cx="5753352" cy="366183"/>
          </a:xfrm>
          <a:prstGeom prst="rect">
            <a:avLst/>
          </a:prstGeom>
        </p:spPr>
        <p:txBody>
          <a:bodyPr vert="horz" lIns="91440" tIns="45720" rIns="91440" bIns="45720" rtlCol="0" anchor="ctr"/>
          <a:lstStyle>
            <a:lvl1pPr algn="r">
              <a:defRPr sz="800">
                <a:solidFill>
                  <a:schemeClr val="bg1"/>
                </a:solidFill>
              </a:defRPr>
            </a:lvl1pPr>
          </a:lstStyle>
          <a:p>
            <a:r>
              <a:rPr lang="en-US" dirty="0"/>
              <a:t>Disclosure (i.e. For Internal Use Only) – </a:t>
            </a:r>
            <a:r>
              <a:rPr lang="en-US" i="1" dirty="0"/>
              <a:t>click to modify</a:t>
            </a:r>
          </a:p>
        </p:txBody>
      </p:sp>
      <p:sp>
        <p:nvSpPr>
          <p:cNvPr id="10" name="TextBox 9">
            <a:extLst>
              <a:ext uri="{FF2B5EF4-FFF2-40B4-BE49-F238E27FC236}">
                <a16:creationId xmlns:a16="http://schemas.microsoft.com/office/drawing/2014/main" id="{FF32C669-5108-4AD7-981A-FA62F6B3166D}"/>
              </a:ext>
            </a:extLst>
          </p:cNvPr>
          <p:cNvSpPr txBox="1"/>
          <p:nvPr userDrawn="1"/>
        </p:nvSpPr>
        <p:spPr>
          <a:xfrm>
            <a:off x="1891566" y="-1056745"/>
            <a:ext cx="10037157" cy="538609"/>
          </a:xfrm>
          <a:prstGeom prst="rect">
            <a:avLst/>
          </a:prstGeom>
          <a:noFill/>
        </p:spPr>
        <p:txBody>
          <a:bodyPr wrap="square" rtlCol="0">
            <a:spAutoFit/>
          </a:bodyPr>
          <a:lstStyle/>
          <a:p>
            <a:r>
              <a:rPr lang="en-US" sz="1100" i="1" kern="1200" dirty="0">
                <a:solidFill>
                  <a:schemeClr val="bg1">
                    <a:lumMod val="50000"/>
                  </a:schemeClr>
                </a:solidFill>
                <a:latin typeface="+mn-lt"/>
                <a:ea typeface="+mn-ea"/>
                <a:cs typeface="+mn-cs"/>
              </a:rPr>
              <a:t>To</a:t>
            </a:r>
            <a:r>
              <a:rPr lang="en-US" sz="1800" dirty="0"/>
              <a:t> </a:t>
            </a:r>
            <a:r>
              <a:rPr lang="en-US" sz="1100" i="1" dirty="0">
                <a:solidFill>
                  <a:schemeClr val="bg1">
                    <a:lumMod val="50000"/>
                  </a:schemeClr>
                </a:solidFill>
              </a:rPr>
              <a:t>add more rows to your agenda, click on the last row of the table and press Tab on your keyboard.</a:t>
            </a:r>
          </a:p>
          <a:p>
            <a:r>
              <a:rPr lang="en-US" sz="1100" i="1" dirty="0">
                <a:solidFill>
                  <a:schemeClr val="bg1">
                    <a:lumMod val="50000"/>
                  </a:schemeClr>
                </a:solidFill>
              </a:rPr>
              <a:t>To delete rows, right click in row, click Delete &gt; Delete Rows</a:t>
            </a:r>
          </a:p>
        </p:txBody>
      </p:sp>
      <p:grpSp>
        <p:nvGrpSpPr>
          <p:cNvPr id="11" name="Group 10">
            <a:extLst>
              <a:ext uri="{FF2B5EF4-FFF2-40B4-BE49-F238E27FC236}">
                <a16:creationId xmlns:a16="http://schemas.microsoft.com/office/drawing/2014/main" id="{C8BA2027-A496-4C31-AD40-9F204688B87F}"/>
              </a:ext>
            </a:extLst>
          </p:cNvPr>
          <p:cNvGrpSpPr/>
          <p:nvPr userDrawn="1"/>
        </p:nvGrpSpPr>
        <p:grpSpPr>
          <a:xfrm>
            <a:off x="1170946" y="-980671"/>
            <a:ext cx="565997" cy="629832"/>
            <a:chOff x="576263" y="2547938"/>
            <a:chExt cx="633412" cy="704850"/>
          </a:xfrm>
          <a:solidFill>
            <a:schemeClr val="tx2"/>
          </a:solidFill>
        </p:grpSpPr>
        <p:sp>
          <p:nvSpPr>
            <p:cNvPr id="12" name="Freeform 12">
              <a:extLst>
                <a:ext uri="{FF2B5EF4-FFF2-40B4-BE49-F238E27FC236}">
                  <a16:creationId xmlns:a16="http://schemas.microsoft.com/office/drawing/2014/main" id="{394C5CEB-0F05-469D-8DFD-260C5439A5D0}"/>
                </a:ext>
              </a:extLst>
            </p:cNvPr>
            <p:cNvSpPr>
              <a:spLocks/>
            </p:cNvSpPr>
            <p:nvPr/>
          </p:nvSpPr>
          <p:spPr bwMode="auto">
            <a:xfrm>
              <a:off x="863600" y="2547938"/>
              <a:ext cx="57150" cy="119063"/>
            </a:xfrm>
            <a:custGeom>
              <a:avLst/>
              <a:gdLst>
                <a:gd name="T0" fmla="*/ 5 w 228"/>
                <a:gd name="T1" fmla="*/ 287 h 477"/>
                <a:gd name="T2" fmla="*/ 5 w 228"/>
                <a:gd name="T3" fmla="*/ 364 h 477"/>
                <a:gd name="T4" fmla="*/ 115 w 228"/>
                <a:gd name="T5" fmla="*/ 477 h 477"/>
                <a:gd name="T6" fmla="*/ 116 w 228"/>
                <a:gd name="T7" fmla="*/ 477 h 477"/>
                <a:gd name="T8" fmla="*/ 223 w 228"/>
                <a:gd name="T9" fmla="*/ 364 h 477"/>
                <a:gd name="T10" fmla="*/ 223 w 228"/>
                <a:gd name="T11" fmla="*/ 290 h 477"/>
                <a:gd name="T12" fmla="*/ 224 w 228"/>
                <a:gd name="T13" fmla="*/ 141 h 477"/>
                <a:gd name="T14" fmla="*/ 148 w 228"/>
                <a:gd name="T15" fmla="*/ 4 h 477"/>
                <a:gd name="T16" fmla="*/ 138 w 228"/>
                <a:gd name="T17" fmla="*/ 0 h 477"/>
                <a:gd name="T18" fmla="*/ 90 w 228"/>
                <a:gd name="T19" fmla="*/ 0 h 477"/>
                <a:gd name="T20" fmla="*/ 81 w 228"/>
                <a:gd name="T21" fmla="*/ 4 h 477"/>
                <a:gd name="T22" fmla="*/ 4 w 228"/>
                <a:gd name="T23" fmla="*/ 141 h 477"/>
                <a:gd name="T24" fmla="*/ 5 w 228"/>
                <a:gd name="T25" fmla="*/ 28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477">
                  <a:moveTo>
                    <a:pt x="5" y="287"/>
                  </a:moveTo>
                  <a:cubicBezTo>
                    <a:pt x="5" y="312"/>
                    <a:pt x="5" y="338"/>
                    <a:pt x="5" y="364"/>
                  </a:cubicBezTo>
                  <a:cubicBezTo>
                    <a:pt x="5" y="431"/>
                    <a:pt x="50" y="477"/>
                    <a:pt x="115" y="477"/>
                  </a:cubicBezTo>
                  <a:cubicBezTo>
                    <a:pt x="116" y="477"/>
                    <a:pt x="116" y="477"/>
                    <a:pt x="116" y="477"/>
                  </a:cubicBezTo>
                  <a:cubicBezTo>
                    <a:pt x="178" y="477"/>
                    <a:pt x="223" y="429"/>
                    <a:pt x="223" y="364"/>
                  </a:cubicBezTo>
                  <a:cubicBezTo>
                    <a:pt x="223" y="340"/>
                    <a:pt x="223" y="314"/>
                    <a:pt x="223" y="290"/>
                  </a:cubicBezTo>
                  <a:cubicBezTo>
                    <a:pt x="223" y="241"/>
                    <a:pt x="222" y="190"/>
                    <a:pt x="224" y="141"/>
                  </a:cubicBezTo>
                  <a:cubicBezTo>
                    <a:pt x="225" y="116"/>
                    <a:pt x="228" y="41"/>
                    <a:pt x="148" y="4"/>
                  </a:cubicBezTo>
                  <a:cubicBezTo>
                    <a:pt x="138" y="0"/>
                    <a:pt x="138" y="0"/>
                    <a:pt x="138" y="0"/>
                  </a:cubicBezTo>
                  <a:cubicBezTo>
                    <a:pt x="90" y="0"/>
                    <a:pt x="90" y="0"/>
                    <a:pt x="90" y="0"/>
                  </a:cubicBezTo>
                  <a:cubicBezTo>
                    <a:pt x="81" y="4"/>
                    <a:pt x="81" y="4"/>
                    <a:pt x="81" y="4"/>
                  </a:cubicBezTo>
                  <a:cubicBezTo>
                    <a:pt x="0" y="40"/>
                    <a:pt x="3" y="116"/>
                    <a:pt x="4" y="141"/>
                  </a:cubicBezTo>
                  <a:cubicBezTo>
                    <a:pt x="6" y="189"/>
                    <a:pt x="5" y="239"/>
                    <a:pt x="5" y="2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3" name="Freeform 13">
              <a:extLst>
                <a:ext uri="{FF2B5EF4-FFF2-40B4-BE49-F238E27FC236}">
                  <a16:creationId xmlns:a16="http://schemas.microsoft.com/office/drawing/2014/main" id="{D6CFB3A5-256C-42C9-9843-9855AD7ECB0A}"/>
                </a:ext>
              </a:extLst>
            </p:cNvPr>
            <p:cNvSpPr>
              <a:spLocks/>
            </p:cNvSpPr>
            <p:nvPr/>
          </p:nvSpPr>
          <p:spPr bwMode="auto">
            <a:xfrm>
              <a:off x="576263" y="2836863"/>
              <a:ext cx="119063" cy="55563"/>
            </a:xfrm>
            <a:custGeom>
              <a:avLst/>
              <a:gdLst>
                <a:gd name="T0" fmla="*/ 447 w 477"/>
                <a:gd name="T1" fmla="*/ 187 h 221"/>
                <a:gd name="T2" fmla="*/ 476 w 477"/>
                <a:gd name="T3" fmla="*/ 109 h 221"/>
                <a:gd name="T4" fmla="*/ 359 w 477"/>
                <a:gd name="T5" fmla="*/ 1 h 221"/>
                <a:gd name="T6" fmla="*/ 351 w 477"/>
                <a:gd name="T7" fmla="*/ 1 h 221"/>
                <a:gd name="T8" fmla="*/ 289 w 477"/>
                <a:gd name="T9" fmla="*/ 1 h 221"/>
                <a:gd name="T10" fmla="*/ 228 w 477"/>
                <a:gd name="T11" fmla="*/ 1 h 221"/>
                <a:gd name="T12" fmla="*/ 142 w 477"/>
                <a:gd name="T13" fmla="*/ 0 h 221"/>
                <a:gd name="T14" fmla="*/ 132 w 477"/>
                <a:gd name="T15" fmla="*/ 0 h 221"/>
                <a:gd name="T16" fmla="*/ 5 w 477"/>
                <a:gd name="T17" fmla="*/ 74 h 221"/>
                <a:gd name="T18" fmla="*/ 0 w 477"/>
                <a:gd name="T19" fmla="*/ 85 h 221"/>
                <a:gd name="T20" fmla="*/ 0 w 477"/>
                <a:gd name="T21" fmla="*/ 132 h 221"/>
                <a:gd name="T22" fmla="*/ 3 w 477"/>
                <a:gd name="T23" fmla="*/ 141 h 221"/>
                <a:gd name="T24" fmla="*/ 130 w 477"/>
                <a:gd name="T25" fmla="*/ 221 h 221"/>
                <a:gd name="T26" fmla="*/ 137 w 477"/>
                <a:gd name="T27" fmla="*/ 221 h 221"/>
                <a:gd name="T28" fmla="*/ 222 w 477"/>
                <a:gd name="T29" fmla="*/ 220 h 221"/>
                <a:gd name="T30" fmla="*/ 278 w 477"/>
                <a:gd name="T31" fmla="*/ 220 h 221"/>
                <a:gd name="T32" fmla="*/ 360 w 477"/>
                <a:gd name="T33" fmla="*/ 220 h 221"/>
                <a:gd name="T34" fmla="*/ 447 w 477"/>
                <a:gd name="T35" fmla="*/ 18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7" h="221">
                  <a:moveTo>
                    <a:pt x="447" y="187"/>
                  </a:moveTo>
                  <a:cubicBezTo>
                    <a:pt x="467" y="167"/>
                    <a:pt x="477" y="140"/>
                    <a:pt x="476" y="109"/>
                  </a:cubicBezTo>
                  <a:cubicBezTo>
                    <a:pt x="475" y="44"/>
                    <a:pt x="428" y="1"/>
                    <a:pt x="359" y="1"/>
                  </a:cubicBezTo>
                  <a:cubicBezTo>
                    <a:pt x="351" y="1"/>
                    <a:pt x="351" y="1"/>
                    <a:pt x="351" y="1"/>
                  </a:cubicBezTo>
                  <a:cubicBezTo>
                    <a:pt x="331" y="1"/>
                    <a:pt x="310" y="1"/>
                    <a:pt x="289" y="1"/>
                  </a:cubicBezTo>
                  <a:cubicBezTo>
                    <a:pt x="269" y="1"/>
                    <a:pt x="248" y="1"/>
                    <a:pt x="228" y="1"/>
                  </a:cubicBezTo>
                  <a:cubicBezTo>
                    <a:pt x="194" y="1"/>
                    <a:pt x="167" y="1"/>
                    <a:pt x="142" y="0"/>
                  </a:cubicBezTo>
                  <a:cubicBezTo>
                    <a:pt x="139" y="0"/>
                    <a:pt x="135" y="0"/>
                    <a:pt x="132" y="0"/>
                  </a:cubicBezTo>
                  <a:cubicBezTo>
                    <a:pt x="72" y="0"/>
                    <a:pt x="29" y="25"/>
                    <a:pt x="5" y="74"/>
                  </a:cubicBezTo>
                  <a:cubicBezTo>
                    <a:pt x="0" y="85"/>
                    <a:pt x="0" y="85"/>
                    <a:pt x="0" y="85"/>
                  </a:cubicBezTo>
                  <a:cubicBezTo>
                    <a:pt x="0" y="132"/>
                    <a:pt x="0" y="132"/>
                    <a:pt x="0" y="132"/>
                  </a:cubicBezTo>
                  <a:cubicBezTo>
                    <a:pt x="3" y="141"/>
                    <a:pt x="3" y="141"/>
                    <a:pt x="3" y="141"/>
                  </a:cubicBezTo>
                  <a:cubicBezTo>
                    <a:pt x="25" y="194"/>
                    <a:pt x="68" y="221"/>
                    <a:pt x="130" y="221"/>
                  </a:cubicBezTo>
                  <a:cubicBezTo>
                    <a:pt x="132" y="221"/>
                    <a:pt x="135" y="221"/>
                    <a:pt x="137" y="221"/>
                  </a:cubicBezTo>
                  <a:cubicBezTo>
                    <a:pt x="162" y="220"/>
                    <a:pt x="189" y="220"/>
                    <a:pt x="222" y="220"/>
                  </a:cubicBezTo>
                  <a:cubicBezTo>
                    <a:pt x="241" y="220"/>
                    <a:pt x="260" y="220"/>
                    <a:pt x="278" y="220"/>
                  </a:cubicBezTo>
                  <a:cubicBezTo>
                    <a:pt x="306" y="220"/>
                    <a:pt x="333" y="220"/>
                    <a:pt x="360" y="220"/>
                  </a:cubicBezTo>
                  <a:cubicBezTo>
                    <a:pt x="396" y="220"/>
                    <a:pt x="426" y="208"/>
                    <a:pt x="447" y="1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4" name="Freeform 14">
              <a:extLst>
                <a:ext uri="{FF2B5EF4-FFF2-40B4-BE49-F238E27FC236}">
                  <a16:creationId xmlns:a16="http://schemas.microsoft.com/office/drawing/2014/main" id="{1889785F-DD29-441B-99B7-022CA515A142}"/>
                </a:ext>
              </a:extLst>
            </p:cNvPr>
            <p:cNvSpPr>
              <a:spLocks/>
            </p:cNvSpPr>
            <p:nvPr/>
          </p:nvSpPr>
          <p:spPr bwMode="auto">
            <a:xfrm>
              <a:off x="1089025" y="2836863"/>
              <a:ext cx="120650" cy="55563"/>
            </a:xfrm>
            <a:custGeom>
              <a:avLst/>
              <a:gdLst>
                <a:gd name="T0" fmla="*/ 473 w 477"/>
                <a:gd name="T1" fmla="*/ 81 h 221"/>
                <a:gd name="T2" fmla="*/ 365 w 477"/>
                <a:gd name="T3" fmla="*/ 1 h 221"/>
                <a:gd name="T4" fmla="*/ 306 w 477"/>
                <a:gd name="T5" fmla="*/ 0 h 221"/>
                <a:gd name="T6" fmla="*/ 225 w 477"/>
                <a:gd name="T7" fmla="*/ 0 h 221"/>
                <a:gd name="T8" fmla="*/ 109 w 477"/>
                <a:gd name="T9" fmla="*/ 1 h 221"/>
                <a:gd name="T10" fmla="*/ 31 w 477"/>
                <a:gd name="T11" fmla="*/ 33 h 221"/>
                <a:gd name="T12" fmla="*/ 1 w 477"/>
                <a:gd name="T13" fmla="*/ 115 h 221"/>
                <a:gd name="T14" fmla="*/ 114 w 477"/>
                <a:gd name="T15" fmla="*/ 220 h 221"/>
                <a:gd name="T16" fmla="*/ 204 w 477"/>
                <a:gd name="T17" fmla="*/ 220 h 221"/>
                <a:gd name="T18" fmla="*/ 253 w 477"/>
                <a:gd name="T19" fmla="*/ 220 h 221"/>
                <a:gd name="T20" fmla="*/ 337 w 477"/>
                <a:gd name="T21" fmla="*/ 221 h 221"/>
                <a:gd name="T22" fmla="*/ 346 w 477"/>
                <a:gd name="T23" fmla="*/ 221 h 221"/>
                <a:gd name="T24" fmla="*/ 474 w 477"/>
                <a:gd name="T25" fmla="*/ 141 h 221"/>
                <a:gd name="T26" fmla="*/ 477 w 477"/>
                <a:gd name="T27" fmla="*/ 132 h 221"/>
                <a:gd name="T28" fmla="*/ 477 w 477"/>
                <a:gd name="T29" fmla="*/ 91 h 221"/>
                <a:gd name="T30" fmla="*/ 473 w 477"/>
                <a:gd name="T31" fmla="*/ 8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77" h="221">
                  <a:moveTo>
                    <a:pt x="473" y="81"/>
                  </a:moveTo>
                  <a:cubicBezTo>
                    <a:pt x="463" y="59"/>
                    <a:pt x="436" y="1"/>
                    <a:pt x="365" y="1"/>
                  </a:cubicBezTo>
                  <a:cubicBezTo>
                    <a:pt x="346" y="0"/>
                    <a:pt x="326" y="0"/>
                    <a:pt x="306" y="0"/>
                  </a:cubicBezTo>
                  <a:cubicBezTo>
                    <a:pt x="279" y="0"/>
                    <a:pt x="252" y="0"/>
                    <a:pt x="225" y="0"/>
                  </a:cubicBezTo>
                  <a:cubicBezTo>
                    <a:pt x="180" y="0"/>
                    <a:pt x="143" y="0"/>
                    <a:pt x="109" y="1"/>
                  </a:cubicBezTo>
                  <a:cubicBezTo>
                    <a:pt x="78" y="1"/>
                    <a:pt x="51" y="13"/>
                    <a:pt x="31" y="33"/>
                  </a:cubicBezTo>
                  <a:cubicBezTo>
                    <a:pt x="10" y="54"/>
                    <a:pt x="0" y="83"/>
                    <a:pt x="1" y="115"/>
                  </a:cubicBezTo>
                  <a:cubicBezTo>
                    <a:pt x="3" y="177"/>
                    <a:pt x="48" y="219"/>
                    <a:pt x="114" y="220"/>
                  </a:cubicBezTo>
                  <a:cubicBezTo>
                    <a:pt x="144" y="220"/>
                    <a:pt x="174" y="220"/>
                    <a:pt x="204" y="220"/>
                  </a:cubicBezTo>
                  <a:cubicBezTo>
                    <a:pt x="220" y="220"/>
                    <a:pt x="237" y="220"/>
                    <a:pt x="253" y="220"/>
                  </a:cubicBezTo>
                  <a:cubicBezTo>
                    <a:pt x="287" y="220"/>
                    <a:pt x="313" y="220"/>
                    <a:pt x="337" y="221"/>
                  </a:cubicBezTo>
                  <a:cubicBezTo>
                    <a:pt x="340" y="221"/>
                    <a:pt x="343" y="221"/>
                    <a:pt x="346" y="221"/>
                  </a:cubicBezTo>
                  <a:cubicBezTo>
                    <a:pt x="408" y="221"/>
                    <a:pt x="451" y="194"/>
                    <a:pt x="474" y="141"/>
                  </a:cubicBezTo>
                  <a:cubicBezTo>
                    <a:pt x="477" y="132"/>
                    <a:pt x="477" y="132"/>
                    <a:pt x="477" y="132"/>
                  </a:cubicBezTo>
                  <a:cubicBezTo>
                    <a:pt x="477" y="91"/>
                    <a:pt x="477" y="91"/>
                    <a:pt x="477" y="91"/>
                  </a:cubicBezTo>
                  <a:lnTo>
                    <a:pt x="473"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5" name="Freeform 15">
              <a:extLst>
                <a:ext uri="{FF2B5EF4-FFF2-40B4-BE49-F238E27FC236}">
                  <a16:creationId xmlns:a16="http://schemas.microsoft.com/office/drawing/2014/main" id="{15F3BEC0-0FF3-4DE0-992E-4F0774CCB902}"/>
                </a:ext>
              </a:extLst>
            </p:cNvPr>
            <p:cNvSpPr>
              <a:spLocks/>
            </p:cNvSpPr>
            <p:nvPr/>
          </p:nvSpPr>
          <p:spPr bwMode="auto">
            <a:xfrm>
              <a:off x="1020763" y="2995613"/>
              <a:ext cx="106363" cy="101600"/>
            </a:xfrm>
            <a:custGeom>
              <a:avLst/>
              <a:gdLst>
                <a:gd name="T0" fmla="*/ 200 w 422"/>
                <a:gd name="T1" fmla="*/ 34 h 407"/>
                <a:gd name="T2" fmla="*/ 121 w 422"/>
                <a:gd name="T3" fmla="*/ 0 h 407"/>
                <a:gd name="T4" fmla="*/ 44 w 422"/>
                <a:gd name="T5" fmla="*/ 34 h 407"/>
                <a:gd name="T6" fmla="*/ 46 w 422"/>
                <a:gd name="T7" fmla="*/ 190 h 407"/>
                <a:gd name="T8" fmla="*/ 224 w 422"/>
                <a:gd name="T9" fmla="*/ 369 h 407"/>
                <a:gd name="T10" fmla="*/ 267 w 422"/>
                <a:gd name="T11" fmla="*/ 395 h 407"/>
                <a:gd name="T12" fmla="*/ 278 w 422"/>
                <a:gd name="T13" fmla="*/ 400 h 407"/>
                <a:gd name="T14" fmla="*/ 293 w 422"/>
                <a:gd name="T15" fmla="*/ 407 h 407"/>
                <a:gd name="T16" fmla="*/ 309 w 422"/>
                <a:gd name="T17" fmla="*/ 405 h 407"/>
                <a:gd name="T18" fmla="*/ 402 w 422"/>
                <a:gd name="T19" fmla="*/ 337 h 407"/>
                <a:gd name="T20" fmla="*/ 382 w 422"/>
                <a:gd name="T21" fmla="*/ 216 h 407"/>
                <a:gd name="T22" fmla="*/ 200 w 422"/>
                <a:gd name="T23" fmla="*/ 34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2" h="407">
                  <a:moveTo>
                    <a:pt x="200" y="34"/>
                  </a:moveTo>
                  <a:cubicBezTo>
                    <a:pt x="178" y="12"/>
                    <a:pt x="150" y="0"/>
                    <a:pt x="121" y="0"/>
                  </a:cubicBezTo>
                  <a:cubicBezTo>
                    <a:pt x="93" y="0"/>
                    <a:pt x="65" y="12"/>
                    <a:pt x="44" y="34"/>
                  </a:cubicBezTo>
                  <a:cubicBezTo>
                    <a:pt x="0" y="78"/>
                    <a:pt x="1" y="145"/>
                    <a:pt x="46" y="190"/>
                  </a:cubicBezTo>
                  <a:cubicBezTo>
                    <a:pt x="117" y="263"/>
                    <a:pt x="172" y="318"/>
                    <a:pt x="224" y="369"/>
                  </a:cubicBezTo>
                  <a:cubicBezTo>
                    <a:pt x="238" y="382"/>
                    <a:pt x="254" y="389"/>
                    <a:pt x="267" y="395"/>
                  </a:cubicBezTo>
                  <a:cubicBezTo>
                    <a:pt x="271" y="397"/>
                    <a:pt x="275" y="398"/>
                    <a:pt x="278" y="400"/>
                  </a:cubicBezTo>
                  <a:cubicBezTo>
                    <a:pt x="293" y="407"/>
                    <a:pt x="293" y="407"/>
                    <a:pt x="293" y="407"/>
                  </a:cubicBezTo>
                  <a:cubicBezTo>
                    <a:pt x="309" y="405"/>
                    <a:pt x="309" y="405"/>
                    <a:pt x="309" y="405"/>
                  </a:cubicBezTo>
                  <a:cubicBezTo>
                    <a:pt x="353" y="398"/>
                    <a:pt x="385" y="375"/>
                    <a:pt x="402" y="337"/>
                  </a:cubicBezTo>
                  <a:cubicBezTo>
                    <a:pt x="422" y="294"/>
                    <a:pt x="415" y="249"/>
                    <a:pt x="382" y="216"/>
                  </a:cubicBezTo>
                  <a:cubicBezTo>
                    <a:pt x="318" y="151"/>
                    <a:pt x="258" y="91"/>
                    <a:pt x="200"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6" name="Freeform 16">
              <a:extLst>
                <a:ext uri="{FF2B5EF4-FFF2-40B4-BE49-F238E27FC236}">
                  <a16:creationId xmlns:a16="http://schemas.microsoft.com/office/drawing/2014/main" id="{100B0E1F-8499-46E3-A77F-AF2722F8A249}"/>
                </a:ext>
              </a:extLst>
            </p:cNvPr>
            <p:cNvSpPr>
              <a:spLocks/>
            </p:cNvSpPr>
            <p:nvPr/>
          </p:nvSpPr>
          <p:spPr bwMode="auto">
            <a:xfrm>
              <a:off x="658813" y="2995613"/>
              <a:ext cx="106363" cy="103188"/>
            </a:xfrm>
            <a:custGeom>
              <a:avLst/>
              <a:gdLst>
                <a:gd name="T0" fmla="*/ 301 w 422"/>
                <a:gd name="T1" fmla="*/ 0 h 408"/>
                <a:gd name="T2" fmla="*/ 218 w 422"/>
                <a:gd name="T3" fmla="*/ 37 h 408"/>
                <a:gd name="T4" fmla="*/ 149 w 422"/>
                <a:gd name="T5" fmla="*/ 106 h 408"/>
                <a:gd name="T6" fmla="*/ 121 w 422"/>
                <a:gd name="T7" fmla="*/ 134 h 408"/>
                <a:gd name="T8" fmla="*/ 98 w 422"/>
                <a:gd name="T9" fmla="*/ 157 h 408"/>
                <a:gd name="T10" fmla="*/ 40 w 422"/>
                <a:gd name="T11" fmla="*/ 216 h 408"/>
                <a:gd name="T12" fmla="*/ 19 w 422"/>
                <a:gd name="T13" fmla="*/ 337 h 408"/>
                <a:gd name="T14" fmla="*/ 113 w 422"/>
                <a:gd name="T15" fmla="*/ 405 h 408"/>
                <a:gd name="T16" fmla="*/ 130 w 422"/>
                <a:gd name="T17" fmla="*/ 408 h 408"/>
                <a:gd name="T18" fmla="*/ 145 w 422"/>
                <a:gd name="T19" fmla="*/ 400 h 408"/>
                <a:gd name="T20" fmla="*/ 157 w 422"/>
                <a:gd name="T21" fmla="*/ 393 h 408"/>
                <a:gd name="T22" fmla="*/ 201 w 422"/>
                <a:gd name="T23" fmla="*/ 365 h 408"/>
                <a:gd name="T24" fmla="*/ 374 w 422"/>
                <a:gd name="T25" fmla="*/ 193 h 408"/>
                <a:gd name="T26" fmla="*/ 379 w 422"/>
                <a:gd name="T27" fmla="*/ 35 h 408"/>
                <a:gd name="T28" fmla="*/ 301 w 422"/>
                <a:gd name="T29" fmla="*/ 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2" h="408">
                  <a:moveTo>
                    <a:pt x="301" y="0"/>
                  </a:moveTo>
                  <a:cubicBezTo>
                    <a:pt x="271" y="0"/>
                    <a:pt x="243" y="13"/>
                    <a:pt x="218" y="37"/>
                  </a:cubicBezTo>
                  <a:cubicBezTo>
                    <a:pt x="195" y="60"/>
                    <a:pt x="171" y="84"/>
                    <a:pt x="149" y="106"/>
                  </a:cubicBezTo>
                  <a:cubicBezTo>
                    <a:pt x="140" y="116"/>
                    <a:pt x="131" y="125"/>
                    <a:pt x="121" y="134"/>
                  </a:cubicBezTo>
                  <a:cubicBezTo>
                    <a:pt x="114" y="142"/>
                    <a:pt x="106" y="149"/>
                    <a:pt x="98" y="157"/>
                  </a:cubicBezTo>
                  <a:cubicBezTo>
                    <a:pt x="79" y="176"/>
                    <a:pt x="59" y="196"/>
                    <a:pt x="40" y="216"/>
                  </a:cubicBezTo>
                  <a:cubicBezTo>
                    <a:pt x="7" y="250"/>
                    <a:pt x="0" y="294"/>
                    <a:pt x="19" y="337"/>
                  </a:cubicBezTo>
                  <a:cubicBezTo>
                    <a:pt x="37" y="375"/>
                    <a:pt x="68" y="398"/>
                    <a:pt x="113" y="405"/>
                  </a:cubicBezTo>
                  <a:cubicBezTo>
                    <a:pt x="130" y="408"/>
                    <a:pt x="130" y="408"/>
                    <a:pt x="130" y="408"/>
                  </a:cubicBezTo>
                  <a:cubicBezTo>
                    <a:pt x="145" y="400"/>
                    <a:pt x="145" y="400"/>
                    <a:pt x="145" y="400"/>
                  </a:cubicBezTo>
                  <a:cubicBezTo>
                    <a:pt x="148" y="398"/>
                    <a:pt x="152" y="396"/>
                    <a:pt x="157" y="393"/>
                  </a:cubicBezTo>
                  <a:cubicBezTo>
                    <a:pt x="170" y="387"/>
                    <a:pt x="187" y="379"/>
                    <a:pt x="201" y="365"/>
                  </a:cubicBezTo>
                  <a:cubicBezTo>
                    <a:pt x="261" y="308"/>
                    <a:pt x="321" y="247"/>
                    <a:pt x="374" y="193"/>
                  </a:cubicBezTo>
                  <a:cubicBezTo>
                    <a:pt x="420" y="146"/>
                    <a:pt x="422" y="79"/>
                    <a:pt x="379" y="35"/>
                  </a:cubicBezTo>
                  <a:cubicBezTo>
                    <a:pt x="357" y="13"/>
                    <a:pt x="330" y="0"/>
                    <a:pt x="3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7" name="Freeform 17">
              <a:extLst>
                <a:ext uri="{FF2B5EF4-FFF2-40B4-BE49-F238E27FC236}">
                  <a16:creationId xmlns:a16="http://schemas.microsoft.com/office/drawing/2014/main" id="{CC77DF32-B036-46AE-AFA0-9522D11CBCE2}"/>
                </a:ext>
              </a:extLst>
            </p:cNvPr>
            <p:cNvSpPr>
              <a:spLocks/>
            </p:cNvSpPr>
            <p:nvPr/>
          </p:nvSpPr>
          <p:spPr bwMode="auto">
            <a:xfrm>
              <a:off x="657225" y="2632075"/>
              <a:ext cx="104775" cy="101600"/>
            </a:xfrm>
            <a:custGeom>
              <a:avLst/>
              <a:gdLst>
                <a:gd name="T0" fmla="*/ 229 w 413"/>
                <a:gd name="T1" fmla="*/ 373 h 402"/>
                <a:gd name="T2" fmla="*/ 300 w 413"/>
                <a:gd name="T3" fmla="*/ 402 h 402"/>
                <a:gd name="T4" fmla="*/ 347 w 413"/>
                <a:gd name="T5" fmla="*/ 392 h 402"/>
                <a:gd name="T6" fmla="*/ 413 w 413"/>
                <a:gd name="T7" fmla="*/ 285 h 402"/>
                <a:gd name="T8" fmla="*/ 413 w 413"/>
                <a:gd name="T9" fmla="*/ 274 h 402"/>
                <a:gd name="T10" fmla="*/ 409 w 413"/>
                <a:gd name="T11" fmla="*/ 265 h 402"/>
                <a:gd name="T12" fmla="*/ 408 w 413"/>
                <a:gd name="T13" fmla="*/ 263 h 402"/>
                <a:gd name="T14" fmla="*/ 384 w 413"/>
                <a:gd name="T15" fmla="*/ 218 h 402"/>
                <a:gd name="T16" fmla="*/ 195 w 413"/>
                <a:gd name="T17" fmla="*/ 30 h 402"/>
                <a:gd name="T18" fmla="*/ 123 w 413"/>
                <a:gd name="T19" fmla="*/ 0 h 402"/>
                <a:gd name="T20" fmla="*/ 46 w 413"/>
                <a:gd name="T21" fmla="*/ 32 h 402"/>
                <a:gd name="T22" fmla="*/ 42 w 413"/>
                <a:gd name="T23" fmla="*/ 185 h 402"/>
                <a:gd name="T24" fmla="*/ 229 w 413"/>
                <a:gd name="T25" fmla="*/ 373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3" h="402">
                  <a:moveTo>
                    <a:pt x="229" y="373"/>
                  </a:moveTo>
                  <a:cubicBezTo>
                    <a:pt x="248" y="392"/>
                    <a:pt x="273" y="402"/>
                    <a:pt x="300" y="402"/>
                  </a:cubicBezTo>
                  <a:cubicBezTo>
                    <a:pt x="315" y="402"/>
                    <a:pt x="331" y="399"/>
                    <a:pt x="347" y="392"/>
                  </a:cubicBezTo>
                  <a:cubicBezTo>
                    <a:pt x="376" y="380"/>
                    <a:pt x="411" y="352"/>
                    <a:pt x="413" y="285"/>
                  </a:cubicBezTo>
                  <a:cubicBezTo>
                    <a:pt x="413" y="274"/>
                    <a:pt x="413" y="274"/>
                    <a:pt x="413" y="274"/>
                  </a:cubicBezTo>
                  <a:cubicBezTo>
                    <a:pt x="409" y="265"/>
                    <a:pt x="409" y="265"/>
                    <a:pt x="409" y="265"/>
                  </a:cubicBezTo>
                  <a:cubicBezTo>
                    <a:pt x="409" y="264"/>
                    <a:pt x="408" y="264"/>
                    <a:pt x="408" y="263"/>
                  </a:cubicBezTo>
                  <a:cubicBezTo>
                    <a:pt x="405" y="252"/>
                    <a:pt x="399" y="233"/>
                    <a:pt x="384" y="218"/>
                  </a:cubicBezTo>
                  <a:cubicBezTo>
                    <a:pt x="316" y="148"/>
                    <a:pt x="254" y="87"/>
                    <a:pt x="195" y="30"/>
                  </a:cubicBezTo>
                  <a:cubicBezTo>
                    <a:pt x="176" y="11"/>
                    <a:pt x="150" y="0"/>
                    <a:pt x="123" y="0"/>
                  </a:cubicBezTo>
                  <a:cubicBezTo>
                    <a:pt x="95" y="0"/>
                    <a:pt x="67" y="12"/>
                    <a:pt x="46" y="32"/>
                  </a:cubicBezTo>
                  <a:cubicBezTo>
                    <a:pt x="2" y="75"/>
                    <a:pt x="0" y="142"/>
                    <a:pt x="42" y="185"/>
                  </a:cubicBezTo>
                  <a:cubicBezTo>
                    <a:pt x="109" y="255"/>
                    <a:pt x="177" y="322"/>
                    <a:pt x="229" y="3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8" name="Freeform 18">
              <a:extLst>
                <a:ext uri="{FF2B5EF4-FFF2-40B4-BE49-F238E27FC236}">
                  <a16:creationId xmlns:a16="http://schemas.microsoft.com/office/drawing/2014/main" id="{BC43E4BB-AB4D-48CA-8D66-D40D3992587F}"/>
                </a:ext>
              </a:extLst>
            </p:cNvPr>
            <p:cNvSpPr>
              <a:spLocks/>
            </p:cNvSpPr>
            <p:nvPr/>
          </p:nvSpPr>
          <p:spPr bwMode="auto">
            <a:xfrm>
              <a:off x="1020763" y="2632075"/>
              <a:ext cx="106363" cy="101600"/>
            </a:xfrm>
            <a:custGeom>
              <a:avLst/>
              <a:gdLst>
                <a:gd name="T0" fmla="*/ 117 w 421"/>
                <a:gd name="T1" fmla="*/ 404 h 405"/>
                <a:gd name="T2" fmla="*/ 130 w 421"/>
                <a:gd name="T3" fmla="*/ 405 h 405"/>
                <a:gd name="T4" fmla="*/ 141 w 421"/>
                <a:gd name="T5" fmla="*/ 400 h 405"/>
                <a:gd name="T6" fmla="*/ 150 w 421"/>
                <a:gd name="T7" fmla="*/ 397 h 405"/>
                <a:gd name="T8" fmla="*/ 192 w 421"/>
                <a:gd name="T9" fmla="*/ 373 h 405"/>
                <a:gd name="T10" fmla="*/ 380 w 421"/>
                <a:gd name="T11" fmla="*/ 185 h 405"/>
                <a:gd name="T12" fmla="*/ 379 w 421"/>
                <a:gd name="T13" fmla="*/ 36 h 405"/>
                <a:gd name="T14" fmla="*/ 299 w 421"/>
                <a:gd name="T15" fmla="*/ 0 h 405"/>
                <a:gd name="T16" fmla="*/ 226 w 421"/>
                <a:gd name="T17" fmla="*/ 30 h 405"/>
                <a:gd name="T18" fmla="*/ 37 w 421"/>
                <a:gd name="T19" fmla="*/ 220 h 405"/>
                <a:gd name="T20" fmla="*/ 20 w 421"/>
                <a:gd name="T21" fmla="*/ 340 h 405"/>
                <a:gd name="T22" fmla="*/ 117 w 421"/>
                <a:gd name="T23" fmla="*/ 404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1" h="405">
                  <a:moveTo>
                    <a:pt x="117" y="404"/>
                  </a:moveTo>
                  <a:cubicBezTo>
                    <a:pt x="130" y="405"/>
                    <a:pt x="130" y="405"/>
                    <a:pt x="130" y="405"/>
                  </a:cubicBezTo>
                  <a:cubicBezTo>
                    <a:pt x="141" y="400"/>
                    <a:pt x="141" y="400"/>
                    <a:pt x="141" y="400"/>
                  </a:cubicBezTo>
                  <a:cubicBezTo>
                    <a:pt x="143" y="399"/>
                    <a:pt x="147" y="398"/>
                    <a:pt x="150" y="397"/>
                  </a:cubicBezTo>
                  <a:cubicBezTo>
                    <a:pt x="162" y="392"/>
                    <a:pt x="178" y="387"/>
                    <a:pt x="192" y="373"/>
                  </a:cubicBezTo>
                  <a:cubicBezTo>
                    <a:pt x="262" y="305"/>
                    <a:pt x="323" y="244"/>
                    <a:pt x="380" y="185"/>
                  </a:cubicBezTo>
                  <a:cubicBezTo>
                    <a:pt x="421" y="143"/>
                    <a:pt x="420" y="79"/>
                    <a:pt x="379" y="36"/>
                  </a:cubicBezTo>
                  <a:cubicBezTo>
                    <a:pt x="358" y="13"/>
                    <a:pt x="328" y="0"/>
                    <a:pt x="299" y="0"/>
                  </a:cubicBezTo>
                  <a:cubicBezTo>
                    <a:pt x="272" y="0"/>
                    <a:pt x="246" y="11"/>
                    <a:pt x="226" y="30"/>
                  </a:cubicBezTo>
                  <a:cubicBezTo>
                    <a:pt x="168" y="86"/>
                    <a:pt x="106" y="148"/>
                    <a:pt x="37" y="220"/>
                  </a:cubicBezTo>
                  <a:cubicBezTo>
                    <a:pt x="6" y="252"/>
                    <a:pt x="0" y="296"/>
                    <a:pt x="20" y="340"/>
                  </a:cubicBezTo>
                  <a:cubicBezTo>
                    <a:pt x="39" y="378"/>
                    <a:pt x="73" y="401"/>
                    <a:pt x="117" y="4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9" name="Freeform 19">
              <a:extLst>
                <a:ext uri="{FF2B5EF4-FFF2-40B4-BE49-F238E27FC236}">
                  <a16:creationId xmlns:a16="http://schemas.microsoft.com/office/drawing/2014/main" id="{2FBA42B9-7E46-427F-869D-478BEBC31A67}"/>
                </a:ext>
              </a:extLst>
            </p:cNvPr>
            <p:cNvSpPr>
              <a:spLocks noEditPoints="1"/>
            </p:cNvSpPr>
            <p:nvPr/>
          </p:nvSpPr>
          <p:spPr bwMode="auto">
            <a:xfrm>
              <a:off x="719138" y="2693988"/>
              <a:ext cx="346075" cy="374650"/>
            </a:xfrm>
            <a:custGeom>
              <a:avLst/>
              <a:gdLst>
                <a:gd name="T0" fmla="*/ 334 w 1376"/>
                <a:gd name="T1" fmla="*/ 1494 h 1494"/>
                <a:gd name="T2" fmla="*/ 360 w 1376"/>
                <a:gd name="T3" fmla="*/ 1494 h 1494"/>
                <a:gd name="T4" fmla="*/ 563 w 1376"/>
                <a:gd name="T5" fmla="*/ 1494 h 1494"/>
                <a:gd name="T6" fmla="*/ 1044 w 1376"/>
                <a:gd name="T7" fmla="*/ 1494 h 1494"/>
                <a:gd name="T8" fmla="*/ 1131 w 1376"/>
                <a:gd name="T9" fmla="*/ 1260 h 1494"/>
                <a:gd name="T10" fmla="*/ 1267 w 1376"/>
                <a:gd name="T11" fmla="*/ 1040 h 1494"/>
                <a:gd name="T12" fmla="*/ 1365 w 1376"/>
                <a:gd name="T13" fmla="*/ 813 h 1494"/>
                <a:gd name="T14" fmla="*/ 1376 w 1376"/>
                <a:gd name="T15" fmla="*/ 750 h 1494"/>
                <a:gd name="T16" fmla="*/ 1376 w 1376"/>
                <a:gd name="T17" fmla="*/ 648 h 1494"/>
                <a:gd name="T18" fmla="*/ 1372 w 1376"/>
                <a:gd name="T19" fmla="*/ 633 h 1494"/>
                <a:gd name="T20" fmla="*/ 1188 w 1376"/>
                <a:gd name="T21" fmla="*/ 242 h 1494"/>
                <a:gd name="T22" fmla="*/ 564 w 1376"/>
                <a:gd name="T23" fmla="*/ 44 h 1494"/>
                <a:gd name="T24" fmla="*/ 28 w 1376"/>
                <a:gd name="T25" fmla="*/ 514 h 1494"/>
                <a:gd name="T26" fmla="*/ 0 w 1376"/>
                <a:gd name="T27" fmla="*/ 653 h 1494"/>
                <a:gd name="T28" fmla="*/ 0 w 1376"/>
                <a:gd name="T29" fmla="*/ 750 h 1494"/>
                <a:gd name="T30" fmla="*/ 4 w 1376"/>
                <a:gd name="T31" fmla="*/ 763 h 1494"/>
                <a:gd name="T32" fmla="*/ 55 w 1376"/>
                <a:gd name="T33" fmla="*/ 939 h 1494"/>
                <a:gd name="T34" fmla="*/ 196 w 1376"/>
                <a:gd name="T35" fmla="*/ 1174 h 1494"/>
                <a:gd name="T36" fmla="*/ 316 w 1376"/>
                <a:gd name="T37" fmla="*/ 1424 h 1494"/>
                <a:gd name="T38" fmla="*/ 334 w 1376"/>
                <a:gd name="T39" fmla="*/ 1494 h 1494"/>
                <a:gd name="T40" fmla="*/ 288 w 1376"/>
                <a:gd name="T41" fmla="*/ 676 h 1494"/>
                <a:gd name="T42" fmla="*/ 216 w 1376"/>
                <a:gd name="T43" fmla="*/ 583 h 1494"/>
                <a:gd name="T44" fmla="*/ 220 w 1376"/>
                <a:gd name="T45" fmla="*/ 560 h 1494"/>
                <a:gd name="T46" fmla="*/ 381 w 1376"/>
                <a:gd name="T47" fmla="*/ 327 h 1494"/>
                <a:gd name="T48" fmla="*/ 547 w 1376"/>
                <a:gd name="T49" fmla="*/ 248 h 1494"/>
                <a:gd name="T50" fmla="*/ 642 w 1376"/>
                <a:gd name="T51" fmla="*/ 314 h 1494"/>
                <a:gd name="T52" fmla="*/ 582 w 1376"/>
                <a:gd name="T53" fmla="*/ 417 h 1494"/>
                <a:gd name="T54" fmla="*/ 383 w 1376"/>
                <a:gd name="T55" fmla="*/ 614 h 1494"/>
                <a:gd name="T56" fmla="*/ 288 w 1376"/>
                <a:gd name="T57" fmla="*/ 676 h 1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76" h="1494">
                  <a:moveTo>
                    <a:pt x="334" y="1494"/>
                  </a:moveTo>
                  <a:cubicBezTo>
                    <a:pt x="343" y="1494"/>
                    <a:pt x="352" y="1494"/>
                    <a:pt x="360" y="1494"/>
                  </a:cubicBezTo>
                  <a:cubicBezTo>
                    <a:pt x="428" y="1494"/>
                    <a:pt x="496" y="1494"/>
                    <a:pt x="563" y="1494"/>
                  </a:cubicBezTo>
                  <a:cubicBezTo>
                    <a:pt x="1044" y="1494"/>
                    <a:pt x="1044" y="1494"/>
                    <a:pt x="1044" y="1494"/>
                  </a:cubicBezTo>
                  <a:cubicBezTo>
                    <a:pt x="1058" y="1412"/>
                    <a:pt x="1087" y="1334"/>
                    <a:pt x="1131" y="1260"/>
                  </a:cubicBezTo>
                  <a:cubicBezTo>
                    <a:pt x="1174" y="1185"/>
                    <a:pt x="1222" y="1114"/>
                    <a:pt x="1267" y="1040"/>
                  </a:cubicBezTo>
                  <a:cubicBezTo>
                    <a:pt x="1311" y="970"/>
                    <a:pt x="1348" y="895"/>
                    <a:pt x="1365" y="813"/>
                  </a:cubicBezTo>
                  <a:cubicBezTo>
                    <a:pt x="1369" y="792"/>
                    <a:pt x="1373" y="771"/>
                    <a:pt x="1376" y="750"/>
                  </a:cubicBezTo>
                  <a:cubicBezTo>
                    <a:pt x="1376" y="716"/>
                    <a:pt x="1376" y="682"/>
                    <a:pt x="1376" y="648"/>
                  </a:cubicBezTo>
                  <a:cubicBezTo>
                    <a:pt x="1375" y="643"/>
                    <a:pt x="1373" y="638"/>
                    <a:pt x="1372" y="633"/>
                  </a:cubicBezTo>
                  <a:cubicBezTo>
                    <a:pt x="1356" y="481"/>
                    <a:pt x="1295" y="350"/>
                    <a:pt x="1188" y="242"/>
                  </a:cubicBezTo>
                  <a:cubicBezTo>
                    <a:pt x="1015" y="69"/>
                    <a:pt x="804" y="0"/>
                    <a:pt x="564" y="44"/>
                  </a:cubicBezTo>
                  <a:cubicBezTo>
                    <a:pt x="296" y="94"/>
                    <a:pt x="115" y="253"/>
                    <a:pt x="28" y="514"/>
                  </a:cubicBezTo>
                  <a:cubicBezTo>
                    <a:pt x="14" y="558"/>
                    <a:pt x="9" y="606"/>
                    <a:pt x="0" y="653"/>
                  </a:cubicBezTo>
                  <a:cubicBezTo>
                    <a:pt x="0" y="685"/>
                    <a:pt x="0" y="717"/>
                    <a:pt x="0" y="750"/>
                  </a:cubicBezTo>
                  <a:cubicBezTo>
                    <a:pt x="1" y="754"/>
                    <a:pt x="3" y="758"/>
                    <a:pt x="4" y="763"/>
                  </a:cubicBezTo>
                  <a:cubicBezTo>
                    <a:pt x="10" y="825"/>
                    <a:pt x="25" y="885"/>
                    <a:pt x="55" y="939"/>
                  </a:cubicBezTo>
                  <a:cubicBezTo>
                    <a:pt x="99" y="1018"/>
                    <a:pt x="148" y="1096"/>
                    <a:pt x="196" y="1174"/>
                  </a:cubicBezTo>
                  <a:cubicBezTo>
                    <a:pt x="245" y="1253"/>
                    <a:pt x="291" y="1334"/>
                    <a:pt x="316" y="1424"/>
                  </a:cubicBezTo>
                  <a:cubicBezTo>
                    <a:pt x="323" y="1447"/>
                    <a:pt x="328" y="1470"/>
                    <a:pt x="334" y="1494"/>
                  </a:cubicBezTo>
                  <a:close/>
                  <a:moveTo>
                    <a:pt x="288" y="676"/>
                  </a:moveTo>
                  <a:cubicBezTo>
                    <a:pt x="246" y="669"/>
                    <a:pt x="216" y="633"/>
                    <a:pt x="216" y="583"/>
                  </a:cubicBezTo>
                  <a:cubicBezTo>
                    <a:pt x="217" y="580"/>
                    <a:pt x="217" y="570"/>
                    <a:pt x="220" y="560"/>
                  </a:cubicBezTo>
                  <a:cubicBezTo>
                    <a:pt x="245" y="463"/>
                    <a:pt x="306" y="389"/>
                    <a:pt x="381" y="327"/>
                  </a:cubicBezTo>
                  <a:cubicBezTo>
                    <a:pt x="430" y="287"/>
                    <a:pt x="483" y="255"/>
                    <a:pt x="547" y="248"/>
                  </a:cubicBezTo>
                  <a:cubicBezTo>
                    <a:pt x="591" y="243"/>
                    <a:pt x="633" y="272"/>
                    <a:pt x="642" y="314"/>
                  </a:cubicBezTo>
                  <a:cubicBezTo>
                    <a:pt x="652" y="361"/>
                    <a:pt x="627" y="405"/>
                    <a:pt x="582" y="417"/>
                  </a:cubicBezTo>
                  <a:cubicBezTo>
                    <a:pt x="477" y="443"/>
                    <a:pt x="412" y="510"/>
                    <a:pt x="383" y="614"/>
                  </a:cubicBezTo>
                  <a:cubicBezTo>
                    <a:pt x="371" y="656"/>
                    <a:pt x="331" y="682"/>
                    <a:pt x="288" y="6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0" name="Freeform 20">
              <a:extLst>
                <a:ext uri="{FF2B5EF4-FFF2-40B4-BE49-F238E27FC236}">
                  <a16:creationId xmlns:a16="http://schemas.microsoft.com/office/drawing/2014/main" id="{5C5283AA-D5DD-484C-AC12-1DC836864520}"/>
                </a:ext>
              </a:extLst>
            </p:cNvPr>
            <p:cNvSpPr>
              <a:spLocks/>
            </p:cNvSpPr>
            <p:nvPr/>
          </p:nvSpPr>
          <p:spPr bwMode="auto">
            <a:xfrm>
              <a:off x="776288" y="3159125"/>
              <a:ext cx="233363" cy="93663"/>
            </a:xfrm>
            <a:custGeom>
              <a:avLst/>
              <a:gdLst>
                <a:gd name="T0" fmla="*/ 827 w 927"/>
                <a:gd name="T1" fmla="*/ 1 h 372"/>
                <a:gd name="T2" fmla="*/ 102 w 927"/>
                <a:gd name="T3" fmla="*/ 1 h 372"/>
                <a:gd name="T4" fmla="*/ 0 w 927"/>
                <a:gd name="T5" fmla="*/ 91 h 372"/>
                <a:gd name="T6" fmla="*/ 100 w 927"/>
                <a:gd name="T7" fmla="*/ 182 h 372"/>
                <a:gd name="T8" fmla="*/ 212 w 927"/>
                <a:gd name="T9" fmla="*/ 243 h 372"/>
                <a:gd name="T10" fmla="*/ 373 w 927"/>
                <a:gd name="T11" fmla="*/ 372 h 372"/>
                <a:gd name="T12" fmla="*/ 553 w 927"/>
                <a:gd name="T13" fmla="*/ 372 h 372"/>
                <a:gd name="T14" fmla="*/ 714 w 927"/>
                <a:gd name="T15" fmla="*/ 243 h 372"/>
                <a:gd name="T16" fmla="*/ 830 w 927"/>
                <a:gd name="T17" fmla="*/ 182 h 372"/>
                <a:gd name="T18" fmla="*/ 926 w 927"/>
                <a:gd name="T19" fmla="*/ 90 h 372"/>
                <a:gd name="T20" fmla="*/ 827 w 927"/>
                <a:gd name="T21" fmla="*/ 1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7" h="372">
                  <a:moveTo>
                    <a:pt x="827" y="1"/>
                  </a:moveTo>
                  <a:cubicBezTo>
                    <a:pt x="586" y="0"/>
                    <a:pt x="344" y="0"/>
                    <a:pt x="102" y="1"/>
                  </a:cubicBezTo>
                  <a:cubicBezTo>
                    <a:pt x="39" y="1"/>
                    <a:pt x="0" y="38"/>
                    <a:pt x="0" y="91"/>
                  </a:cubicBezTo>
                  <a:cubicBezTo>
                    <a:pt x="0" y="144"/>
                    <a:pt x="38" y="179"/>
                    <a:pt x="100" y="182"/>
                  </a:cubicBezTo>
                  <a:cubicBezTo>
                    <a:pt x="147" y="184"/>
                    <a:pt x="190" y="202"/>
                    <a:pt x="212" y="243"/>
                  </a:cubicBezTo>
                  <a:cubicBezTo>
                    <a:pt x="248" y="310"/>
                    <a:pt x="300" y="353"/>
                    <a:pt x="373" y="372"/>
                  </a:cubicBezTo>
                  <a:cubicBezTo>
                    <a:pt x="433" y="372"/>
                    <a:pt x="493" y="372"/>
                    <a:pt x="553" y="372"/>
                  </a:cubicBezTo>
                  <a:cubicBezTo>
                    <a:pt x="626" y="353"/>
                    <a:pt x="678" y="309"/>
                    <a:pt x="714" y="243"/>
                  </a:cubicBezTo>
                  <a:cubicBezTo>
                    <a:pt x="737" y="200"/>
                    <a:pt x="781" y="184"/>
                    <a:pt x="830" y="182"/>
                  </a:cubicBezTo>
                  <a:cubicBezTo>
                    <a:pt x="888" y="179"/>
                    <a:pt x="927" y="142"/>
                    <a:pt x="926" y="90"/>
                  </a:cubicBezTo>
                  <a:cubicBezTo>
                    <a:pt x="926" y="40"/>
                    <a:pt x="885" y="1"/>
                    <a:pt x="82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1" name="Freeform 21">
              <a:extLst>
                <a:ext uri="{FF2B5EF4-FFF2-40B4-BE49-F238E27FC236}">
                  <a16:creationId xmlns:a16="http://schemas.microsoft.com/office/drawing/2014/main" id="{82795075-528F-4497-B85B-95D3F898338E}"/>
                </a:ext>
              </a:extLst>
            </p:cNvPr>
            <p:cNvSpPr>
              <a:spLocks/>
            </p:cNvSpPr>
            <p:nvPr/>
          </p:nvSpPr>
          <p:spPr bwMode="auto">
            <a:xfrm>
              <a:off x="776288" y="3090863"/>
              <a:ext cx="238125" cy="46038"/>
            </a:xfrm>
            <a:custGeom>
              <a:avLst/>
              <a:gdLst>
                <a:gd name="T0" fmla="*/ 827 w 947"/>
                <a:gd name="T1" fmla="*/ 2 h 184"/>
                <a:gd name="T2" fmla="*/ 464 w 947"/>
                <a:gd name="T3" fmla="*/ 1 h 184"/>
                <a:gd name="T4" fmla="*/ 464 w 947"/>
                <a:gd name="T5" fmla="*/ 1 h 184"/>
                <a:gd name="T6" fmla="*/ 101 w 947"/>
                <a:gd name="T7" fmla="*/ 2 h 184"/>
                <a:gd name="T8" fmla="*/ 0 w 947"/>
                <a:gd name="T9" fmla="*/ 92 h 184"/>
                <a:gd name="T10" fmla="*/ 96 w 947"/>
                <a:gd name="T11" fmla="*/ 183 h 184"/>
                <a:gd name="T12" fmla="*/ 830 w 947"/>
                <a:gd name="T13" fmla="*/ 183 h 184"/>
                <a:gd name="T14" fmla="*/ 916 w 947"/>
                <a:gd name="T15" fmla="*/ 132 h 184"/>
                <a:gd name="T16" fmla="*/ 827 w 947"/>
                <a:gd name="T17" fmla="*/ 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7" h="184">
                  <a:moveTo>
                    <a:pt x="827" y="2"/>
                  </a:moveTo>
                  <a:cubicBezTo>
                    <a:pt x="706" y="0"/>
                    <a:pt x="585" y="1"/>
                    <a:pt x="464" y="1"/>
                  </a:cubicBezTo>
                  <a:cubicBezTo>
                    <a:pt x="464" y="1"/>
                    <a:pt x="464" y="1"/>
                    <a:pt x="464" y="1"/>
                  </a:cubicBezTo>
                  <a:cubicBezTo>
                    <a:pt x="343" y="1"/>
                    <a:pt x="222" y="1"/>
                    <a:pt x="101" y="2"/>
                  </a:cubicBezTo>
                  <a:cubicBezTo>
                    <a:pt x="41" y="2"/>
                    <a:pt x="0" y="39"/>
                    <a:pt x="0" y="92"/>
                  </a:cubicBezTo>
                  <a:cubicBezTo>
                    <a:pt x="0" y="143"/>
                    <a:pt x="39" y="183"/>
                    <a:pt x="96" y="183"/>
                  </a:cubicBezTo>
                  <a:cubicBezTo>
                    <a:pt x="341" y="184"/>
                    <a:pt x="585" y="184"/>
                    <a:pt x="830" y="183"/>
                  </a:cubicBezTo>
                  <a:cubicBezTo>
                    <a:pt x="868" y="183"/>
                    <a:pt x="898" y="167"/>
                    <a:pt x="916" y="132"/>
                  </a:cubicBezTo>
                  <a:cubicBezTo>
                    <a:pt x="947" y="70"/>
                    <a:pt x="903" y="2"/>
                    <a:pt x="8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Tree>
    <p:extLst>
      <p:ext uri="{BB962C8B-B14F-4D97-AF65-F5344CB8AC3E}">
        <p14:creationId xmlns:p14="http://schemas.microsoft.com/office/powerpoint/2010/main" val="35282721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27013"/>
            <a:ext cx="10962219" cy="498475"/>
          </a:xfrm>
        </p:spPr>
        <p:txBody>
          <a:bodyPr/>
          <a:lstStyle>
            <a:lvl1pPr>
              <a:defRPr baseline="0"/>
            </a:lvl1pPr>
          </a:lstStyle>
          <a:p>
            <a:r>
              <a:rPr lang="en-US" dirty="0"/>
              <a:t>Text layout</a:t>
            </a:r>
          </a:p>
        </p:txBody>
      </p:sp>
      <p:sp>
        <p:nvSpPr>
          <p:cNvPr id="3" name="Text Placeholder 20"/>
          <p:cNvSpPr>
            <a:spLocks noGrp="1"/>
          </p:cNvSpPr>
          <p:nvPr>
            <p:ph type="body" sz="quarter" idx="10"/>
          </p:nvPr>
        </p:nvSpPr>
        <p:spPr>
          <a:xfrm>
            <a:off x="609601" y="1530351"/>
            <a:ext cx="10962217" cy="4660900"/>
          </a:xfrm>
          <a:prstGeom prst="rect">
            <a:avLst/>
          </a:prstGeom>
        </p:spPr>
        <p:txBody>
          <a:bodyPr lIns="0" tIns="91440" bIns="91440" anchor="ctr" anchorCtr="0"/>
          <a:lstStyle>
            <a:lvl1pPr marL="224361" indent="-224361">
              <a:spcBef>
                <a:spcPts val="2400"/>
              </a:spcBef>
              <a:buSzPct val="100000"/>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1pPr>
            <a:lvl2pPr marL="537620" indent="-234945">
              <a:lnSpc>
                <a:spcPct val="90000"/>
              </a:lnSpc>
              <a:spcBef>
                <a:spcPts val="0"/>
              </a:spcBef>
              <a:tabLst>
                <a:tab pos="537620" algn="l"/>
              </a:tabLst>
              <a:defRPr sz="2133">
                <a:solidFill>
                  <a:schemeClr val="tx1"/>
                </a:solidFill>
                <a:latin typeface="Arial" panose="020B0604020202020204" pitchFamily="34" charset="0"/>
                <a:cs typeface="Arial" panose="020B0604020202020204" pitchFamily="34" charset="0"/>
              </a:defRPr>
            </a:lvl2pPr>
            <a:lvl3pPr marL="838179" indent="-222245">
              <a:lnSpc>
                <a:spcPct val="90000"/>
              </a:lnSpc>
              <a:spcBef>
                <a:spcPts val="0"/>
              </a:spcBef>
              <a:buFont typeface="Courier New" panose="02070309020205020404" pitchFamily="49" charset="0"/>
              <a:buChar char="o"/>
              <a:defRPr sz="1867">
                <a:solidFill>
                  <a:schemeClr val="tx1"/>
                </a:solidFill>
                <a:latin typeface="Arial" panose="020B0604020202020204" pitchFamily="34" charset="0"/>
                <a:cs typeface="Arial" panose="020B0604020202020204" pitchFamily="34" charset="0"/>
              </a:defRPr>
            </a:lvl3pPr>
            <a:lvl4pPr marL="1979035" indent="-222245">
              <a:lnSpc>
                <a:spcPct val="90000"/>
              </a:lnSpc>
              <a:spcBef>
                <a:spcPts val="0"/>
              </a:spcBef>
              <a:buFont typeface="Arial" panose="020B0604020202020204" pitchFamily="34" charset="0"/>
              <a:buChar char="»"/>
              <a:defRPr lang="en-US" sz="2400" kern="1200" dirty="0" smtClean="0">
                <a:solidFill>
                  <a:srgbClr val="646464"/>
                </a:solidFill>
                <a:latin typeface="Arial" panose="020B0604020202020204" pitchFamily="34" charset="0"/>
                <a:ea typeface="+mn-ea"/>
                <a:cs typeface="Arial" panose="020B0604020202020204" pitchFamily="34" charset="0"/>
              </a:defRPr>
            </a:lvl4pPr>
            <a:lvl5pPr>
              <a:defRPr sz="2133">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4" name="Text Placeholder 4"/>
          <p:cNvSpPr>
            <a:spLocks noGrp="1"/>
          </p:cNvSpPr>
          <p:nvPr>
            <p:ph type="body" sz="quarter" idx="11" hasCustomPrompt="1"/>
          </p:nvPr>
        </p:nvSpPr>
        <p:spPr>
          <a:xfrm>
            <a:off x="600428" y="881767"/>
            <a:ext cx="10972800" cy="366932"/>
          </a:xfrm>
        </p:spPr>
        <p:txBody>
          <a:bodyPr/>
          <a:lstStyle>
            <a:lvl1pPr marL="0" indent="0">
              <a:buNone/>
              <a:defRPr sz="2667" baseline="0"/>
            </a:lvl1pPr>
            <a:lvl2pPr marL="302675" indent="0">
              <a:buNone/>
              <a:defRPr/>
            </a:lvl2pPr>
          </a:lstStyle>
          <a:p>
            <a:pPr lvl="0"/>
            <a:r>
              <a:rPr lang="en-US" dirty="0"/>
              <a:t>Subheader optional—delete if not needed</a:t>
            </a:r>
          </a:p>
        </p:txBody>
      </p:sp>
    </p:spTree>
    <p:extLst>
      <p:ext uri="{BB962C8B-B14F-4D97-AF65-F5344CB8AC3E}">
        <p14:creationId xmlns:p14="http://schemas.microsoft.com/office/powerpoint/2010/main" val="1696711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Blank Slide with title (customiz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Blank Slide (Customize)</a:t>
            </a:r>
          </a:p>
        </p:txBody>
      </p:sp>
    </p:spTree>
    <p:extLst>
      <p:ext uri="{BB962C8B-B14F-4D97-AF65-F5344CB8AC3E}">
        <p14:creationId xmlns:p14="http://schemas.microsoft.com/office/powerpoint/2010/main" val="72569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WO images and text">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p:txBody>
          <a:bodyPr/>
          <a:lstStyle>
            <a:lvl1pPr>
              <a:defRPr sz="3200"/>
            </a:lvl1pPr>
          </a:lstStyle>
          <a:p>
            <a:r>
              <a:rPr lang="en-US" dirty="0"/>
              <a:t>Comparing two items or features</a:t>
            </a:r>
          </a:p>
        </p:txBody>
      </p:sp>
      <p:sp>
        <p:nvSpPr>
          <p:cNvPr id="4" name="Text Placeholder 3"/>
          <p:cNvSpPr>
            <a:spLocks noGrp="1"/>
          </p:cNvSpPr>
          <p:nvPr userDrawn="1">
            <p:ph type="body" sz="quarter" idx="10" hasCustomPrompt="1"/>
          </p:nvPr>
        </p:nvSpPr>
        <p:spPr>
          <a:xfrm>
            <a:off x="3676357" y="1535378"/>
            <a:ext cx="7908160" cy="2103396"/>
          </a:xfrm>
        </p:spPr>
        <p:txBody>
          <a:bodyPr/>
          <a:lstStyle>
            <a:lvl1pPr marL="0" indent="0">
              <a:buNone/>
              <a:defRPr sz="2133" baseline="0"/>
            </a:lvl1pPr>
          </a:lstStyle>
          <a:p>
            <a:pPr lvl="0"/>
            <a:r>
              <a:rPr lang="en-US" dirty="0"/>
              <a:t>Enter your text here</a:t>
            </a:r>
          </a:p>
        </p:txBody>
      </p:sp>
      <p:sp>
        <p:nvSpPr>
          <p:cNvPr id="5" name="Text Placeholder 3"/>
          <p:cNvSpPr>
            <a:spLocks noGrp="1"/>
          </p:cNvSpPr>
          <p:nvPr userDrawn="1">
            <p:ph type="body" sz="quarter" idx="11" hasCustomPrompt="1"/>
          </p:nvPr>
        </p:nvSpPr>
        <p:spPr>
          <a:xfrm>
            <a:off x="3676357" y="4128454"/>
            <a:ext cx="7908160" cy="2058407"/>
          </a:xfrm>
        </p:spPr>
        <p:txBody>
          <a:bodyPr/>
          <a:lstStyle>
            <a:lvl1pPr marL="0" indent="0">
              <a:buNone/>
              <a:defRPr sz="2133"/>
            </a:lvl1pPr>
          </a:lstStyle>
          <a:p>
            <a:pPr lvl="0"/>
            <a:r>
              <a:rPr lang="en-US" dirty="0"/>
              <a:t>Enter your text here</a:t>
            </a:r>
          </a:p>
        </p:txBody>
      </p:sp>
      <p:cxnSp>
        <p:nvCxnSpPr>
          <p:cNvPr id="7" name="Straight Connector 6"/>
          <p:cNvCxnSpPr/>
          <p:nvPr userDrawn="1"/>
        </p:nvCxnSpPr>
        <p:spPr>
          <a:xfrm>
            <a:off x="611717" y="3860359"/>
            <a:ext cx="11580283"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21" name="Text Placeholder 4"/>
          <p:cNvSpPr>
            <a:spLocks noGrp="1"/>
          </p:cNvSpPr>
          <p:nvPr userDrawn="1">
            <p:ph type="body" sz="quarter" idx="14" hasCustomPrompt="1"/>
          </p:nvPr>
        </p:nvSpPr>
        <p:spPr>
          <a:xfrm>
            <a:off x="589139" y="881767"/>
            <a:ext cx="10972800" cy="366932"/>
          </a:xfrm>
        </p:spPr>
        <p:txBody>
          <a:bodyPr/>
          <a:lstStyle>
            <a:lvl1pPr marL="0" indent="0">
              <a:buNone/>
              <a:defRPr sz="2667" baseline="0"/>
            </a:lvl1pPr>
            <a:lvl2pPr marL="302675" indent="0">
              <a:buNone/>
              <a:defRPr/>
            </a:lvl2pPr>
          </a:lstStyle>
          <a:p>
            <a:pPr lvl="0"/>
            <a:r>
              <a:rPr lang="en-US" dirty="0"/>
              <a:t>Sub-header optional—delete if not needed</a:t>
            </a:r>
          </a:p>
        </p:txBody>
      </p:sp>
      <p:sp>
        <p:nvSpPr>
          <p:cNvPr id="22" name="Text Placeholder 5"/>
          <p:cNvSpPr>
            <a:spLocks noGrp="1"/>
          </p:cNvSpPr>
          <p:nvPr userDrawn="1">
            <p:ph type="body" sz="quarter" idx="15" hasCustomPrompt="1"/>
          </p:nvPr>
        </p:nvSpPr>
        <p:spPr>
          <a:xfrm>
            <a:off x="3138793" y="6560363"/>
            <a:ext cx="5927388" cy="214955"/>
          </a:xfrm>
        </p:spPr>
        <p:txBody>
          <a:bodyPr/>
          <a:lstStyle>
            <a:lvl1pPr marL="0" indent="0" algn="ctr">
              <a:buNone/>
              <a:defRPr sz="933" baseline="0"/>
            </a:lvl1pPr>
          </a:lstStyle>
          <a:p>
            <a:pPr lvl="0"/>
            <a:r>
              <a:rPr lang="en-US" dirty="0"/>
              <a:t>For internal use only.</a:t>
            </a:r>
          </a:p>
        </p:txBody>
      </p:sp>
      <p:grpSp>
        <p:nvGrpSpPr>
          <p:cNvPr id="23" name="Group 22"/>
          <p:cNvGrpSpPr/>
          <p:nvPr userDrawn="1"/>
        </p:nvGrpSpPr>
        <p:grpSpPr>
          <a:xfrm>
            <a:off x="-2120087" y="1725355"/>
            <a:ext cx="1879365" cy="2359171"/>
            <a:chOff x="-1663544" y="2872984"/>
            <a:chExt cx="1409524" cy="2359171"/>
          </a:xfrm>
        </p:grpSpPr>
        <p:pic>
          <p:nvPicPr>
            <p:cNvPr id="2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663544" y="4584536"/>
              <a:ext cx="1409524" cy="6476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TextBox 24"/>
            <p:cNvSpPr txBox="1"/>
            <p:nvPr/>
          </p:nvSpPr>
          <p:spPr>
            <a:xfrm>
              <a:off x="-1663544" y="2872984"/>
              <a:ext cx="1386540" cy="1384995"/>
            </a:xfrm>
            <a:prstGeom prst="rect">
              <a:avLst/>
            </a:prstGeom>
            <a:noFill/>
          </p:spPr>
          <p:txBody>
            <a:bodyPr wrap="square" rtlCol="0">
              <a:spAutoFit/>
            </a:bodyPr>
            <a:lstStyle/>
            <a:p>
              <a:r>
                <a:rPr lang="en-US" sz="1400" dirty="0"/>
                <a:t>To crop image or reposition image inside of frame, right click on the image and select the crop tool</a:t>
              </a:r>
            </a:p>
          </p:txBody>
        </p:sp>
      </p:grpSp>
    </p:spTree>
    <p:extLst>
      <p:ext uri="{BB962C8B-B14F-4D97-AF65-F5344CB8AC3E}">
        <p14:creationId xmlns:p14="http://schemas.microsoft.com/office/powerpoint/2010/main" val="1289226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Purple">
    <p:bg>
      <p:bgPr>
        <a:solidFill>
          <a:schemeClr val="tx2"/>
        </a:solidFill>
        <a:effectLst/>
      </p:bgPr>
    </p:bg>
    <p:spTree>
      <p:nvGrpSpPr>
        <p:cNvPr id="1" name=""/>
        <p:cNvGrpSpPr/>
        <p:nvPr/>
      </p:nvGrpSpPr>
      <p:grpSpPr>
        <a:xfrm>
          <a:off x="0" y="0"/>
          <a:ext cx="0" cy="0"/>
          <a:chOff x="0" y="0"/>
          <a:chExt cx="0" cy="0"/>
        </a:xfrm>
      </p:grpSpPr>
      <p:sp>
        <p:nvSpPr>
          <p:cNvPr id="14" name="Graphic 12">
            <a:extLst>
              <a:ext uri="{FF2B5EF4-FFF2-40B4-BE49-F238E27FC236}">
                <a16:creationId xmlns:a16="http://schemas.microsoft.com/office/drawing/2014/main" id="{01473B2E-6EC3-144A-8754-5C4AED598FFE}"/>
              </a:ext>
            </a:extLst>
          </p:cNvPr>
          <p:cNvSpPr/>
          <p:nvPr/>
        </p:nvSpPr>
        <p:spPr>
          <a:xfrm>
            <a:off x="0" y="0"/>
            <a:ext cx="11495829" cy="6858000"/>
          </a:xfrm>
          <a:custGeom>
            <a:avLst/>
            <a:gdLst>
              <a:gd name="connsiteX0" fmla="*/ 10845307 w 11495829"/>
              <a:gd name="connsiteY0" fmla="*/ 2059432 h 6858000"/>
              <a:gd name="connsiteX1" fmla="*/ 11495829 w 11495829"/>
              <a:gd name="connsiteY1" fmla="*/ 0 h 6858000"/>
              <a:gd name="connsiteX2" fmla="*/ 9404536 w 11495829"/>
              <a:gd name="connsiteY2" fmla="*/ 0 h 6858000"/>
              <a:gd name="connsiteX3" fmla="*/ 8996405 w 11495829"/>
              <a:gd name="connsiteY3" fmla="*/ 1144651 h 6858000"/>
              <a:gd name="connsiteX4" fmla="*/ 7672262 w 11495829"/>
              <a:gd name="connsiteY4" fmla="*/ 2977007 h 6858000"/>
              <a:gd name="connsiteX5" fmla="*/ 5592518 w 11495829"/>
              <a:gd name="connsiteY5" fmla="*/ 4582414 h 6858000"/>
              <a:gd name="connsiteX6" fmla="*/ 3163400 w 11495829"/>
              <a:gd name="connsiteY6" fmla="*/ 5582158 h 6858000"/>
              <a:gd name="connsiteX7" fmla="*/ 915631 w 11495829"/>
              <a:gd name="connsiteY7" fmla="*/ 5813425 h 6858000"/>
              <a:gd name="connsiteX8" fmla="*/ 0 w 11495829"/>
              <a:gd name="connsiteY8" fmla="*/ 5674868 h 6858000"/>
              <a:gd name="connsiteX9" fmla="*/ 0 w 11495829"/>
              <a:gd name="connsiteY9" fmla="*/ 6858000 h 6858000"/>
              <a:gd name="connsiteX10" fmla="*/ 5688332 w 11495829"/>
              <a:gd name="connsiteY10" fmla="*/ 6858000 h 6858000"/>
              <a:gd name="connsiteX11" fmla="*/ 6623761 w 11495829"/>
              <a:gd name="connsiteY11" fmla="*/ 6369939 h 6858000"/>
              <a:gd name="connsiteX12" fmla="*/ 10845307 w 11495829"/>
              <a:gd name="connsiteY12" fmla="*/ 205943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95829" h="6858000">
                <a:moveTo>
                  <a:pt x="10845307" y="2059432"/>
                </a:moveTo>
                <a:cubicBezTo>
                  <a:pt x="11186178" y="1369441"/>
                  <a:pt x="11403696" y="678942"/>
                  <a:pt x="11495829" y="0"/>
                </a:cubicBezTo>
                <a:lnTo>
                  <a:pt x="9404536" y="0"/>
                </a:lnTo>
                <a:cubicBezTo>
                  <a:pt x="9326235" y="368300"/>
                  <a:pt x="9190064" y="752475"/>
                  <a:pt x="8996405" y="1144651"/>
                </a:cubicBezTo>
                <a:cubicBezTo>
                  <a:pt x="8681931" y="1781048"/>
                  <a:pt x="8236235" y="2397633"/>
                  <a:pt x="7672262" y="2977007"/>
                </a:cubicBezTo>
                <a:cubicBezTo>
                  <a:pt x="7075802" y="3589274"/>
                  <a:pt x="6376546" y="4129405"/>
                  <a:pt x="5592518" y="4582414"/>
                </a:cubicBezTo>
                <a:cubicBezTo>
                  <a:pt x="4808489" y="5035423"/>
                  <a:pt x="3991211" y="5372100"/>
                  <a:pt x="3163400" y="5582158"/>
                </a:cubicBezTo>
                <a:cubicBezTo>
                  <a:pt x="2379879" y="5781421"/>
                  <a:pt x="1623642" y="5859145"/>
                  <a:pt x="915631" y="5813425"/>
                </a:cubicBezTo>
                <a:cubicBezTo>
                  <a:pt x="606875" y="5794917"/>
                  <a:pt x="300420" y="5748543"/>
                  <a:pt x="0" y="5674868"/>
                </a:cubicBezTo>
                <a:lnTo>
                  <a:pt x="0" y="6858000"/>
                </a:lnTo>
                <a:lnTo>
                  <a:pt x="5688332" y="6858000"/>
                </a:lnTo>
                <a:cubicBezTo>
                  <a:pt x="6003991" y="6710342"/>
                  <a:pt x="6315801" y="6547655"/>
                  <a:pt x="6623761" y="6369939"/>
                </a:cubicBezTo>
                <a:cubicBezTo>
                  <a:pt x="8511622" y="5279263"/>
                  <a:pt x="10010769" y="3748405"/>
                  <a:pt x="10845307" y="2059432"/>
                </a:cubicBezTo>
                <a:close/>
              </a:path>
            </a:pathLst>
          </a:custGeom>
          <a:gradFill>
            <a:gsLst>
              <a:gs pos="0">
                <a:schemeClr val="accent3">
                  <a:alpha val="20000"/>
                </a:schemeClr>
              </a:gs>
              <a:gs pos="100000">
                <a:schemeClr val="accent3"/>
              </a:gs>
            </a:gsLst>
            <a:lin ang="0" scaled="1"/>
          </a:gradFill>
          <a:ln w="12689" cap="flat">
            <a:noFill/>
            <a:prstDash val="solid"/>
            <a:miter/>
          </a:ln>
        </p:spPr>
        <p:txBody>
          <a:bodyPr rtlCol="0" anchor="ctr"/>
          <a:lstStyle/>
          <a:p>
            <a:endParaRPr lang="en-US" dirty="0"/>
          </a:p>
        </p:txBody>
      </p:sp>
      <p:graphicFrame>
        <p:nvGraphicFramePr>
          <p:cNvPr id="8" name="Object 7" hidden="1">
            <a:extLst>
              <a:ext uri="{FF2B5EF4-FFF2-40B4-BE49-F238E27FC236}">
                <a16:creationId xmlns:a16="http://schemas.microsoft.com/office/drawing/2014/main" id="{96E5EC05-B70E-0449-BE8C-62E577850024}"/>
              </a:ext>
            </a:extLst>
          </p:cNvPr>
          <p:cNvGraphicFramePr>
            <a:graphicFrameLocks noChangeAspect="1"/>
          </p:cNvGraphicFramePr>
          <p:nvPr>
            <p:custDataLst>
              <p:tags r:id="rId2"/>
            </p:custDataLst>
            <p:extLst>
              <p:ext uri="{D42A27DB-BD31-4B8C-83A1-F6EECF244321}">
                <p14:modId xmlns:p14="http://schemas.microsoft.com/office/powerpoint/2010/main" val="15335798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8457"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96E5EC05-B70E-0449-BE8C-62E57785002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Subtitle 2"/>
          <p:cNvSpPr>
            <a:spLocks noGrp="1"/>
          </p:cNvSpPr>
          <p:nvPr>
            <p:ph type="subTitle" idx="1" hasCustomPrompt="1"/>
          </p:nvPr>
        </p:nvSpPr>
        <p:spPr>
          <a:xfrm>
            <a:off x="914400" y="3538907"/>
            <a:ext cx="9448800" cy="1147393"/>
          </a:xfrm>
        </p:spPr>
        <p:txBody>
          <a:bodyPr/>
          <a:lstStyle>
            <a:lvl1pPr marL="0" indent="0" algn="l">
              <a:buNone/>
              <a:defRPr sz="32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or subtitle</a:t>
            </a:r>
          </a:p>
        </p:txBody>
      </p:sp>
      <p:sp>
        <p:nvSpPr>
          <p:cNvPr id="2" name="Title 1"/>
          <p:cNvSpPr>
            <a:spLocks noGrp="1"/>
          </p:cNvSpPr>
          <p:nvPr>
            <p:ph type="ctrTitle"/>
          </p:nvPr>
        </p:nvSpPr>
        <p:spPr>
          <a:xfrm>
            <a:off x="914400" y="1600200"/>
            <a:ext cx="10363200" cy="2000251"/>
          </a:xfrm>
        </p:spPr>
        <p:txBody>
          <a:bodyPr vert="horz" anchor="b"/>
          <a:lstStyle>
            <a:lvl1pPr>
              <a:defRPr sz="4800">
                <a:solidFill>
                  <a:schemeClr val="bg1"/>
                </a:solidFill>
              </a:defRPr>
            </a:lvl1pPr>
          </a:lstStyle>
          <a:p>
            <a:r>
              <a:rPr lang="en-US"/>
              <a:t>Click to edit Master title style</a:t>
            </a:r>
          </a:p>
        </p:txBody>
      </p:sp>
      <p:sp>
        <p:nvSpPr>
          <p:cNvPr id="7" name="Text Placeholder 3">
            <a:extLst>
              <a:ext uri="{FF2B5EF4-FFF2-40B4-BE49-F238E27FC236}">
                <a16:creationId xmlns:a16="http://schemas.microsoft.com/office/drawing/2014/main" id="{5740C42A-E075-6949-900C-E63BE9FB862C}"/>
              </a:ext>
            </a:extLst>
          </p:cNvPr>
          <p:cNvSpPr>
            <a:spLocks noGrp="1"/>
          </p:cNvSpPr>
          <p:nvPr>
            <p:ph type="body" sz="half" idx="2" hasCustomPrompt="1"/>
          </p:nvPr>
        </p:nvSpPr>
        <p:spPr>
          <a:xfrm>
            <a:off x="914399" y="6169025"/>
            <a:ext cx="3706285" cy="462819"/>
          </a:xfrm>
        </p:spPr>
        <p:txBody>
          <a:bodyPr anchor="b"/>
          <a:lstStyle>
            <a:lvl1pPr marL="0" indent="0">
              <a:buNone/>
              <a:defRPr sz="1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date</a:t>
            </a:r>
          </a:p>
        </p:txBody>
      </p:sp>
      <p:sp>
        <p:nvSpPr>
          <p:cNvPr id="9" name="TextBox 8">
            <a:extLst>
              <a:ext uri="{FF2B5EF4-FFF2-40B4-BE49-F238E27FC236}">
                <a16:creationId xmlns:a16="http://schemas.microsoft.com/office/drawing/2014/main" id="{733C8FB4-9A4D-AF4D-A6E6-B12D36795417}"/>
              </a:ext>
            </a:extLst>
          </p:cNvPr>
          <p:cNvSpPr txBox="1"/>
          <p:nvPr/>
        </p:nvSpPr>
        <p:spPr>
          <a:xfrm>
            <a:off x="9282514" y="6368176"/>
            <a:ext cx="2223686" cy="246221"/>
          </a:xfrm>
          <a:prstGeom prst="rect">
            <a:avLst/>
          </a:prstGeom>
          <a:noFill/>
        </p:spPr>
        <p:txBody>
          <a:bodyPr wrap="none" lIns="0" tIns="0" rIns="0" bIns="0" rtlCol="0" anchor="b">
            <a:noAutofit/>
          </a:bodyPr>
          <a:lstStyle/>
          <a:p>
            <a:pPr algn="r"/>
            <a:r>
              <a:rPr lang="en-US" sz="1000" dirty="0">
                <a:solidFill>
                  <a:schemeClr val="bg1"/>
                </a:solidFill>
              </a:rPr>
              <a:t>Confidential—do not copy or distribute</a:t>
            </a:r>
          </a:p>
        </p:txBody>
      </p:sp>
      <p:pic>
        <p:nvPicPr>
          <p:cNvPr id="10" name="Graphic 9">
            <a:extLst>
              <a:ext uri="{FF2B5EF4-FFF2-40B4-BE49-F238E27FC236}">
                <a16:creationId xmlns:a16="http://schemas.microsoft.com/office/drawing/2014/main" id="{38E64605-F0BA-FB47-BA44-1B4718D042C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5362" y="226156"/>
            <a:ext cx="2057400" cy="439079"/>
          </a:xfrm>
          <a:prstGeom prst="rect">
            <a:avLst/>
          </a:prstGeom>
        </p:spPr>
      </p:pic>
      <p:pic>
        <p:nvPicPr>
          <p:cNvPr id="4" name="Picture 3">
            <a:extLst>
              <a:ext uri="{FF2B5EF4-FFF2-40B4-BE49-F238E27FC236}">
                <a16:creationId xmlns:a16="http://schemas.microsoft.com/office/drawing/2014/main" id="{023AA180-925A-42F6-86D2-B7A06119C565}"/>
              </a:ext>
            </a:extLst>
          </p:cNvPr>
          <p:cNvPicPr>
            <a:picLocks noChangeAspect="1"/>
          </p:cNvPicPr>
          <p:nvPr userDrawn="1"/>
        </p:nvPicPr>
        <p:blipFill>
          <a:blip r:embed="rId8"/>
          <a:stretch>
            <a:fillRect/>
          </a:stretch>
        </p:blipFill>
        <p:spPr>
          <a:xfrm>
            <a:off x="74507" y="730171"/>
            <a:ext cx="12192000" cy="2565133"/>
          </a:xfrm>
          <a:prstGeom prst="rect">
            <a:avLst/>
          </a:prstGeom>
        </p:spPr>
      </p:pic>
    </p:spTree>
    <p:extLst>
      <p:ext uri="{BB962C8B-B14F-4D97-AF65-F5344CB8AC3E}">
        <p14:creationId xmlns:p14="http://schemas.microsoft.com/office/powerpoint/2010/main" val="1232587006"/>
      </p:ext>
    </p:extLst>
  </p:cSld>
  <p:clrMapOvr>
    <a:masterClrMapping/>
  </p:clrMapOvr>
  <p:extLst>
    <p:ext uri="{DCECCB84-F9BA-43D5-87BE-67443E8EF086}">
      <p15:sldGuideLst xmlns:p15="http://schemas.microsoft.com/office/powerpoint/2012/main">
        <p15:guide id="1" pos="576">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6" name="Rectangle 5"/>
          <p:cNvSpPr/>
          <p:nvPr userDrawn="1"/>
        </p:nvSpPr>
        <p:spPr>
          <a:xfrm>
            <a:off x="0" y="5981701"/>
            <a:ext cx="12192000" cy="876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9" name="Title 1"/>
          <p:cNvSpPr>
            <a:spLocks noGrp="1"/>
          </p:cNvSpPr>
          <p:nvPr>
            <p:ph type="title" hasCustomPrompt="1"/>
          </p:nvPr>
        </p:nvSpPr>
        <p:spPr>
          <a:xfrm>
            <a:off x="1125416" y="3263706"/>
            <a:ext cx="10445704" cy="1570447"/>
          </a:xfrm>
        </p:spPr>
        <p:txBody>
          <a:bodyPr bIns="91440" anchor="b" anchorCtr="0">
            <a:noAutofit/>
          </a:bodyPr>
          <a:lstStyle>
            <a:lvl1pPr>
              <a:defRPr sz="3733" b="0" baseline="0">
                <a:solidFill>
                  <a:srgbClr val="000000"/>
                </a:solidFill>
              </a:defRPr>
            </a:lvl1pPr>
          </a:lstStyle>
          <a:p>
            <a:r>
              <a:rPr lang="en-US" dirty="0"/>
              <a:t>Protective Template – Widescreen  (16:9)</a:t>
            </a:r>
          </a:p>
        </p:txBody>
      </p:sp>
      <p:sp>
        <p:nvSpPr>
          <p:cNvPr id="20" name="Text Placeholder 6"/>
          <p:cNvSpPr>
            <a:spLocks noGrp="1"/>
          </p:cNvSpPr>
          <p:nvPr>
            <p:ph type="body" sz="quarter" idx="10" hasCustomPrompt="1"/>
          </p:nvPr>
        </p:nvSpPr>
        <p:spPr>
          <a:xfrm>
            <a:off x="1125416" y="4871580"/>
            <a:ext cx="10445704" cy="332117"/>
          </a:xfrm>
          <a:prstGeom prst="rect">
            <a:avLst/>
          </a:prstGeom>
        </p:spPr>
        <p:txBody>
          <a:bodyPr lIns="0" tIns="0" rIns="0" bIns="0" anchor="ctr" anchorCtr="0">
            <a:noAutofit/>
          </a:bodyPr>
          <a:lstStyle>
            <a:lvl1pPr marL="0" indent="0">
              <a:buNone/>
              <a:defRPr sz="2133">
                <a:solidFill>
                  <a:srgbClr val="000000"/>
                </a:solidFill>
              </a:defRPr>
            </a:lvl1pPr>
            <a:lvl5pPr marL="2438339" indent="0">
              <a:buNone/>
              <a:defRPr/>
            </a:lvl5pPr>
          </a:lstStyle>
          <a:p>
            <a:pPr lvl="0"/>
            <a:r>
              <a:rPr lang="en-US" dirty="0"/>
              <a:t>Name</a:t>
            </a:r>
          </a:p>
        </p:txBody>
      </p:sp>
      <p:sp>
        <p:nvSpPr>
          <p:cNvPr id="13" name="Text Placeholder 6"/>
          <p:cNvSpPr>
            <a:spLocks noGrp="1"/>
          </p:cNvSpPr>
          <p:nvPr>
            <p:ph type="body" sz="quarter" idx="11" hasCustomPrompt="1"/>
          </p:nvPr>
        </p:nvSpPr>
        <p:spPr>
          <a:xfrm>
            <a:off x="1125416" y="5241123"/>
            <a:ext cx="10445704" cy="332117"/>
          </a:xfrm>
          <a:prstGeom prst="rect">
            <a:avLst/>
          </a:prstGeom>
        </p:spPr>
        <p:txBody>
          <a:bodyPr lIns="0" tIns="0" rIns="0" bIns="0" anchor="ctr" anchorCtr="0">
            <a:noAutofit/>
          </a:bodyPr>
          <a:lstStyle>
            <a:lvl1pPr marL="0" indent="0">
              <a:buNone/>
              <a:defRPr sz="1467">
                <a:solidFill>
                  <a:srgbClr val="000000"/>
                </a:solidFill>
              </a:defRPr>
            </a:lvl1pPr>
            <a:lvl5pPr marL="2438339" indent="0">
              <a:buNone/>
              <a:defRPr/>
            </a:lvl5pPr>
          </a:lstStyle>
          <a:p>
            <a:pPr lvl="0"/>
            <a:r>
              <a:rPr lang="en-US" dirty="0"/>
              <a:t>Designations</a:t>
            </a:r>
          </a:p>
        </p:txBody>
      </p:sp>
      <p:pic>
        <p:nvPicPr>
          <p:cNvPr id="16"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125417" y="1788608"/>
            <a:ext cx="3232095" cy="10851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7" name="Rectangle 116"/>
          <p:cNvSpPr/>
          <p:nvPr userDrawn="1"/>
        </p:nvSpPr>
        <p:spPr>
          <a:xfrm>
            <a:off x="723481" y="1"/>
            <a:ext cx="830664" cy="8359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nvGrpSpPr>
          <p:cNvPr id="113" name="Group 112"/>
          <p:cNvGrpSpPr/>
          <p:nvPr userDrawn="1"/>
        </p:nvGrpSpPr>
        <p:grpSpPr>
          <a:xfrm>
            <a:off x="3" y="-1"/>
            <a:ext cx="12191999" cy="1319215"/>
            <a:chOff x="1" y="-1"/>
            <a:chExt cx="9143999" cy="937029"/>
          </a:xfrm>
        </p:grpSpPr>
        <p:sp>
          <p:nvSpPr>
            <p:cNvPr id="114" name="Rectangle 113"/>
            <p:cNvSpPr/>
            <p:nvPr userDrawn="1"/>
          </p:nvSpPr>
          <p:spPr>
            <a:xfrm>
              <a:off x="844062" y="-1"/>
              <a:ext cx="8299938" cy="937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15" name="Rectangle 114"/>
            <p:cNvSpPr/>
            <p:nvPr userDrawn="1"/>
          </p:nvSpPr>
          <p:spPr>
            <a:xfrm>
              <a:off x="1" y="0"/>
              <a:ext cx="763674" cy="9370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grpSp>
        <p:nvGrpSpPr>
          <p:cNvPr id="3" name="Group 2"/>
          <p:cNvGrpSpPr/>
          <p:nvPr userDrawn="1"/>
        </p:nvGrpSpPr>
        <p:grpSpPr>
          <a:xfrm>
            <a:off x="6997331" y="2224645"/>
            <a:ext cx="4484059" cy="508473"/>
            <a:chOff x="4795076" y="2042524"/>
            <a:chExt cx="3944805" cy="443453"/>
          </a:xfrm>
        </p:grpSpPr>
        <p:grpSp>
          <p:nvGrpSpPr>
            <p:cNvPr id="23" name="Group 22"/>
            <p:cNvGrpSpPr/>
            <p:nvPr userDrawn="1"/>
          </p:nvGrpSpPr>
          <p:grpSpPr>
            <a:xfrm>
              <a:off x="5720391" y="2099300"/>
              <a:ext cx="332398" cy="321325"/>
              <a:chOff x="577850" y="3692517"/>
              <a:chExt cx="285750" cy="276230"/>
            </a:xfrm>
            <a:solidFill>
              <a:schemeClr val="tx2">
                <a:lumMod val="50000"/>
              </a:schemeClr>
            </a:solidFill>
          </p:grpSpPr>
          <p:sp>
            <p:nvSpPr>
              <p:cNvPr id="24" name="Freeform 12"/>
              <p:cNvSpPr>
                <a:spLocks/>
              </p:cNvSpPr>
              <p:nvPr/>
            </p:nvSpPr>
            <p:spPr bwMode="auto">
              <a:xfrm>
                <a:off x="596900" y="3692517"/>
                <a:ext cx="71437" cy="98425"/>
              </a:xfrm>
              <a:custGeom>
                <a:avLst/>
                <a:gdLst>
                  <a:gd name="T0" fmla="*/ 186 w 315"/>
                  <a:gd name="T1" fmla="*/ 433 h 433"/>
                  <a:gd name="T2" fmla="*/ 186 w 315"/>
                  <a:gd name="T3" fmla="*/ 399 h 433"/>
                  <a:gd name="T4" fmla="*/ 283 w 315"/>
                  <a:gd name="T5" fmla="*/ 365 h 433"/>
                  <a:gd name="T6" fmla="*/ 315 w 315"/>
                  <a:gd name="T7" fmla="*/ 288 h 433"/>
                  <a:gd name="T8" fmla="*/ 303 w 315"/>
                  <a:gd name="T9" fmla="*/ 237 h 433"/>
                  <a:gd name="T10" fmla="*/ 274 w 315"/>
                  <a:gd name="T11" fmla="*/ 205 h 433"/>
                  <a:gd name="T12" fmla="*/ 209 w 315"/>
                  <a:gd name="T13" fmla="*/ 173 h 433"/>
                  <a:gd name="T14" fmla="*/ 141 w 315"/>
                  <a:gd name="T15" fmla="*/ 140 h 433"/>
                  <a:gd name="T16" fmla="*/ 129 w 315"/>
                  <a:gd name="T17" fmla="*/ 110 h 433"/>
                  <a:gd name="T18" fmla="*/ 135 w 315"/>
                  <a:gd name="T19" fmla="*/ 90 h 433"/>
                  <a:gd name="T20" fmla="*/ 152 w 315"/>
                  <a:gd name="T21" fmla="*/ 84 h 433"/>
                  <a:gd name="T22" fmla="*/ 171 w 315"/>
                  <a:gd name="T23" fmla="*/ 91 h 433"/>
                  <a:gd name="T24" fmla="*/ 175 w 315"/>
                  <a:gd name="T25" fmla="*/ 123 h 433"/>
                  <a:gd name="T26" fmla="*/ 175 w 315"/>
                  <a:gd name="T27" fmla="*/ 138 h 433"/>
                  <a:gd name="T28" fmla="*/ 301 w 315"/>
                  <a:gd name="T29" fmla="*/ 138 h 433"/>
                  <a:gd name="T30" fmla="*/ 302 w 315"/>
                  <a:gd name="T31" fmla="*/ 121 h 433"/>
                  <a:gd name="T32" fmla="*/ 273 w 315"/>
                  <a:gd name="T33" fmla="*/ 57 h 433"/>
                  <a:gd name="T34" fmla="*/ 186 w 315"/>
                  <a:gd name="T35" fmla="*/ 29 h 433"/>
                  <a:gd name="T36" fmla="*/ 186 w 315"/>
                  <a:gd name="T37" fmla="*/ 0 h 433"/>
                  <a:gd name="T38" fmla="*/ 128 w 315"/>
                  <a:gd name="T39" fmla="*/ 0 h 433"/>
                  <a:gd name="T40" fmla="*/ 128 w 315"/>
                  <a:gd name="T41" fmla="*/ 29 h 433"/>
                  <a:gd name="T42" fmla="*/ 32 w 315"/>
                  <a:gd name="T43" fmla="*/ 58 h 433"/>
                  <a:gd name="T44" fmla="*/ 0 w 315"/>
                  <a:gd name="T45" fmla="*/ 122 h 433"/>
                  <a:gd name="T46" fmla="*/ 15 w 315"/>
                  <a:gd name="T47" fmla="*/ 173 h 433"/>
                  <a:gd name="T48" fmla="*/ 51 w 315"/>
                  <a:gd name="T49" fmla="*/ 207 h 433"/>
                  <a:gd name="T50" fmla="*/ 129 w 315"/>
                  <a:gd name="T51" fmla="*/ 246 h 433"/>
                  <a:gd name="T52" fmla="*/ 170 w 315"/>
                  <a:gd name="T53" fmla="*/ 275 h 433"/>
                  <a:gd name="T54" fmla="*/ 176 w 315"/>
                  <a:gd name="T55" fmla="*/ 319 h 433"/>
                  <a:gd name="T56" fmla="*/ 170 w 315"/>
                  <a:gd name="T57" fmla="*/ 337 h 433"/>
                  <a:gd name="T58" fmla="*/ 151 w 315"/>
                  <a:gd name="T59" fmla="*/ 343 h 433"/>
                  <a:gd name="T60" fmla="*/ 132 w 315"/>
                  <a:gd name="T61" fmla="*/ 334 h 433"/>
                  <a:gd name="T62" fmla="*/ 128 w 315"/>
                  <a:gd name="T63" fmla="*/ 289 h 433"/>
                  <a:gd name="T64" fmla="*/ 128 w 315"/>
                  <a:gd name="T65" fmla="*/ 266 h 433"/>
                  <a:gd name="T66" fmla="*/ 2 w 315"/>
                  <a:gd name="T67" fmla="*/ 266 h 433"/>
                  <a:gd name="T68" fmla="*/ 2 w 315"/>
                  <a:gd name="T69" fmla="*/ 284 h 433"/>
                  <a:gd name="T70" fmla="*/ 40 w 315"/>
                  <a:gd name="T71" fmla="*/ 370 h 433"/>
                  <a:gd name="T72" fmla="*/ 128 w 315"/>
                  <a:gd name="T73" fmla="*/ 398 h 433"/>
                  <a:gd name="T74" fmla="*/ 128 w 315"/>
                  <a:gd name="T75" fmla="*/ 433 h 433"/>
                  <a:gd name="T76" fmla="*/ 186 w 315"/>
                  <a:gd name="T77" fmla="*/ 433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5" h="433">
                    <a:moveTo>
                      <a:pt x="186" y="433"/>
                    </a:moveTo>
                    <a:cubicBezTo>
                      <a:pt x="186" y="399"/>
                      <a:pt x="186" y="399"/>
                      <a:pt x="186" y="399"/>
                    </a:cubicBezTo>
                    <a:cubicBezTo>
                      <a:pt x="229" y="395"/>
                      <a:pt x="261" y="383"/>
                      <a:pt x="283" y="365"/>
                    </a:cubicBezTo>
                    <a:cubicBezTo>
                      <a:pt x="305" y="346"/>
                      <a:pt x="315" y="320"/>
                      <a:pt x="315" y="288"/>
                    </a:cubicBezTo>
                    <a:cubicBezTo>
                      <a:pt x="315" y="268"/>
                      <a:pt x="311" y="251"/>
                      <a:pt x="303" y="237"/>
                    </a:cubicBezTo>
                    <a:cubicBezTo>
                      <a:pt x="295" y="223"/>
                      <a:pt x="286" y="213"/>
                      <a:pt x="274" y="205"/>
                    </a:cubicBezTo>
                    <a:cubicBezTo>
                      <a:pt x="262" y="198"/>
                      <a:pt x="241" y="187"/>
                      <a:pt x="209" y="173"/>
                    </a:cubicBezTo>
                    <a:cubicBezTo>
                      <a:pt x="171" y="156"/>
                      <a:pt x="148" y="145"/>
                      <a:pt x="141" y="140"/>
                    </a:cubicBezTo>
                    <a:cubicBezTo>
                      <a:pt x="133" y="134"/>
                      <a:pt x="129" y="124"/>
                      <a:pt x="129" y="110"/>
                    </a:cubicBezTo>
                    <a:cubicBezTo>
                      <a:pt x="129" y="101"/>
                      <a:pt x="131" y="95"/>
                      <a:pt x="135" y="90"/>
                    </a:cubicBezTo>
                    <a:cubicBezTo>
                      <a:pt x="138" y="86"/>
                      <a:pt x="144" y="84"/>
                      <a:pt x="152" y="84"/>
                    </a:cubicBezTo>
                    <a:cubicBezTo>
                      <a:pt x="161" y="84"/>
                      <a:pt x="168" y="86"/>
                      <a:pt x="171" y="91"/>
                    </a:cubicBezTo>
                    <a:cubicBezTo>
                      <a:pt x="173" y="96"/>
                      <a:pt x="175" y="107"/>
                      <a:pt x="175" y="123"/>
                    </a:cubicBezTo>
                    <a:cubicBezTo>
                      <a:pt x="175" y="138"/>
                      <a:pt x="175" y="138"/>
                      <a:pt x="175" y="138"/>
                    </a:cubicBezTo>
                    <a:cubicBezTo>
                      <a:pt x="301" y="138"/>
                      <a:pt x="301" y="138"/>
                      <a:pt x="301" y="138"/>
                    </a:cubicBezTo>
                    <a:cubicBezTo>
                      <a:pt x="302" y="130"/>
                      <a:pt x="302" y="125"/>
                      <a:pt x="302" y="121"/>
                    </a:cubicBezTo>
                    <a:cubicBezTo>
                      <a:pt x="302" y="94"/>
                      <a:pt x="292" y="73"/>
                      <a:pt x="273" y="57"/>
                    </a:cubicBezTo>
                    <a:cubicBezTo>
                      <a:pt x="254" y="42"/>
                      <a:pt x="225" y="33"/>
                      <a:pt x="186" y="29"/>
                    </a:cubicBezTo>
                    <a:cubicBezTo>
                      <a:pt x="186" y="0"/>
                      <a:pt x="186" y="0"/>
                      <a:pt x="186" y="0"/>
                    </a:cubicBezTo>
                    <a:cubicBezTo>
                      <a:pt x="128" y="0"/>
                      <a:pt x="128" y="0"/>
                      <a:pt x="128" y="0"/>
                    </a:cubicBezTo>
                    <a:cubicBezTo>
                      <a:pt x="128" y="29"/>
                      <a:pt x="128" y="29"/>
                      <a:pt x="128" y="29"/>
                    </a:cubicBezTo>
                    <a:cubicBezTo>
                      <a:pt x="85" y="33"/>
                      <a:pt x="53" y="42"/>
                      <a:pt x="32" y="58"/>
                    </a:cubicBezTo>
                    <a:cubicBezTo>
                      <a:pt x="11" y="73"/>
                      <a:pt x="0" y="95"/>
                      <a:pt x="0" y="122"/>
                    </a:cubicBezTo>
                    <a:cubicBezTo>
                      <a:pt x="0" y="141"/>
                      <a:pt x="5" y="158"/>
                      <a:pt x="15" y="173"/>
                    </a:cubicBezTo>
                    <a:cubicBezTo>
                      <a:pt x="25" y="188"/>
                      <a:pt x="37" y="199"/>
                      <a:pt x="51" y="207"/>
                    </a:cubicBezTo>
                    <a:cubicBezTo>
                      <a:pt x="65" y="216"/>
                      <a:pt x="91" y="228"/>
                      <a:pt x="129" y="246"/>
                    </a:cubicBezTo>
                    <a:cubicBezTo>
                      <a:pt x="152" y="256"/>
                      <a:pt x="166" y="266"/>
                      <a:pt x="170" y="275"/>
                    </a:cubicBezTo>
                    <a:cubicBezTo>
                      <a:pt x="174" y="283"/>
                      <a:pt x="176" y="298"/>
                      <a:pt x="176" y="319"/>
                    </a:cubicBezTo>
                    <a:cubicBezTo>
                      <a:pt x="176" y="327"/>
                      <a:pt x="174" y="333"/>
                      <a:pt x="170" y="337"/>
                    </a:cubicBezTo>
                    <a:cubicBezTo>
                      <a:pt x="165" y="341"/>
                      <a:pt x="159" y="343"/>
                      <a:pt x="151" y="343"/>
                    </a:cubicBezTo>
                    <a:cubicBezTo>
                      <a:pt x="141" y="343"/>
                      <a:pt x="134" y="340"/>
                      <a:pt x="132" y="334"/>
                    </a:cubicBezTo>
                    <a:cubicBezTo>
                      <a:pt x="129" y="328"/>
                      <a:pt x="128" y="313"/>
                      <a:pt x="128" y="289"/>
                    </a:cubicBezTo>
                    <a:cubicBezTo>
                      <a:pt x="128" y="266"/>
                      <a:pt x="128" y="266"/>
                      <a:pt x="128" y="266"/>
                    </a:cubicBezTo>
                    <a:cubicBezTo>
                      <a:pt x="2" y="266"/>
                      <a:pt x="2" y="266"/>
                      <a:pt x="2" y="266"/>
                    </a:cubicBezTo>
                    <a:cubicBezTo>
                      <a:pt x="2" y="284"/>
                      <a:pt x="2" y="284"/>
                      <a:pt x="2" y="284"/>
                    </a:cubicBezTo>
                    <a:cubicBezTo>
                      <a:pt x="2" y="325"/>
                      <a:pt x="15" y="353"/>
                      <a:pt x="40" y="370"/>
                    </a:cubicBezTo>
                    <a:cubicBezTo>
                      <a:pt x="65" y="386"/>
                      <a:pt x="94" y="395"/>
                      <a:pt x="128" y="398"/>
                    </a:cubicBezTo>
                    <a:cubicBezTo>
                      <a:pt x="128" y="433"/>
                      <a:pt x="128" y="433"/>
                      <a:pt x="128" y="433"/>
                    </a:cubicBezTo>
                    <a:lnTo>
                      <a:pt x="186" y="433"/>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25" name="Freeform 13"/>
              <p:cNvSpPr>
                <a:spLocks/>
              </p:cNvSpPr>
              <p:nvPr/>
            </p:nvSpPr>
            <p:spPr bwMode="auto">
              <a:xfrm>
                <a:off x="581025" y="3889366"/>
                <a:ext cx="52387" cy="79375"/>
              </a:xfrm>
              <a:custGeom>
                <a:avLst/>
                <a:gdLst>
                  <a:gd name="T0" fmla="*/ 0 w 226"/>
                  <a:gd name="T1" fmla="*/ 106 h 348"/>
                  <a:gd name="T2" fmla="*/ 0 w 226"/>
                  <a:gd name="T3" fmla="*/ 316 h 348"/>
                  <a:gd name="T4" fmla="*/ 40 w 226"/>
                  <a:gd name="T5" fmla="*/ 348 h 348"/>
                  <a:gd name="T6" fmla="*/ 187 w 226"/>
                  <a:gd name="T7" fmla="*/ 348 h 348"/>
                  <a:gd name="T8" fmla="*/ 226 w 226"/>
                  <a:gd name="T9" fmla="*/ 316 h 348"/>
                  <a:gd name="T10" fmla="*/ 226 w 226"/>
                  <a:gd name="T11" fmla="*/ 0 h 348"/>
                  <a:gd name="T12" fmla="*/ 137 w 226"/>
                  <a:gd name="T13" fmla="*/ 89 h 348"/>
                  <a:gd name="T14" fmla="*/ 58 w 226"/>
                  <a:gd name="T15" fmla="*/ 122 h 348"/>
                  <a:gd name="T16" fmla="*/ 0 w 226"/>
                  <a:gd name="T17" fmla="*/ 10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348">
                    <a:moveTo>
                      <a:pt x="0" y="106"/>
                    </a:moveTo>
                    <a:cubicBezTo>
                      <a:pt x="0" y="316"/>
                      <a:pt x="0" y="316"/>
                      <a:pt x="0" y="316"/>
                    </a:cubicBezTo>
                    <a:cubicBezTo>
                      <a:pt x="0" y="334"/>
                      <a:pt x="18" y="348"/>
                      <a:pt x="40" y="348"/>
                    </a:cubicBezTo>
                    <a:cubicBezTo>
                      <a:pt x="187" y="348"/>
                      <a:pt x="187" y="348"/>
                      <a:pt x="187" y="348"/>
                    </a:cubicBezTo>
                    <a:cubicBezTo>
                      <a:pt x="208" y="348"/>
                      <a:pt x="226" y="334"/>
                      <a:pt x="226" y="316"/>
                    </a:cubicBezTo>
                    <a:cubicBezTo>
                      <a:pt x="226" y="0"/>
                      <a:pt x="226" y="0"/>
                      <a:pt x="226" y="0"/>
                    </a:cubicBezTo>
                    <a:cubicBezTo>
                      <a:pt x="137" y="89"/>
                      <a:pt x="137" y="89"/>
                      <a:pt x="137" y="89"/>
                    </a:cubicBezTo>
                    <a:cubicBezTo>
                      <a:pt x="116" y="110"/>
                      <a:pt x="88" y="122"/>
                      <a:pt x="58" y="122"/>
                    </a:cubicBezTo>
                    <a:cubicBezTo>
                      <a:pt x="37" y="122"/>
                      <a:pt x="18" y="116"/>
                      <a:pt x="0"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26" name="Freeform 14"/>
              <p:cNvSpPr>
                <a:spLocks/>
              </p:cNvSpPr>
              <p:nvPr/>
            </p:nvSpPr>
            <p:spPr bwMode="auto">
              <a:xfrm>
                <a:off x="658813" y="3825866"/>
                <a:ext cx="50800" cy="142875"/>
              </a:xfrm>
              <a:custGeom>
                <a:avLst/>
                <a:gdLst>
                  <a:gd name="T0" fmla="*/ 0 w 226"/>
                  <a:gd name="T1" fmla="*/ 168 h 628"/>
                  <a:gd name="T2" fmla="*/ 0 w 226"/>
                  <a:gd name="T3" fmla="*/ 576 h 628"/>
                  <a:gd name="T4" fmla="*/ 40 w 226"/>
                  <a:gd name="T5" fmla="*/ 628 h 628"/>
                  <a:gd name="T6" fmla="*/ 187 w 226"/>
                  <a:gd name="T7" fmla="*/ 628 h 628"/>
                  <a:gd name="T8" fmla="*/ 226 w 226"/>
                  <a:gd name="T9" fmla="*/ 576 h 628"/>
                  <a:gd name="T10" fmla="*/ 226 w 226"/>
                  <a:gd name="T11" fmla="*/ 57 h 628"/>
                  <a:gd name="T12" fmla="*/ 169 w 226"/>
                  <a:gd name="T13" fmla="*/ 0 h 628"/>
                  <a:gd name="T14" fmla="*/ 0 w 226"/>
                  <a:gd name="T15" fmla="*/ 168 h 6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 h="628">
                    <a:moveTo>
                      <a:pt x="0" y="168"/>
                    </a:moveTo>
                    <a:cubicBezTo>
                      <a:pt x="0" y="576"/>
                      <a:pt x="0" y="576"/>
                      <a:pt x="0" y="576"/>
                    </a:cubicBezTo>
                    <a:cubicBezTo>
                      <a:pt x="0" y="605"/>
                      <a:pt x="18" y="628"/>
                      <a:pt x="40" y="628"/>
                    </a:cubicBezTo>
                    <a:cubicBezTo>
                      <a:pt x="187" y="628"/>
                      <a:pt x="187" y="628"/>
                      <a:pt x="187" y="628"/>
                    </a:cubicBezTo>
                    <a:cubicBezTo>
                      <a:pt x="208" y="628"/>
                      <a:pt x="226" y="605"/>
                      <a:pt x="226" y="576"/>
                    </a:cubicBezTo>
                    <a:cubicBezTo>
                      <a:pt x="226" y="57"/>
                      <a:pt x="226" y="57"/>
                      <a:pt x="226" y="57"/>
                    </a:cubicBezTo>
                    <a:cubicBezTo>
                      <a:pt x="169" y="0"/>
                      <a:pt x="169" y="0"/>
                      <a:pt x="169" y="0"/>
                    </a:cubicBezTo>
                    <a:lnTo>
                      <a:pt x="0" y="16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27" name="Freeform 15"/>
              <p:cNvSpPr>
                <a:spLocks/>
              </p:cNvSpPr>
              <p:nvPr/>
            </p:nvSpPr>
            <p:spPr bwMode="auto">
              <a:xfrm>
                <a:off x="735013" y="3819516"/>
                <a:ext cx="50800" cy="149225"/>
              </a:xfrm>
              <a:custGeom>
                <a:avLst/>
                <a:gdLst>
                  <a:gd name="T0" fmla="*/ 0 w 226"/>
                  <a:gd name="T1" fmla="*/ 164 h 656"/>
                  <a:gd name="T2" fmla="*/ 0 w 226"/>
                  <a:gd name="T3" fmla="*/ 619 h 656"/>
                  <a:gd name="T4" fmla="*/ 40 w 226"/>
                  <a:gd name="T5" fmla="*/ 656 h 656"/>
                  <a:gd name="T6" fmla="*/ 186 w 226"/>
                  <a:gd name="T7" fmla="*/ 656 h 656"/>
                  <a:gd name="T8" fmla="*/ 226 w 226"/>
                  <a:gd name="T9" fmla="*/ 619 h 656"/>
                  <a:gd name="T10" fmla="*/ 226 w 226"/>
                  <a:gd name="T11" fmla="*/ 0 h 656"/>
                  <a:gd name="T12" fmla="*/ 94 w 226"/>
                  <a:gd name="T13" fmla="*/ 132 h 656"/>
                  <a:gd name="T14" fmla="*/ 15 w 226"/>
                  <a:gd name="T15" fmla="*/ 165 h 656"/>
                  <a:gd name="T16" fmla="*/ 0 w 226"/>
                  <a:gd name="T17" fmla="*/ 164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656">
                    <a:moveTo>
                      <a:pt x="0" y="164"/>
                    </a:moveTo>
                    <a:cubicBezTo>
                      <a:pt x="0" y="619"/>
                      <a:pt x="0" y="619"/>
                      <a:pt x="0" y="619"/>
                    </a:cubicBezTo>
                    <a:cubicBezTo>
                      <a:pt x="0" y="640"/>
                      <a:pt x="18" y="656"/>
                      <a:pt x="40" y="656"/>
                    </a:cubicBezTo>
                    <a:cubicBezTo>
                      <a:pt x="186" y="656"/>
                      <a:pt x="186" y="656"/>
                      <a:pt x="186" y="656"/>
                    </a:cubicBezTo>
                    <a:cubicBezTo>
                      <a:pt x="208" y="656"/>
                      <a:pt x="226" y="640"/>
                      <a:pt x="226" y="619"/>
                    </a:cubicBezTo>
                    <a:cubicBezTo>
                      <a:pt x="226" y="0"/>
                      <a:pt x="226" y="0"/>
                      <a:pt x="226" y="0"/>
                    </a:cubicBezTo>
                    <a:cubicBezTo>
                      <a:pt x="94" y="132"/>
                      <a:pt x="94" y="132"/>
                      <a:pt x="94" y="132"/>
                    </a:cubicBezTo>
                    <a:cubicBezTo>
                      <a:pt x="73" y="153"/>
                      <a:pt x="44" y="165"/>
                      <a:pt x="15" y="165"/>
                    </a:cubicBezTo>
                    <a:cubicBezTo>
                      <a:pt x="10" y="165"/>
                      <a:pt x="5" y="165"/>
                      <a:pt x="0" y="16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28" name="Freeform 16"/>
              <p:cNvSpPr>
                <a:spLocks/>
              </p:cNvSpPr>
              <p:nvPr/>
            </p:nvSpPr>
            <p:spPr bwMode="auto">
              <a:xfrm>
                <a:off x="811213" y="3776660"/>
                <a:ext cx="52387" cy="192087"/>
              </a:xfrm>
              <a:custGeom>
                <a:avLst/>
                <a:gdLst>
                  <a:gd name="T0" fmla="*/ 78 w 226"/>
                  <a:gd name="T1" fmla="*/ 0 h 846"/>
                  <a:gd name="T2" fmla="*/ 0 w 226"/>
                  <a:gd name="T3" fmla="*/ 78 h 846"/>
                  <a:gd name="T4" fmla="*/ 0 w 226"/>
                  <a:gd name="T5" fmla="*/ 807 h 846"/>
                  <a:gd name="T6" fmla="*/ 40 w 226"/>
                  <a:gd name="T7" fmla="*/ 846 h 846"/>
                  <a:gd name="T8" fmla="*/ 186 w 226"/>
                  <a:gd name="T9" fmla="*/ 846 h 846"/>
                  <a:gd name="T10" fmla="*/ 226 w 226"/>
                  <a:gd name="T11" fmla="*/ 807 h 846"/>
                  <a:gd name="T12" fmla="*/ 226 w 226"/>
                  <a:gd name="T13" fmla="*/ 56 h 846"/>
                  <a:gd name="T14" fmla="*/ 173 w 226"/>
                  <a:gd name="T15" fmla="*/ 71 h 846"/>
                  <a:gd name="T16" fmla="*/ 78 w 226"/>
                  <a:gd name="T17" fmla="*/ 0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846">
                    <a:moveTo>
                      <a:pt x="78" y="0"/>
                    </a:moveTo>
                    <a:cubicBezTo>
                      <a:pt x="0" y="78"/>
                      <a:pt x="0" y="78"/>
                      <a:pt x="0" y="78"/>
                    </a:cubicBezTo>
                    <a:cubicBezTo>
                      <a:pt x="0" y="807"/>
                      <a:pt x="0" y="807"/>
                      <a:pt x="0" y="807"/>
                    </a:cubicBezTo>
                    <a:cubicBezTo>
                      <a:pt x="0" y="829"/>
                      <a:pt x="18" y="846"/>
                      <a:pt x="40" y="846"/>
                    </a:cubicBezTo>
                    <a:cubicBezTo>
                      <a:pt x="186" y="846"/>
                      <a:pt x="186" y="846"/>
                      <a:pt x="186" y="846"/>
                    </a:cubicBezTo>
                    <a:cubicBezTo>
                      <a:pt x="208" y="846"/>
                      <a:pt x="226" y="829"/>
                      <a:pt x="226" y="807"/>
                    </a:cubicBezTo>
                    <a:cubicBezTo>
                      <a:pt x="226" y="56"/>
                      <a:pt x="226" y="56"/>
                      <a:pt x="226" y="56"/>
                    </a:cubicBezTo>
                    <a:cubicBezTo>
                      <a:pt x="210" y="65"/>
                      <a:pt x="193" y="71"/>
                      <a:pt x="173" y="71"/>
                    </a:cubicBezTo>
                    <a:cubicBezTo>
                      <a:pt x="129" y="71"/>
                      <a:pt x="91" y="41"/>
                      <a:pt x="78"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29" name="Freeform 17"/>
              <p:cNvSpPr>
                <a:spLocks/>
              </p:cNvSpPr>
              <p:nvPr/>
            </p:nvSpPr>
            <p:spPr bwMode="auto">
              <a:xfrm>
                <a:off x="577850" y="3703638"/>
                <a:ext cx="285750" cy="203200"/>
              </a:xfrm>
              <a:custGeom>
                <a:avLst/>
                <a:gdLst>
                  <a:gd name="T0" fmla="*/ 73 w 1256"/>
                  <a:gd name="T1" fmla="*/ 890 h 890"/>
                  <a:gd name="T2" fmla="*/ 119 w 1256"/>
                  <a:gd name="T3" fmla="*/ 871 h 890"/>
                  <a:gd name="T4" fmla="*/ 522 w 1256"/>
                  <a:gd name="T5" fmla="*/ 469 h 890"/>
                  <a:gd name="T6" fmla="*/ 659 w 1256"/>
                  <a:gd name="T7" fmla="*/ 606 h 890"/>
                  <a:gd name="T8" fmla="*/ 706 w 1256"/>
                  <a:gd name="T9" fmla="*/ 626 h 890"/>
                  <a:gd name="T10" fmla="*/ 752 w 1256"/>
                  <a:gd name="T11" fmla="*/ 606 h 890"/>
                  <a:gd name="T12" fmla="*/ 1150 w 1256"/>
                  <a:gd name="T13" fmla="*/ 209 h 890"/>
                  <a:gd name="T14" fmla="*/ 1150 w 1256"/>
                  <a:gd name="T15" fmla="*/ 288 h 890"/>
                  <a:gd name="T16" fmla="*/ 1202 w 1256"/>
                  <a:gd name="T17" fmla="*/ 341 h 890"/>
                  <a:gd name="T18" fmla="*/ 1255 w 1256"/>
                  <a:gd name="T19" fmla="*/ 288 h 890"/>
                  <a:gd name="T20" fmla="*/ 1255 w 1256"/>
                  <a:gd name="T21" fmla="*/ 85 h 890"/>
                  <a:gd name="T22" fmla="*/ 1255 w 1256"/>
                  <a:gd name="T23" fmla="*/ 64 h 890"/>
                  <a:gd name="T24" fmla="*/ 1255 w 1256"/>
                  <a:gd name="T25" fmla="*/ 53 h 890"/>
                  <a:gd name="T26" fmla="*/ 1202 w 1256"/>
                  <a:gd name="T27" fmla="*/ 0 h 890"/>
                  <a:gd name="T28" fmla="*/ 963 w 1256"/>
                  <a:gd name="T29" fmla="*/ 0 h 890"/>
                  <a:gd name="T30" fmla="*/ 910 w 1256"/>
                  <a:gd name="T31" fmla="*/ 53 h 890"/>
                  <a:gd name="T32" fmla="*/ 963 w 1256"/>
                  <a:gd name="T33" fmla="*/ 106 h 890"/>
                  <a:gd name="T34" fmla="*/ 1065 w 1256"/>
                  <a:gd name="T35" fmla="*/ 106 h 890"/>
                  <a:gd name="T36" fmla="*/ 705 w 1256"/>
                  <a:gd name="T37" fmla="*/ 466 h 890"/>
                  <a:gd name="T38" fmla="*/ 568 w 1256"/>
                  <a:gd name="T39" fmla="*/ 329 h 890"/>
                  <a:gd name="T40" fmla="*/ 522 w 1256"/>
                  <a:gd name="T41" fmla="*/ 309 h 890"/>
                  <a:gd name="T42" fmla="*/ 475 w 1256"/>
                  <a:gd name="T43" fmla="*/ 329 h 890"/>
                  <a:gd name="T44" fmla="*/ 26 w 1256"/>
                  <a:gd name="T45" fmla="*/ 777 h 890"/>
                  <a:gd name="T46" fmla="*/ 26 w 1256"/>
                  <a:gd name="T47" fmla="*/ 871 h 890"/>
                  <a:gd name="T48" fmla="*/ 73 w 1256"/>
                  <a:gd name="T49" fmla="*/ 890 h 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56" h="890">
                    <a:moveTo>
                      <a:pt x="73" y="890"/>
                    </a:moveTo>
                    <a:cubicBezTo>
                      <a:pt x="90" y="890"/>
                      <a:pt x="107" y="884"/>
                      <a:pt x="119" y="871"/>
                    </a:cubicBezTo>
                    <a:cubicBezTo>
                      <a:pt x="522" y="469"/>
                      <a:pt x="522" y="469"/>
                      <a:pt x="522" y="469"/>
                    </a:cubicBezTo>
                    <a:cubicBezTo>
                      <a:pt x="659" y="606"/>
                      <a:pt x="659" y="606"/>
                      <a:pt x="659" y="606"/>
                    </a:cubicBezTo>
                    <a:cubicBezTo>
                      <a:pt x="671" y="619"/>
                      <a:pt x="688" y="626"/>
                      <a:pt x="706" y="626"/>
                    </a:cubicBezTo>
                    <a:cubicBezTo>
                      <a:pt x="723" y="626"/>
                      <a:pt x="740" y="619"/>
                      <a:pt x="752" y="606"/>
                    </a:cubicBezTo>
                    <a:cubicBezTo>
                      <a:pt x="1150" y="209"/>
                      <a:pt x="1150" y="209"/>
                      <a:pt x="1150" y="209"/>
                    </a:cubicBezTo>
                    <a:cubicBezTo>
                      <a:pt x="1150" y="288"/>
                      <a:pt x="1150" y="288"/>
                      <a:pt x="1150" y="288"/>
                    </a:cubicBezTo>
                    <a:cubicBezTo>
                      <a:pt x="1150" y="317"/>
                      <a:pt x="1173" y="341"/>
                      <a:pt x="1202" y="341"/>
                    </a:cubicBezTo>
                    <a:cubicBezTo>
                      <a:pt x="1232" y="341"/>
                      <a:pt x="1255" y="317"/>
                      <a:pt x="1255" y="288"/>
                    </a:cubicBezTo>
                    <a:cubicBezTo>
                      <a:pt x="1255" y="85"/>
                      <a:pt x="1255" y="85"/>
                      <a:pt x="1255" y="85"/>
                    </a:cubicBezTo>
                    <a:cubicBezTo>
                      <a:pt x="1256" y="78"/>
                      <a:pt x="1256" y="71"/>
                      <a:pt x="1255" y="64"/>
                    </a:cubicBezTo>
                    <a:cubicBezTo>
                      <a:pt x="1255" y="53"/>
                      <a:pt x="1255" y="53"/>
                      <a:pt x="1255" y="53"/>
                    </a:cubicBezTo>
                    <a:cubicBezTo>
                      <a:pt x="1255" y="24"/>
                      <a:pt x="1232" y="0"/>
                      <a:pt x="1202" y="0"/>
                    </a:cubicBezTo>
                    <a:cubicBezTo>
                      <a:pt x="963" y="0"/>
                      <a:pt x="963" y="0"/>
                      <a:pt x="963" y="0"/>
                    </a:cubicBezTo>
                    <a:cubicBezTo>
                      <a:pt x="934" y="0"/>
                      <a:pt x="910" y="24"/>
                      <a:pt x="910" y="53"/>
                    </a:cubicBezTo>
                    <a:cubicBezTo>
                      <a:pt x="910" y="82"/>
                      <a:pt x="934" y="106"/>
                      <a:pt x="963" y="106"/>
                    </a:cubicBezTo>
                    <a:cubicBezTo>
                      <a:pt x="1065" y="106"/>
                      <a:pt x="1065" y="106"/>
                      <a:pt x="1065" y="106"/>
                    </a:cubicBezTo>
                    <a:cubicBezTo>
                      <a:pt x="705" y="466"/>
                      <a:pt x="705" y="466"/>
                      <a:pt x="705" y="466"/>
                    </a:cubicBezTo>
                    <a:cubicBezTo>
                      <a:pt x="568" y="329"/>
                      <a:pt x="568" y="329"/>
                      <a:pt x="568" y="329"/>
                    </a:cubicBezTo>
                    <a:cubicBezTo>
                      <a:pt x="555" y="316"/>
                      <a:pt x="538" y="309"/>
                      <a:pt x="522" y="309"/>
                    </a:cubicBezTo>
                    <a:cubicBezTo>
                      <a:pt x="505" y="309"/>
                      <a:pt x="488" y="316"/>
                      <a:pt x="475" y="329"/>
                    </a:cubicBezTo>
                    <a:cubicBezTo>
                      <a:pt x="26" y="777"/>
                      <a:pt x="26" y="777"/>
                      <a:pt x="26" y="777"/>
                    </a:cubicBezTo>
                    <a:cubicBezTo>
                      <a:pt x="0" y="803"/>
                      <a:pt x="0" y="845"/>
                      <a:pt x="26" y="871"/>
                    </a:cubicBezTo>
                    <a:cubicBezTo>
                      <a:pt x="39" y="884"/>
                      <a:pt x="56" y="890"/>
                      <a:pt x="73" y="89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2400" dirty="0"/>
              </a:p>
            </p:txBody>
          </p:sp>
        </p:grpSp>
        <p:grpSp>
          <p:nvGrpSpPr>
            <p:cNvPr id="43" name="Group 42"/>
            <p:cNvGrpSpPr/>
            <p:nvPr userDrawn="1"/>
          </p:nvGrpSpPr>
          <p:grpSpPr>
            <a:xfrm>
              <a:off x="7549640" y="2052511"/>
              <a:ext cx="315101" cy="382457"/>
              <a:chOff x="3375026" y="2760657"/>
              <a:chExt cx="1084263" cy="1316038"/>
            </a:xfrm>
            <a:solidFill>
              <a:schemeClr val="tx2"/>
            </a:solidFill>
          </p:grpSpPr>
          <p:sp>
            <p:nvSpPr>
              <p:cNvPr id="44" name="Freeform 43"/>
              <p:cNvSpPr>
                <a:spLocks noEditPoints="1"/>
              </p:cNvSpPr>
              <p:nvPr/>
            </p:nvSpPr>
            <p:spPr bwMode="auto">
              <a:xfrm>
                <a:off x="3375026" y="2862260"/>
                <a:ext cx="1084263" cy="1214435"/>
              </a:xfrm>
              <a:custGeom>
                <a:avLst/>
                <a:gdLst>
                  <a:gd name="T0" fmla="*/ 289 w 289"/>
                  <a:gd name="T1" fmla="*/ 290 h 324"/>
                  <a:gd name="T2" fmla="*/ 289 w 289"/>
                  <a:gd name="T3" fmla="*/ 287 h 324"/>
                  <a:gd name="T4" fmla="*/ 274 w 289"/>
                  <a:gd name="T5" fmla="*/ 221 h 324"/>
                  <a:gd name="T6" fmla="*/ 223 w 289"/>
                  <a:gd name="T7" fmla="*/ 186 h 324"/>
                  <a:gd name="T8" fmla="*/ 262 w 289"/>
                  <a:gd name="T9" fmla="*/ 188 h 324"/>
                  <a:gd name="T10" fmla="*/ 221 w 289"/>
                  <a:gd name="T11" fmla="*/ 132 h 324"/>
                  <a:gd name="T12" fmla="*/ 196 w 289"/>
                  <a:gd name="T13" fmla="*/ 139 h 324"/>
                  <a:gd name="T14" fmla="*/ 171 w 289"/>
                  <a:gd name="T15" fmla="*/ 149 h 324"/>
                  <a:gd name="T16" fmla="*/ 154 w 289"/>
                  <a:gd name="T17" fmla="*/ 156 h 324"/>
                  <a:gd name="T18" fmla="*/ 135 w 289"/>
                  <a:gd name="T19" fmla="*/ 140 h 324"/>
                  <a:gd name="T20" fmla="*/ 155 w 289"/>
                  <a:gd name="T21" fmla="*/ 126 h 324"/>
                  <a:gd name="T22" fmla="*/ 169 w 289"/>
                  <a:gd name="T23" fmla="*/ 130 h 324"/>
                  <a:gd name="T24" fmla="*/ 169 w 289"/>
                  <a:gd name="T25" fmla="*/ 130 h 324"/>
                  <a:gd name="T26" fmla="*/ 190 w 289"/>
                  <a:gd name="T27" fmla="*/ 120 h 324"/>
                  <a:gd name="T28" fmla="*/ 195 w 289"/>
                  <a:gd name="T29" fmla="*/ 77 h 324"/>
                  <a:gd name="T30" fmla="*/ 207 w 289"/>
                  <a:gd name="T31" fmla="*/ 70 h 324"/>
                  <a:gd name="T32" fmla="*/ 203 w 289"/>
                  <a:gd name="T33" fmla="*/ 35 h 324"/>
                  <a:gd name="T34" fmla="*/ 142 w 289"/>
                  <a:gd name="T35" fmla="*/ 0 h 324"/>
                  <a:gd name="T36" fmla="*/ 87 w 289"/>
                  <a:gd name="T37" fmla="*/ 31 h 324"/>
                  <a:gd name="T38" fmla="*/ 82 w 289"/>
                  <a:gd name="T39" fmla="*/ 70 h 324"/>
                  <a:gd name="T40" fmla="*/ 90 w 289"/>
                  <a:gd name="T41" fmla="*/ 77 h 324"/>
                  <a:gd name="T42" fmla="*/ 93 w 289"/>
                  <a:gd name="T43" fmla="*/ 137 h 324"/>
                  <a:gd name="T44" fmla="*/ 64 w 289"/>
                  <a:gd name="T45" fmla="*/ 134 h 324"/>
                  <a:gd name="T46" fmla="*/ 23 w 289"/>
                  <a:gd name="T47" fmla="*/ 191 h 324"/>
                  <a:gd name="T48" fmla="*/ 60 w 289"/>
                  <a:gd name="T49" fmla="*/ 189 h 324"/>
                  <a:gd name="T50" fmla="*/ 16 w 289"/>
                  <a:gd name="T51" fmla="*/ 221 h 324"/>
                  <a:gd name="T52" fmla="*/ 1 w 289"/>
                  <a:gd name="T53" fmla="*/ 287 h 324"/>
                  <a:gd name="T54" fmla="*/ 0 w 289"/>
                  <a:gd name="T55" fmla="*/ 290 h 324"/>
                  <a:gd name="T56" fmla="*/ 0 w 289"/>
                  <a:gd name="T57" fmla="*/ 290 h 324"/>
                  <a:gd name="T58" fmla="*/ 0 w 289"/>
                  <a:gd name="T59" fmla="*/ 291 h 324"/>
                  <a:gd name="T60" fmla="*/ 0 w 289"/>
                  <a:gd name="T61" fmla="*/ 291 h 324"/>
                  <a:gd name="T62" fmla="*/ 145 w 289"/>
                  <a:gd name="T63" fmla="*/ 324 h 324"/>
                  <a:gd name="T64" fmla="*/ 289 w 289"/>
                  <a:gd name="T65" fmla="*/ 291 h 324"/>
                  <a:gd name="T66" fmla="*/ 289 w 289"/>
                  <a:gd name="T67" fmla="*/ 291 h 324"/>
                  <a:gd name="T68" fmla="*/ 289 w 289"/>
                  <a:gd name="T69" fmla="*/ 290 h 324"/>
                  <a:gd name="T70" fmla="*/ 289 w 289"/>
                  <a:gd name="T71" fmla="*/ 290 h 324"/>
                  <a:gd name="T72" fmla="*/ 113 w 289"/>
                  <a:gd name="T73" fmla="*/ 210 h 324"/>
                  <a:gd name="T74" fmla="*/ 124 w 289"/>
                  <a:gd name="T75" fmla="*/ 196 h 324"/>
                  <a:gd name="T76" fmla="*/ 97 w 289"/>
                  <a:gd name="T77" fmla="*/ 216 h 324"/>
                  <a:gd name="T78" fmla="*/ 102 w 289"/>
                  <a:gd name="T79" fmla="*/ 181 h 324"/>
                  <a:gd name="T80" fmla="*/ 113 w 289"/>
                  <a:gd name="T81" fmla="*/ 164 h 324"/>
                  <a:gd name="T82" fmla="*/ 139 w 289"/>
                  <a:gd name="T83" fmla="*/ 184 h 324"/>
                  <a:gd name="T84" fmla="*/ 129 w 289"/>
                  <a:gd name="T85" fmla="*/ 194 h 324"/>
                  <a:gd name="T86" fmla="*/ 151 w 289"/>
                  <a:gd name="T87" fmla="*/ 276 h 324"/>
                  <a:gd name="T88" fmla="*/ 113 w 289"/>
                  <a:gd name="T89" fmla="*/ 210 h 324"/>
                  <a:gd name="T90" fmla="*/ 183 w 289"/>
                  <a:gd name="T91" fmla="*/ 210 h 324"/>
                  <a:gd name="T92" fmla="*/ 152 w 289"/>
                  <a:gd name="T93" fmla="*/ 276 h 324"/>
                  <a:gd name="T94" fmla="*/ 164 w 289"/>
                  <a:gd name="T95" fmla="*/ 192 h 324"/>
                  <a:gd name="T96" fmla="*/ 154 w 289"/>
                  <a:gd name="T97" fmla="*/ 183 h 324"/>
                  <a:gd name="T98" fmla="*/ 176 w 289"/>
                  <a:gd name="T99" fmla="*/ 163 h 324"/>
                  <a:gd name="T100" fmla="*/ 188 w 289"/>
                  <a:gd name="T101" fmla="*/ 179 h 324"/>
                  <a:gd name="T102" fmla="*/ 200 w 289"/>
                  <a:gd name="T103" fmla="*/ 218 h 324"/>
                  <a:gd name="T104" fmla="*/ 172 w 289"/>
                  <a:gd name="T105" fmla="*/ 196 h 324"/>
                  <a:gd name="T106" fmla="*/ 183 w 289"/>
                  <a:gd name="T107" fmla="*/ 21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9" h="324">
                    <a:moveTo>
                      <a:pt x="289" y="290"/>
                    </a:moveTo>
                    <a:cubicBezTo>
                      <a:pt x="289" y="289"/>
                      <a:pt x="289" y="288"/>
                      <a:pt x="289" y="287"/>
                    </a:cubicBezTo>
                    <a:cubicBezTo>
                      <a:pt x="287" y="272"/>
                      <a:pt x="281" y="229"/>
                      <a:pt x="274" y="221"/>
                    </a:cubicBezTo>
                    <a:cubicBezTo>
                      <a:pt x="261" y="207"/>
                      <a:pt x="240" y="195"/>
                      <a:pt x="223" y="186"/>
                    </a:cubicBezTo>
                    <a:cubicBezTo>
                      <a:pt x="237" y="190"/>
                      <a:pt x="251" y="191"/>
                      <a:pt x="262" y="188"/>
                    </a:cubicBezTo>
                    <a:cubicBezTo>
                      <a:pt x="248" y="185"/>
                      <a:pt x="229" y="161"/>
                      <a:pt x="221" y="132"/>
                    </a:cubicBezTo>
                    <a:cubicBezTo>
                      <a:pt x="217" y="134"/>
                      <a:pt x="204" y="141"/>
                      <a:pt x="196" y="139"/>
                    </a:cubicBezTo>
                    <a:cubicBezTo>
                      <a:pt x="183" y="146"/>
                      <a:pt x="171" y="149"/>
                      <a:pt x="171" y="149"/>
                    </a:cubicBezTo>
                    <a:cubicBezTo>
                      <a:pt x="171" y="149"/>
                      <a:pt x="165" y="156"/>
                      <a:pt x="154" y="156"/>
                    </a:cubicBezTo>
                    <a:cubicBezTo>
                      <a:pt x="140" y="156"/>
                      <a:pt x="135" y="149"/>
                      <a:pt x="135" y="140"/>
                    </a:cubicBezTo>
                    <a:cubicBezTo>
                      <a:pt x="135" y="132"/>
                      <a:pt x="144" y="126"/>
                      <a:pt x="155" y="126"/>
                    </a:cubicBezTo>
                    <a:cubicBezTo>
                      <a:pt x="160" y="126"/>
                      <a:pt x="165" y="128"/>
                      <a:pt x="169" y="130"/>
                    </a:cubicBezTo>
                    <a:cubicBezTo>
                      <a:pt x="169" y="130"/>
                      <a:pt x="169" y="130"/>
                      <a:pt x="169" y="130"/>
                    </a:cubicBezTo>
                    <a:cubicBezTo>
                      <a:pt x="176" y="129"/>
                      <a:pt x="184" y="125"/>
                      <a:pt x="190" y="120"/>
                    </a:cubicBezTo>
                    <a:cubicBezTo>
                      <a:pt x="190" y="104"/>
                      <a:pt x="194" y="80"/>
                      <a:pt x="195" y="77"/>
                    </a:cubicBezTo>
                    <a:cubicBezTo>
                      <a:pt x="195" y="71"/>
                      <a:pt x="201" y="70"/>
                      <a:pt x="207" y="70"/>
                    </a:cubicBezTo>
                    <a:cubicBezTo>
                      <a:pt x="208" y="57"/>
                      <a:pt x="208" y="44"/>
                      <a:pt x="203" y="35"/>
                    </a:cubicBezTo>
                    <a:cubicBezTo>
                      <a:pt x="192" y="13"/>
                      <a:pt x="162" y="0"/>
                      <a:pt x="142" y="0"/>
                    </a:cubicBezTo>
                    <a:cubicBezTo>
                      <a:pt x="123" y="0"/>
                      <a:pt x="98" y="11"/>
                      <a:pt x="87" y="31"/>
                    </a:cubicBezTo>
                    <a:cubicBezTo>
                      <a:pt x="81" y="42"/>
                      <a:pt x="81" y="56"/>
                      <a:pt x="82" y="70"/>
                    </a:cubicBezTo>
                    <a:cubicBezTo>
                      <a:pt x="86" y="70"/>
                      <a:pt x="89" y="72"/>
                      <a:pt x="90" y="77"/>
                    </a:cubicBezTo>
                    <a:cubicBezTo>
                      <a:pt x="91" y="82"/>
                      <a:pt x="97" y="129"/>
                      <a:pt x="93" y="137"/>
                    </a:cubicBezTo>
                    <a:cubicBezTo>
                      <a:pt x="90" y="145"/>
                      <a:pt x="68" y="136"/>
                      <a:pt x="64" y="134"/>
                    </a:cubicBezTo>
                    <a:cubicBezTo>
                      <a:pt x="57" y="163"/>
                      <a:pt x="37" y="188"/>
                      <a:pt x="23" y="191"/>
                    </a:cubicBezTo>
                    <a:cubicBezTo>
                      <a:pt x="33" y="194"/>
                      <a:pt x="47" y="193"/>
                      <a:pt x="60" y="189"/>
                    </a:cubicBezTo>
                    <a:cubicBezTo>
                      <a:pt x="45" y="197"/>
                      <a:pt x="27" y="208"/>
                      <a:pt x="16" y="221"/>
                    </a:cubicBezTo>
                    <a:cubicBezTo>
                      <a:pt x="9" y="229"/>
                      <a:pt x="3" y="272"/>
                      <a:pt x="1" y="287"/>
                    </a:cubicBezTo>
                    <a:cubicBezTo>
                      <a:pt x="1" y="288"/>
                      <a:pt x="0" y="289"/>
                      <a:pt x="0" y="290"/>
                    </a:cubicBezTo>
                    <a:cubicBezTo>
                      <a:pt x="0" y="290"/>
                      <a:pt x="0" y="290"/>
                      <a:pt x="0" y="290"/>
                    </a:cubicBezTo>
                    <a:cubicBezTo>
                      <a:pt x="0" y="291"/>
                      <a:pt x="0" y="291"/>
                      <a:pt x="0" y="291"/>
                    </a:cubicBezTo>
                    <a:cubicBezTo>
                      <a:pt x="0" y="291"/>
                      <a:pt x="0" y="291"/>
                      <a:pt x="0" y="291"/>
                    </a:cubicBezTo>
                    <a:cubicBezTo>
                      <a:pt x="4" y="309"/>
                      <a:pt x="67" y="324"/>
                      <a:pt x="145" y="324"/>
                    </a:cubicBezTo>
                    <a:cubicBezTo>
                      <a:pt x="222" y="324"/>
                      <a:pt x="286" y="309"/>
                      <a:pt x="289" y="291"/>
                    </a:cubicBezTo>
                    <a:cubicBezTo>
                      <a:pt x="289" y="291"/>
                      <a:pt x="289" y="291"/>
                      <a:pt x="289" y="291"/>
                    </a:cubicBezTo>
                    <a:cubicBezTo>
                      <a:pt x="289" y="291"/>
                      <a:pt x="289" y="291"/>
                      <a:pt x="289" y="290"/>
                    </a:cubicBezTo>
                    <a:cubicBezTo>
                      <a:pt x="289" y="290"/>
                      <a:pt x="289" y="290"/>
                      <a:pt x="289" y="290"/>
                    </a:cubicBezTo>
                    <a:close/>
                    <a:moveTo>
                      <a:pt x="113" y="210"/>
                    </a:moveTo>
                    <a:cubicBezTo>
                      <a:pt x="124" y="196"/>
                      <a:pt x="124" y="196"/>
                      <a:pt x="124" y="196"/>
                    </a:cubicBezTo>
                    <a:cubicBezTo>
                      <a:pt x="97" y="216"/>
                      <a:pt x="97" y="216"/>
                      <a:pt x="97" y="216"/>
                    </a:cubicBezTo>
                    <a:cubicBezTo>
                      <a:pt x="102" y="181"/>
                      <a:pt x="102" y="181"/>
                      <a:pt x="102" y="181"/>
                    </a:cubicBezTo>
                    <a:cubicBezTo>
                      <a:pt x="113" y="164"/>
                      <a:pt x="113" y="164"/>
                      <a:pt x="113" y="164"/>
                    </a:cubicBezTo>
                    <a:cubicBezTo>
                      <a:pt x="139" y="184"/>
                      <a:pt x="139" y="184"/>
                      <a:pt x="139" y="184"/>
                    </a:cubicBezTo>
                    <a:cubicBezTo>
                      <a:pt x="129" y="194"/>
                      <a:pt x="129" y="194"/>
                      <a:pt x="129" y="194"/>
                    </a:cubicBezTo>
                    <a:cubicBezTo>
                      <a:pt x="151" y="276"/>
                      <a:pt x="151" y="276"/>
                      <a:pt x="151" y="276"/>
                    </a:cubicBezTo>
                    <a:lnTo>
                      <a:pt x="113" y="210"/>
                    </a:lnTo>
                    <a:close/>
                    <a:moveTo>
                      <a:pt x="183" y="210"/>
                    </a:moveTo>
                    <a:cubicBezTo>
                      <a:pt x="152" y="276"/>
                      <a:pt x="152" y="276"/>
                      <a:pt x="152" y="276"/>
                    </a:cubicBezTo>
                    <a:cubicBezTo>
                      <a:pt x="164" y="192"/>
                      <a:pt x="164" y="192"/>
                      <a:pt x="164" y="192"/>
                    </a:cubicBezTo>
                    <a:cubicBezTo>
                      <a:pt x="154" y="183"/>
                      <a:pt x="154" y="183"/>
                      <a:pt x="154" y="183"/>
                    </a:cubicBezTo>
                    <a:cubicBezTo>
                      <a:pt x="176" y="163"/>
                      <a:pt x="176" y="163"/>
                      <a:pt x="176" y="163"/>
                    </a:cubicBezTo>
                    <a:cubicBezTo>
                      <a:pt x="188" y="179"/>
                      <a:pt x="188" y="179"/>
                      <a:pt x="188" y="179"/>
                    </a:cubicBezTo>
                    <a:cubicBezTo>
                      <a:pt x="200" y="218"/>
                      <a:pt x="200" y="218"/>
                      <a:pt x="200" y="218"/>
                    </a:cubicBezTo>
                    <a:cubicBezTo>
                      <a:pt x="172" y="196"/>
                      <a:pt x="172" y="196"/>
                      <a:pt x="172" y="196"/>
                    </a:cubicBezTo>
                    <a:lnTo>
                      <a:pt x="183"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45" name="Freeform 44"/>
              <p:cNvSpPr>
                <a:spLocks/>
              </p:cNvSpPr>
              <p:nvPr/>
            </p:nvSpPr>
            <p:spPr bwMode="auto">
              <a:xfrm>
                <a:off x="3567113" y="2760657"/>
                <a:ext cx="682626" cy="600074"/>
              </a:xfrm>
              <a:custGeom>
                <a:avLst/>
                <a:gdLst>
                  <a:gd name="T0" fmla="*/ 180 w 182"/>
                  <a:gd name="T1" fmla="*/ 110 h 160"/>
                  <a:gd name="T2" fmla="*/ 176 w 182"/>
                  <a:gd name="T3" fmla="*/ 101 h 160"/>
                  <a:gd name="T4" fmla="*/ 177 w 182"/>
                  <a:gd name="T5" fmla="*/ 87 h 160"/>
                  <a:gd name="T6" fmla="*/ 91 w 182"/>
                  <a:gd name="T7" fmla="*/ 0 h 160"/>
                  <a:gd name="T8" fmla="*/ 5 w 182"/>
                  <a:gd name="T9" fmla="*/ 87 h 160"/>
                  <a:gd name="T10" fmla="*/ 6 w 182"/>
                  <a:gd name="T11" fmla="*/ 101 h 160"/>
                  <a:gd name="T12" fmla="*/ 2 w 182"/>
                  <a:gd name="T13" fmla="*/ 111 h 160"/>
                  <a:gd name="T14" fmla="*/ 4 w 182"/>
                  <a:gd name="T15" fmla="*/ 146 h 160"/>
                  <a:gd name="T16" fmla="*/ 29 w 182"/>
                  <a:gd name="T17" fmla="*/ 159 h 160"/>
                  <a:gd name="T18" fmla="*/ 33 w 182"/>
                  <a:gd name="T19" fmla="*/ 160 h 160"/>
                  <a:gd name="T20" fmla="*/ 37 w 182"/>
                  <a:gd name="T21" fmla="*/ 155 h 160"/>
                  <a:gd name="T22" fmla="*/ 33 w 182"/>
                  <a:gd name="T23" fmla="*/ 108 h 160"/>
                  <a:gd name="T24" fmla="*/ 28 w 182"/>
                  <a:gd name="T25" fmla="*/ 104 h 160"/>
                  <a:gd name="T26" fmla="*/ 25 w 182"/>
                  <a:gd name="T27" fmla="*/ 105 h 160"/>
                  <a:gd name="T28" fmla="*/ 24 w 182"/>
                  <a:gd name="T29" fmla="*/ 105 h 160"/>
                  <a:gd name="T30" fmla="*/ 16 w 182"/>
                  <a:gd name="T31" fmla="*/ 99 h 160"/>
                  <a:gd name="T32" fmla="*/ 15 w 182"/>
                  <a:gd name="T33" fmla="*/ 87 h 160"/>
                  <a:gd name="T34" fmla="*/ 91 w 182"/>
                  <a:gd name="T35" fmla="*/ 15 h 160"/>
                  <a:gd name="T36" fmla="*/ 168 w 182"/>
                  <a:gd name="T37" fmla="*/ 87 h 160"/>
                  <a:gd name="T38" fmla="*/ 167 w 182"/>
                  <a:gd name="T39" fmla="*/ 99 h 160"/>
                  <a:gd name="T40" fmla="*/ 159 w 182"/>
                  <a:gd name="T41" fmla="*/ 105 h 160"/>
                  <a:gd name="T42" fmla="*/ 158 w 182"/>
                  <a:gd name="T43" fmla="*/ 105 h 160"/>
                  <a:gd name="T44" fmla="*/ 155 w 182"/>
                  <a:gd name="T45" fmla="*/ 104 h 160"/>
                  <a:gd name="T46" fmla="*/ 150 w 182"/>
                  <a:gd name="T47" fmla="*/ 108 h 160"/>
                  <a:gd name="T48" fmla="*/ 145 w 182"/>
                  <a:gd name="T49" fmla="*/ 155 h 160"/>
                  <a:gd name="T50" fmla="*/ 150 w 182"/>
                  <a:gd name="T51" fmla="*/ 160 h 160"/>
                  <a:gd name="T52" fmla="*/ 153 w 182"/>
                  <a:gd name="T53" fmla="*/ 158 h 160"/>
                  <a:gd name="T54" fmla="*/ 178 w 182"/>
                  <a:gd name="T55" fmla="*/ 146 h 160"/>
                  <a:gd name="T56" fmla="*/ 180 w 182"/>
                  <a:gd name="T57" fmla="*/ 11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2" h="160">
                    <a:moveTo>
                      <a:pt x="180" y="110"/>
                    </a:moveTo>
                    <a:cubicBezTo>
                      <a:pt x="179" y="107"/>
                      <a:pt x="177" y="103"/>
                      <a:pt x="176" y="101"/>
                    </a:cubicBezTo>
                    <a:cubicBezTo>
                      <a:pt x="177" y="96"/>
                      <a:pt x="177" y="92"/>
                      <a:pt x="177" y="87"/>
                    </a:cubicBezTo>
                    <a:cubicBezTo>
                      <a:pt x="177" y="39"/>
                      <a:pt x="139" y="0"/>
                      <a:pt x="91" y="0"/>
                    </a:cubicBezTo>
                    <a:cubicBezTo>
                      <a:pt x="44" y="0"/>
                      <a:pt x="5" y="39"/>
                      <a:pt x="5" y="87"/>
                    </a:cubicBezTo>
                    <a:cubicBezTo>
                      <a:pt x="5" y="92"/>
                      <a:pt x="6" y="97"/>
                      <a:pt x="6" y="101"/>
                    </a:cubicBezTo>
                    <a:cubicBezTo>
                      <a:pt x="5" y="104"/>
                      <a:pt x="4" y="107"/>
                      <a:pt x="2" y="111"/>
                    </a:cubicBezTo>
                    <a:cubicBezTo>
                      <a:pt x="0" y="116"/>
                      <a:pt x="2" y="142"/>
                      <a:pt x="4" y="146"/>
                    </a:cubicBezTo>
                    <a:cubicBezTo>
                      <a:pt x="9" y="153"/>
                      <a:pt x="21" y="158"/>
                      <a:pt x="29" y="159"/>
                    </a:cubicBezTo>
                    <a:cubicBezTo>
                      <a:pt x="30" y="160"/>
                      <a:pt x="31" y="160"/>
                      <a:pt x="33" y="160"/>
                    </a:cubicBezTo>
                    <a:cubicBezTo>
                      <a:pt x="35" y="160"/>
                      <a:pt x="37" y="158"/>
                      <a:pt x="37" y="155"/>
                    </a:cubicBezTo>
                    <a:cubicBezTo>
                      <a:pt x="33" y="108"/>
                      <a:pt x="33" y="108"/>
                      <a:pt x="33" y="108"/>
                    </a:cubicBezTo>
                    <a:cubicBezTo>
                      <a:pt x="33" y="105"/>
                      <a:pt x="30" y="104"/>
                      <a:pt x="28" y="104"/>
                    </a:cubicBezTo>
                    <a:cubicBezTo>
                      <a:pt x="27" y="104"/>
                      <a:pt x="26" y="104"/>
                      <a:pt x="25" y="105"/>
                    </a:cubicBezTo>
                    <a:cubicBezTo>
                      <a:pt x="24" y="105"/>
                      <a:pt x="24" y="105"/>
                      <a:pt x="24" y="105"/>
                    </a:cubicBezTo>
                    <a:cubicBezTo>
                      <a:pt x="21" y="105"/>
                      <a:pt x="17" y="102"/>
                      <a:pt x="16" y="99"/>
                    </a:cubicBezTo>
                    <a:cubicBezTo>
                      <a:pt x="15" y="95"/>
                      <a:pt x="15" y="91"/>
                      <a:pt x="15" y="87"/>
                    </a:cubicBezTo>
                    <a:cubicBezTo>
                      <a:pt x="15" y="44"/>
                      <a:pt x="49" y="15"/>
                      <a:pt x="91" y="15"/>
                    </a:cubicBezTo>
                    <a:cubicBezTo>
                      <a:pt x="133" y="15"/>
                      <a:pt x="168" y="44"/>
                      <a:pt x="168" y="87"/>
                    </a:cubicBezTo>
                    <a:cubicBezTo>
                      <a:pt x="168" y="91"/>
                      <a:pt x="167" y="95"/>
                      <a:pt x="167" y="99"/>
                    </a:cubicBezTo>
                    <a:cubicBezTo>
                      <a:pt x="165" y="102"/>
                      <a:pt x="161" y="105"/>
                      <a:pt x="159" y="105"/>
                    </a:cubicBezTo>
                    <a:cubicBezTo>
                      <a:pt x="159" y="105"/>
                      <a:pt x="158" y="105"/>
                      <a:pt x="158" y="105"/>
                    </a:cubicBezTo>
                    <a:cubicBezTo>
                      <a:pt x="157" y="104"/>
                      <a:pt x="156" y="104"/>
                      <a:pt x="155" y="104"/>
                    </a:cubicBezTo>
                    <a:cubicBezTo>
                      <a:pt x="152" y="103"/>
                      <a:pt x="150" y="105"/>
                      <a:pt x="150" y="108"/>
                    </a:cubicBezTo>
                    <a:cubicBezTo>
                      <a:pt x="145" y="155"/>
                      <a:pt x="145" y="155"/>
                      <a:pt x="145" y="155"/>
                    </a:cubicBezTo>
                    <a:cubicBezTo>
                      <a:pt x="145" y="158"/>
                      <a:pt x="147" y="160"/>
                      <a:pt x="150" y="160"/>
                    </a:cubicBezTo>
                    <a:cubicBezTo>
                      <a:pt x="151" y="160"/>
                      <a:pt x="153" y="159"/>
                      <a:pt x="153" y="158"/>
                    </a:cubicBezTo>
                    <a:cubicBezTo>
                      <a:pt x="161" y="157"/>
                      <a:pt x="174" y="152"/>
                      <a:pt x="178" y="146"/>
                    </a:cubicBezTo>
                    <a:cubicBezTo>
                      <a:pt x="181" y="142"/>
                      <a:pt x="182" y="116"/>
                      <a:pt x="180" y="110"/>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46" name="Freeform 45"/>
              <p:cNvSpPr>
                <a:spLocks/>
              </p:cNvSpPr>
              <p:nvPr/>
            </p:nvSpPr>
            <p:spPr bwMode="auto">
              <a:xfrm>
                <a:off x="3903664" y="3225799"/>
                <a:ext cx="323850" cy="198436"/>
              </a:xfrm>
              <a:custGeom>
                <a:avLst/>
                <a:gdLst>
                  <a:gd name="T0" fmla="*/ 86 w 86"/>
                  <a:gd name="T1" fmla="*/ 4 h 53"/>
                  <a:gd name="T2" fmla="*/ 79 w 86"/>
                  <a:gd name="T3" fmla="*/ 4 h 53"/>
                  <a:gd name="T4" fmla="*/ 26 w 86"/>
                  <a:gd name="T5" fmla="*/ 41 h 53"/>
                  <a:gd name="T6" fmla="*/ 14 w 86"/>
                  <a:gd name="T7" fmla="*/ 36 h 53"/>
                  <a:gd name="T8" fmla="*/ 0 w 86"/>
                  <a:gd name="T9" fmla="*/ 45 h 53"/>
                  <a:gd name="T10" fmla="*/ 14 w 86"/>
                  <a:gd name="T11" fmla="*/ 53 h 53"/>
                  <a:gd name="T12" fmla="*/ 28 w 86"/>
                  <a:gd name="T13" fmla="*/ 45 h 53"/>
                  <a:gd name="T14" fmla="*/ 86 w 86"/>
                  <a:gd name="T15" fmla="*/ 4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53">
                    <a:moveTo>
                      <a:pt x="86" y="4"/>
                    </a:moveTo>
                    <a:cubicBezTo>
                      <a:pt x="81" y="0"/>
                      <a:pt x="79" y="4"/>
                      <a:pt x="79" y="4"/>
                    </a:cubicBezTo>
                    <a:cubicBezTo>
                      <a:pt x="76" y="9"/>
                      <a:pt x="60" y="31"/>
                      <a:pt x="26" y="41"/>
                    </a:cubicBezTo>
                    <a:cubicBezTo>
                      <a:pt x="24" y="38"/>
                      <a:pt x="19" y="36"/>
                      <a:pt x="14" y="36"/>
                    </a:cubicBezTo>
                    <a:cubicBezTo>
                      <a:pt x="6" y="36"/>
                      <a:pt x="0" y="40"/>
                      <a:pt x="0" y="45"/>
                    </a:cubicBezTo>
                    <a:cubicBezTo>
                      <a:pt x="0" y="49"/>
                      <a:pt x="6" y="53"/>
                      <a:pt x="14" y="53"/>
                    </a:cubicBezTo>
                    <a:cubicBezTo>
                      <a:pt x="21" y="53"/>
                      <a:pt x="28" y="49"/>
                      <a:pt x="28" y="45"/>
                    </a:cubicBezTo>
                    <a:cubicBezTo>
                      <a:pt x="40" y="41"/>
                      <a:pt x="70" y="30"/>
                      <a:pt x="86" y="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grpSp>
          <p:nvGrpSpPr>
            <p:cNvPr id="47" name="Group 46"/>
            <p:cNvGrpSpPr/>
            <p:nvPr userDrawn="1"/>
          </p:nvGrpSpPr>
          <p:grpSpPr>
            <a:xfrm>
              <a:off x="6624881" y="2042524"/>
              <a:ext cx="352669" cy="392441"/>
              <a:chOff x="576263" y="2547930"/>
              <a:chExt cx="633412" cy="704843"/>
            </a:xfrm>
            <a:solidFill>
              <a:schemeClr val="accent4"/>
            </a:solidFill>
          </p:grpSpPr>
          <p:sp>
            <p:nvSpPr>
              <p:cNvPr id="48" name="Freeform 12"/>
              <p:cNvSpPr>
                <a:spLocks/>
              </p:cNvSpPr>
              <p:nvPr/>
            </p:nvSpPr>
            <p:spPr bwMode="auto">
              <a:xfrm>
                <a:off x="863601" y="2547930"/>
                <a:ext cx="57150" cy="119062"/>
              </a:xfrm>
              <a:custGeom>
                <a:avLst/>
                <a:gdLst>
                  <a:gd name="T0" fmla="*/ 5 w 228"/>
                  <a:gd name="T1" fmla="*/ 287 h 477"/>
                  <a:gd name="T2" fmla="*/ 5 w 228"/>
                  <a:gd name="T3" fmla="*/ 364 h 477"/>
                  <a:gd name="T4" fmla="*/ 115 w 228"/>
                  <a:gd name="T5" fmla="*/ 477 h 477"/>
                  <a:gd name="T6" fmla="*/ 116 w 228"/>
                  <a:gd name="T7" fmla="*/ 477 h 477"/>
                  <a:gd name="T8" fmla="*/ 223 w 228"/>
                  <a:gd name="T9" fmla="*/ 364 h 477"/>
                  <a:gd name="T10" fmla="*/ 223 w 228"/>
                  <a:gd name="T11" fmla="*/ 290 h 477"/>
                  <a:gd name="T12" fmla="*/ 224 w 228"/>
                  <a:gd name="T13" fmla="*/ 141 h 477"/>
                  <a:gd name="T14" fmla="*/ 148 w 228"/>
                  <a:gd name="T15" fmla="*/ 4 h 477"/>
                  <a:gd name="T16" fmla="*/ 138 w 228"/>
                  <a:gd name="T17" fmla="*/ 0 h 477"/>
                  <a:gd name="T18" fmla="*/ 90 w 228"/>
                  <a:gd name="T19" fmla="*/ 0 h 477"/>
                  <a:gd name="T20" fmla="*/ 81 w 228"/>
                  <a:gd name="T21" fmla="*/ 4 h 477"/>
                  <a:gd name="T22" fmla="*/ 4 w 228"/>
                  <a:gd name="T23" fmla="*/ 141 h 477"/>
                  <a:gd name="T24" fmla="*/ 5 w 228"/>
                  <a:gd name="T25" fmla="*/ 28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477">
                    <a:moveTo>
                      <a:pt x="5" y="287"/>
                    </a:moveTo>
                    <a:cubicBezTo>
                      <a:pt x="5" y="312"/>
                      <a:pt x="5" y="338"/>
                      <a:pt x="5" y="364"/>
                    </a:cubicBezTo>
                    <a:cubicBezTo>
                      <a:pt x="5" y="431"/>
                      <a:pt x="50" y="477"/>
                      <a:pt x="115" y="477"/>
                    </a:cubicBezTo>
                    <a:cubicBezTo>
                      <a:pt x="116" y="477"/>
                      <a:pt x="116" y="477"/>
                      <a:pt x="116" y="477"/>
                    </a:cubicBezTo>
                    <a:cubicBezTo>
                      <a:pt x="178" y="477"/>
                      <a:pt x="223" y="429"/>
                      <a:pt x="223" y="364"/>
                    </a:cubicBezTo>
                    <a:cubicBezTo>
                      <a:pt x="223" y="340"/>
                      <a:pt x="223" y="314"/>
                      <a:pt x="223" y="290"/>
                    </a:cubicBezTo>
                    <a:cubicBezTo>
                      <a:pt x="223" y="241"/>
                      <a:pt x="222" y="190"/>
                      <a:pt x="224" y="141"/>
                    </a:cubicBezTo>
                    <a:cubicBezTo>
                      <a:pt x="225" y="116"/>
                      <a:pt x="228" y="41"/>
                      <a:pt x="148" y="4"/>
                    </a:cubicBezTo>
                    <a:cubicBezTo>
                      <a:pt x="138" y="0"/>
                      <a:pt x="138" y="0"/>
                      <a:pt x="138" y="0"/>
                    </a:cubicBezTo>
                    <a:cubicBezTo>
                      <a:pt x="90" y="0"/>
                      <a:pt x="90" y="0"/>
                      <a:pt x="90" y="0"/>
                    </a:cubicBezTo>
                    <a:cubicBezTo>
                      <a:pt x="81" y="4"/>
                      <a:pt x="81" y="4"/>
                      <a:pt x="81" y="4"/>
                    </a:cubicBezTo>
                    <a:cubicBezTo>
                      <a:pt x="0" y="40"/>
                      <a:pt x="3" y="116"/>
                      <a:pt x="4" y="141"/>
                    </a:cubicBezTo>
                    <a:cubicBezTo>
                      <a:pt x="6" y="189"/>
                      <a:pt x="5" y="239"/>
                      <a:pt x="5" y="2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49" name="Freeform 13"/>
              <p:cNvSpPr>
                <a:spLocks/>
              </p:cNvSpPr>
              <p:nvPr/>
            </p:nvSpPr>
            <p:spPr bwMode="auto">
              <a:xfrm>
                <a:off x="576263" y="2836855"/>
                <a:ext cx="119062" cy="55563"/>
              </a:xfrm>
              <a:custGeom>
                <a:avLst/>
                <a:gdLst>
                  <a:gd name="T0" fmla="*/ 447 w 477"/>
                  <a:gd name="T1" fmla="*/ 187 h 221"/>
                  <a:gd name="T2" fmla="*/ 476 w 477"/>
                  <a:gd name="T3" fmla="*/ 109 h 221"/>
                  <a:gd name="T4" fmla="*/ 359 w 477"/>
                  <a:gd name="T5" fmla="*/ 1 h 221"/>
                  <a:gd name="T6" fmla="*/ 351 w 477"/>
                  <a:gd name="T7" fmla="*/ 1 h 221"/>
                  <a:gd name="T8" fmla="*/ 289 w 477"/>
                  <a:gd name="T9" fmla="*/ 1 h 221"/>
                  <a:gd name="T10" fmla="*/ 228 w 477"/>
                  <a:gd name="T11" fmla="*/ 1 h 221"/>
                  <a:gd name="T12" fmla="*/ 142 w 477"/>
                  <a:gd name="T13" fmla="*/ 0 h 221"/>
                  <a:gd name="T14" fmla="*/ 132 w 477"/>
                  <a:gd name="T15" fmla="*/ 0 h 221"/>
                  <a:gd name="T16" fmla="*/ 5 w 477"/>
                  <a:gd name="T17" fmla="*/ 74 h 221"/>
                  <a:gd name="T18" fmla="*/ 0 w 477"/>
                  <a:gd name="T19" fmla="*/ 85 h 221"/>
                  <a:gd name="T20" fmla="*/ 0 w 477"/>
                  <a:gd name="T21" fmla="*/ 132 h 221"/>
                  <a:gd name="T22" fmla="*/ 3 w 477"/>
                  <a:gd name="T23" fmla="*/ 141 h 221"/>
                  <a:gd name="T24" fmla="*/ 130 w 477"/>
                  <a:gd name="T25" fmla="*/ 221 h 221"/>
                  <a:gd name="T26" fmla="*/ 137 w 477"/>
                  <a:gd name="T27" fmla="*/ 221 h 221"/>
                  <a:gd name="T28" fmla="*/ 222 w 477"/>
                  <a:gd name="T29" fmla="*/ 220 h 221"/>
                  <a:gd name="T30" fmla="*/ 278 w 477"/>
                  <a:gd name="T31" fmla="*/ 220 h 221"/>
                  <a:gd name="T32" fmla="*/ 360 w 477"/>
                  <a:gd name="T33" fmla="*/ 220 h 221"/>
                  <a:gd name="T34" fmla="*/ 447 w 477"/>
                  <a:gd name="T35" fmla="*/ 18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7" h="221">
                    <a:moveTo>
                      <a:pt x="447" y="187"/>
                    </a:moveTo>
                    <a:cubicBezTo>
                      <a:pt x="467" y="167"/>
                      <a:pt x="477" y="140"/>
                      <a:pt x="476" y="109"/>
                    </a:cubicBezTo>
                    <a:cubicBezTo>
                      <a:pt x="475" y="44"/>
                      <a:pt x="428" y="1"/>
                      <a:pt x="359" y="1"/>
                    </a:cubicBezTo>
                    <a:cubicBezTo>
                      <a:pt x="351" y="1"/>
                      <a:pt x="351" y="1"/>
                      <a:pt x="351" y="1"/>
                    </a:cubicBezTo>
                    <a:cubicBezTo>
                      <a:pt x="331" y="1"/>
                      <a:pt x="310" y="1"/>
                      <a:pt x="289" y="1"/>
                    </a:cubicBezTo>
                    <a:cubicBezTo>
                      <a:pt x="269" y="1"/>
                      <a:pt x="248" y="1"/>
                      <a:pt x="228" y="1"/>
                    </a:cubicBezTo>
                    <a:cubicBezTo>
                      <a:pt x="194" y="1"/>
                      <a:pt x="167" y="1"/>
                      <a:pt x="142" y="0"/>
                    </a:cubicBezTo>
                    <a:cubicBezTo>
                      <a:pt x="139" y="0"/>
                      <a:pt x="135" y="0"/>
                      <a:pt x="132" y="0"/>
                    </a:cubicBezTo>
                    <a:cubicBezTo>
                      <a:pt x="72" y="0"/>
                      <a:pt x="29" y="25"/>
                      <a:pt x="5" y="74"/>
                    </a:cubicBezTo>
                    <a:cubicBezTo>
                      <a:pt x="0" y="85"/>
                      <a:pt x="0" y="85"/>
                      <a:pt x="0" y="85"/>
                    </a:cubicBezTo>
                    <a:cubicBezTo>
                      <a:pt x="0" y="132"/>
                      <a:pt x="0" y="132"/>
                      <a:pt x="0" y="132"/>
                    </a:cubicBezTo>
                    <a:cubicBezTo>
                      <a:pt x="3" y="141"/>
                      <a:pt x="3" y="141"/>
                      <a:pt x="3" y="141"/>
                    </a:cubicBezTo>
                    <a:cubicBezTo>
                      <a:pt x="25" y="194"/>
                      <a:pt x="68" y="221"/>
                      <a:pt x="130" y="221"/>
                    </a:cubicBezTo>
                    <a:cubicBezTo>
                      <a:pt x="132" y="221"/>
                      <a:pt x="135" y="221"/>
                      <a:pt x="137" y="221"/>
                    </a:cubicBezTo>
                    <a:cubicBezTo>
                      <a:pt x="162" y="220"/>
                      <a:pt x="189" y="220"/>
                      <a:pt x="222" y="220"/>
                    </a:cubicBezTo>
                    <a:cubicBezTo>
                      <a:pt x="241" y="220"/>
                      <a:pt x="260" y="220"/>
                      <a:pt x="278" y="220"/>
                    </a:cubicBezTo>
                    <a:cubicBezTo>
                      <a:pt x="306" y="220"/>
                      <a:pt x="333" y="220"/>
                      <a:pt x="360" y="220"/>
                    </a:cubicBezTo>
                    <a:cubicBezTo>
                      <a:pt x="396" y="220"/>
                      <a:pt x="426" y="208"/>
                      <a:pt x="447" y="1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50" name="Freeform 14"/>
              <p:cNvSpPr>
                <a:spLocks/>
              </p:cNvSpPr>
              <p:nvPr/>
            </p:nvSpPr>
            <p:spPr bwMode="auto">
              <a:xfrm>
                <a:off x="1089025" y="2836855"/>
                <a:ext cx="120650" cy="55563"/>
              </a:xfrm>
              <a:custGeom>
                <a:avLst/>
                <a:gdLst>
                  <a:gd name="T0" fmla="*/ 473 w 477"/>
                  <a:gd name="T1" fmla="*/ 81 h 221"/>
                  <a:gd name="T2" fmla="*/ 365 w 477"/>
                  <a:gd name="T3" fmla="*/ 1 h 221"/>
                  <a:gd name="T4" fmla="*/ 306 w 477"/>
                  <a:gd name="T5" fmla="*/ 0 h 221"/>
                  <a:gd name="T6" fmla="*/ 225 w 477"/>
                  <a:gd name="T7" fmla="*/ 0 h 221"/>
                  <a:gd name="T8" fmla="*/ 109 w 477"/>
                  <a:gd name="T9" fmla="*/ 1 h 221"/>
                  <a:gd name="T10" fmla="*/ 31 w 477"/>
                  <a:gd name="T11" fmla="*/ 33 h 221"/>
                  <a:gd name="T12" fmla="*/ 1 w 477"/>
                  <a:gd name="T13" fmla="*/ 115 h 221"/>
                  <a:gd name="T14" fmla="*/ 114 w 477"/>
                  <a:gd name="T15" fmla="*/ 220 h 221"/>
                  <a:gd name="T16" fmla="*/ 204 w 477"/>
                  <a:gd name="T17" fmla="*/ 220 h 221"/>
                  <a:gd name="T18" fmla="*/ 253 w 477"/>
                  <a:gd name="T19" fmla="*/ 220 h 221"/>
                  <a:gd name="T20" fmla="*/ 337 w 477"/>
                  <a:gd name="T21" fmla="*/ 221 h 221"/>
                  <a:gd name="T22" fmla="*/ 346 w 477"/>
                  <a:gd name="T23" fmla="*/ 221 h 221"/>
                  <a:gd name="T24" fmla="*/ 474 w 477"/>
                  <a:gd name="T25" fmla="*/ 141 h 221"/>
                  <a:gd name="T26" fmla="*/ 477 w 477"/>
                  <a:gd name="T27" fmla="*/ 132 h 221"/>
                  <a:gd name="T28" fmla="*/ 477 w 477"/>
                  <a:gd name="T29" fmla="*/ 91 h 221"/>
                  <a:gd name="T30" fmla="*/ 473 w 477"/>
                  <a:gd name="T31" fmla="*/ 8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77" h="221">
                    <a:moveTo>
                      <a:pt x="473" y="81"/>
                    </a:moveTo>
                    <a:cubicBezTo>
                      <a:pt x="463" y="59"/>
                      <a:pt x="436" y="1"/>
                      <a:pt x="365" y="1"/>
                    </a:cubicBezTo>
                    <a:cubicBezTo>
                      <a:pt x="346" y="0"/>
                      <a:pt x="326" y="0"/>
                      <a:pt x="306" y="0"/>
                    </a:cubicBezTo>
                    <a:cubicBezTo>
                      <a:pt x="279" y="0"/>
                      <a:pt x="252" y="0"/>
                      <a:pt x="225" y="0"/>
                    </a:cubicBezTo>
                    <a:cubicBezTo>
                      <a:pt x="180" y="0"/>
                      <a:pt x="143" y="0"/>
                      <a:pt x="109" y="1"/>
                    </a:cubicBezTo>
                    <a:cubicBezTo>
                      <a:pt x="78" y="1"/>
                      <a:pt x="51" y="13"/>
                      <a:pt x="31" y="33"/>
                    </a:cubicBezTo>
                    <a:cubicBezTo>
                      <a:pt x="10" y="54"/>
                      <a:pt x="0" y="83"/>
                      <a:pt x="1" y="115"/>
                    </a:cubicBezTo>
                    <a:cubicBezTo>
                      <a:pt x="3" y="177"/>
                      <a:pt x="48" y="219"/>
                      <a:pt x="114" y="220"/>
                    </a:cubicBezTo>
                    <a:cubicBezTo>
                      <a:pt x="144" y="220"/>
                      <a:pt x="174" y="220"/>
                      <a:pt x="204" y="220"/>
                    </a:cubicBezTo>
                    <a:cubicBezTo>
                      <a:pt x="220" y="220"/>
                      <a:pt x="237" y="220"/>
                      <a:pt x="253" y="220"/>
                    </a:cubicBezTo>
                    <a:cubicBezTo>
                      <a:pt x="287" y="220"/>
                      <a:pt x="313" y="220"/>
                      <a:pt x="337" y="221"/>
                    </a:cubicBezTo>
                    <a:cubicBezTo>
                      <a:pt x="340" y="221"/>
                      <a:pt x="343" y="221"/>
                      <a:pt x="346" y="221"/>
                    </a:cubicBezTo>
                    <a:cubicBezTo>
                      <a:pt x="408" y="221"/>
                      <a:pt x="451" y="194"/>
                      <a:pt x="474" y="141"/>
                    </a:cubicBezTo>
                    <a:cubicBezTo>
                      <a:pt x="477" y="132"/>
                      <a:pt x="477" y="132"/>
                      <a:pt x="477" y="132"/>
                    </a:cubicBezTo>
                    <a:cubicBezTo>
                      <a:pt x="477" y="91"/>
                      <a:pt x="477" y="91"/>
                      <a:pt x="477" y="91"/>
                    </a:cubicBezTo>
                    <a:lnTo>
                      <a:pt x="473"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51" name="Freeform 15"/>
              <p:cNvSpPr>
                <a:spLocks/>
              </p:cNvSpPr>
              <p:nvPr/>
            </p:nvSpPr>
            <p:spPr bwMode="auto">
              <a:xfrm>
                <a:off x="1020763" y="2995604"/>
                <a:ext cx="106362" cy="101601"/>
              </a:xfrm>
              <a:custGeom>
                <a:avLst/>
                <a:gdLst>
                  <a:gd name="T0" fmla="*/ 200 w 422"/>
                  <a:gd name="T1" fmla="*/ 34 h 407"/>
                  <a:gd name="T2" fmla="*/ 121 w 422"/>
                  <a:gd name="T3" fmla="*/ 0 h 407"/>
                  <a:gd name="T4" fmla="*/ 44 w 422"/>
                  <a:gd name="T5" fmla="*/ 34 h 407"/>
                  <a:gd name="T6" fmla="*/ 46 w 422"/>
                  <a:gd name="T7" fmla="*/ 190 h 407"/>
                  <a:gd name="T8" fmla="*/ 224 w 422"/>
                  <a:gd name="T9" fmla="*/ 369 h 407"/>
                  <a:gd name="T10" fmla="*/ 267 w 422"/>
                  <a:gd name="T11" fmla="*/ 395 h 407"/>
                  <a:gd name="T12" fmla="*/ 278 w 422"/>
                  <a:gd name="T13" fmla="*/ 400 h 407"/>
                  <a:gd name="T14" fmla="*/ 293 w 422"/>
                  <a:gd name="T15" fmla="*/ 407 h 407"/>
                  <a:gd name="T16" fmla="*/ 309 w 422"/>
                  <a:gd name="T17" fmla="*/ 405 h 407"/>
                  <a:gd name="T18" fmla="*/ 402 w 422"/>
                  <a:gd name="T19" fmla="*/ 337 h 407"/>
                  <a:gd name="T20" fmla="*/ 382 w 422"/>
                  <a:gd name="T21" fmla="*/ 216 h 407"/>
                  <a:gd name="T22" fmla="*/ 200 w 422"/>
                  <a:gd name="T23" fmla="*/ 34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2" h="407">
                    <a:moveTo>
                      <a:pt x="200" y="34"/>
                    </a:moveTo>
                    <a:cubicBezTo>
                      <a:pt x="178" y="12"/>
                      <a:pt x="150" y="0"/>
                      <a:pt x="121" y="0"/>
                    </a:cubicBezTo>
                    <a:cubicBezTo>
                      <a:pt x="93" y="0"/>
                      <a:pt x="65" y="12"/>
                      <a:pt x="44" y="34"/>
                    </a:cubicBezTo>
                    <a:cubicBezTo>
                      <a:pt x="0" y="78"/>
                      <a:pt x="1" y="145"/>
                      <a:pt x="46" y="190"/>
                    </a:cubicBezTo>
                    <a:cubicBezTo>
                      <a:pt x="117" y="263"/>
                      <a:pt x="172" y="318"/>
                      <a:pt x="224" y="369"/>
                    </a:cubicBezTo>
                    <a:cubicBezTo>
                      <a:pt x="238" y="382"/>
                      <a:pt x="254" y="389"/>
                      <a:pt x="267" y="395"/>
                    </a:cubicBezTo>
                    <a:cubicBezTo>
                      <a:pt x="271" y="397"/>
                      <a:pt x="275" y="398"/>
                      <a:pt x="278" y="400"/>
                    </a:cubicBezTo>
                    <a:cubicBezTo>
                      <a:pt x="293" y="407"/>
                      <a:pt x="293" y="407"/>
                      <a:pt x="293" y="407"/>
                    </a:cubicBezTo>
                    <a:cubicBezTo>
                      <a:pt x="309" y="405"/>
                      <a:pt x="309" y="405"/>
                      <a:pt x="309" y="405"/>
                    </a:cubicBezTo>
                    <a:cubicBezTo>
                      <a:pt x="353" y="398"/>
                      <a:pt x="385" y="375"/>
                      <a:pt x="402" y="337"/>
                    </a:cubicBezTo>
                    <a:cubicBezTo>
                      <a:pt x="422" y="294"/>
                      <a:pt x="415" y="249"/>
                      <a:pt x="382" y="216"/>
                    </a:cubicBezTo>
                    <a:cubicBezTo>
                      <a:pt x="318" y="151"/>
                      <a:pt x="258" y="91"/>
                      <a:pt x="200"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52" name="Freeform 16"/>
              <p:cNvSpPr>
                <a:spLocks/>
              </p:cNvSpPr>
              <p:nvPr/>
            </p:nvSpPr>
            <p:spPr bwMode="auto">
              <a:xfrm>
                <a:off x="658814" y="2995604"/>
                <a:ext cx="106362" cy="103188"/>
              </a:xfrm>
              <a:custGeom>
                <a:avLst/>
                <a:gdLst>
                  <a:gd name="T0" fmla="*/ 301 w 422"/>
                  <a:gd name="T1" fmla="*/ 0 h 408"/>
                  <a:gd name="T2" fmla="*/ 218 w 422"/>
                  <a:gd name="T3" fmla="*/ 37 h 408"/>
                  <a:gd name="T4" fmla="*/ 149 w 422"/>
                  <a:gd name="T5" fmla="*/ 106 h 408"/>
                  <a:gd name="T6" fmla="*/ 121 w 422"/>
                  <a:gd name="T7" fmla="*/ 134 h 408"/>
                  <a:gd name="T8" fmla="*/ 98 w 422"/>
                  <a:gd name="T9" fmla="*/ 157 h 408"/>
                  <a:gd name="T10" fmla="*/ 40 w 422"/>
                  <a:gd name="T11" fmla="*/ 216 h 408"/>
                  <a:gd name="T12" fmla="*/ 19 w 422"/>
                  <a:gd name="T13" fmla="*/ 337 h 408"/>
                  <a:gd name="T14" fmla="*/ 113 w 422"/>
                  <a:gd name="T15" fmla="*/ 405 h 408"/>
                  <a:gd name="T16" fmla="*/ 130 w 422"/>
                  <a:gd name="T17" fmla="*/ 408 h 408"/>
                  <a:gd name="T18" fmla="*/ 145 w 422"/>
                  <a:gd name="T19" fmla="*/ 400 h 408"/>
                  <a:gd name="T20" fmla="*/ 157 w 422"/>
                  <a:gd name="T21" fmla="*/ 393 h 408"/>
                  <a:gd name="T22" fmla="*/ 201 w 422"/>
                  <a:gd name="T23" fmla="*/ 365 h 408"/>
                  <a:gd name="T24" fmla="*/ 374 w 422"/>
                  <a:gd name="T25" fmla="*/ 193 h 408"/>
                  <a:gd name="T26" fmla="*/ 379 w 422"/>
                  <a:gd name="T27" fmla="*/ 35 h 408"/>
                  <a:gd name="T28" fmla="*/ 301 w 422"/>
                  <a:gd name="T29" fmla="*/ 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2" h="408">
                    <a:moveTo>
                      <a:pt x="301" y="0"/>
                    </a:moveTo>
                    <a:cubicBezTo>
                      <a:pt x="271" y="0"/>
                      <a:pt x="243" y="13"/>
                      <a:pt x="218" y="37"/>
                    </a:cubicBezTo>
                    <a:cubicBezTo>
                      <a:pt x="195" y="60"/>
                      <a:pt x="171" y="84"/>
                      <a:pt x="149" y="106"/>
                    </a:cubicBezTo>
                    <a:cubicBezTo>
                      <a:pt x="140" y="116"/>
                      <a:pt x="131" y="125"/>
                      <a:pt x="121" y="134"/>
                    </a:cubicBezTo>
                    <a:cubicBezTo>
                      <a:pt x="114" y="142"/>
                      <a:pt x="106" y="149"/>
                      <a:pt x="98" y="157"/>
                    </a:cubicBezTo>
                    <a:cubicBezTo>
                      <a:pt x="79" y="176"/>
                      <a:pt x="59" y="196"/>
                      <a:pt x="40" y="216"/>
                    </a:cubicBezTo>
                    <a:cubicBezTo>
                      <a:pt x="7" y="250"/>
                      <a:pt x="0" y="294"/>
                      <a:pt x="19" y="337"/>
                    </a:cubicBezTo>
                    <a:cubicBezTo>
                      <a:pt x="37" y="375"/>
                      <a:pt x="68" y="398"/>
                      <a:pt x="113" y="405"/>
                    </a:cubicBezTo>
                    <a:cubicBezTo>
                      <a:pt x="130" y="408"/>
                      <a:pt x="130" y="408"/>
                      <a:pt x="130" y="408"/>
                    </a:cubicBezTo>
                    <a:cubicBezTo>
                      <a:pt x="145" y="400"/>
                      <a:pt x="145" y="400"/>
                      <a:pt x="145" y="400"/>
                    </a:cubicBezTo>
                    <a:cubicBezTo>
                      <a:pt x="148" y="398"/>
                      <a:pt x="152" y="396"/>
                      <a:pt x="157" y="393"/>
                    </a:cubicBezTo>
                    <a:cubicBezTo>
                      <a:pt x="170" y="387"/>
                      <a:pt x="187" y="379"/>
                      <a:pt x="201" y="365"/>
                    </a:cubicBezTo>
                    <a:cubicBezTo>
                      <a:pt x="261" y="308"/>
                      <a:pt x="321" y="247"/>
                      <a:pt x="374" y="193"/>
                    </a:cubicBezTo>
                    <a:cubicBezTo>
                      <a:pt x="420" y="146"/>
                      <a:pt x="422" y="79"/>
                      <a:pt x="379" y="35"/>
                    </a:cubicBezTo>
                    <a:cubicBezTo>
                      <a:pt x="357" y="13"/>
                      <a:pt x="330" y="0"/>
                      <a:pt x="3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53" name="Freeform 17"/>
              <p:cNvSpPr>
                <a:spLocks/>
              </p:cNvSpPr>
              <p:nvPr/>
            </p:nvSpPr>
            <p:spPr bwMode="auto">
              <a:xfrm>
                <a:off x="657224" y="2632068"/>
                <a:ext cx="104774" cy="101601"/>
              </a:xfrm>
              <a:custGeom>
                <a:avLst/>
                <a:gdLst>
                  <a:gd name="T0" fmla="*/ 229 w 413"/>
                  <a:gd name="T1" fmla="*/ 373 h 402"/>
                  <a:gd name="T2" fmla="*/ 300 w 413"/>
                  <a:gd name="T3" fmla="*/ 402 h 402"/>
                  <a:gd name="T4" fmla="*/ 347 w 413"/>
                  <a:gd name="T5" fmla="*/ 392 h 402"/>
                  <a:gd name="T6" fmla="*/ 413 w 413"/>
                  <a:gd name="T7" fmla="*/ 285 h 402"/>
                  <a:gd name="T8" fmla="*/ 413 w 413"/>
                  <a:gd name="T9" fmla="*/ 274 h 402"/>
                  <a:gd name="T10" fmla="*/ 409 w 413"/>
                  <a:gd name="T11" fmla="*/ 265 h 402"/>
                  <a:gd name="T12" fmla="*/ 408 w 413"/>
                  <a:gd name="T13" fmla="*/ 263 h 402"/>
                  <a:gd name="T14" fmla="*/ 384 w 413"/>
                  <a:gd name="T15" fmla="*/ 218 h 402"/>
                  <a:gd name="T16" fmla="*/ 195 w 413"/>
                  <a:gd name="T17" fmla="*/ 30 h 402"/>
                  <a:gd name="T18" fmla="*/ 123 w 413"/>
                  <a:gd name="T19" fmla="*/ 0 h 402"/>
                  <a:gd name="T20" fmla="*/ 46 w 413"/>
                  <a:gd name="T21" fmla="*/ 32 h 402"/>
                  <a:gd name="T22" fmla="*/ 42 w 413"/>
                  <a:gd name="T23" fmla="*/ 185 h 402"/>
                  <a:gd name="T24" fmla="*/ 229 w 413"/>
                  <a:gd name="T25" fmla="*/ 373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3" h="402">
                    <a:moveTo>
                      <a:pt x="229" y="373"/>
                    </a:moveTo>
                    <a:cubicBezTo>
                      <a:pt x="248" y="392"/>
                      <a:pt x="273" y="402"/>
                      <a:pt x="300" y="402"/>
                    </a:cubicBezTo>
                    <a:cubicBezTo>
                      <a:pt x="315" y="402"/>
                      <a:pt x="331" y="399"/>
                      <a:pt x="347" y="392"/>
                    </a:cubicBezTo>
                    <a:cubicBezTo>
                      <a:pt x="376" y="380"/>
                      <a:pt x="411" y="352"/>
                      <a:pt x="413" y="285"/>
                    </a:cubicBezTo>
                    <a:cubicBezTo>
                      <a:pt x="413" y="274"/>
                      <a:pt x="413" y="274"/>
                      <a:pt x="413" y="274"/>
                    </a:cubicBezTo>
                    <a:cubicBezTo>
                      <a:pt x="409" y="265"/>
                      <a:pt x="409" y="265"/>
                      <a:pt x="409" y="265"/>
                    </a:cubicBezTo>
                    <a:cubicBezTo>
                      <a:pt x="409" y="264"/>
                      <a:pt x="408" y="264"/>
                      <a:pt x="408" y="263"/>
                    </a:cubicBezTo>
                    <a:cubicBezTo>
                      <a:pt x="405" y="252"/>
                      <a:pt x="399" y="233"/>
                      <a:pt x="384" y="218"/>
                    </a:cubicBezTo>
                    <a:cubicBezTo>
                      <a:pt x="316" y="148"/>
                      <a:pt x="254" y="87"/>
                      <a:pt x="195" y="30"/>
                    </a:cubicBezTo>
                    <a:cubicBezTo>
                      <a:pt x="176" y="11"/>
                      <a:pt x="150" y="0"/>
                      <a:pt x="123" y="0"/>
                    </a:cubicBezTo>
                    <a:cubicBezTo>
                      <a:pt x="95" y="0"/>
                      <a:pt x="67" y="12"/>
                      <a:pt x="46" y="32"/>
                    </a:cubicBezTo>
                    <a:cubicBezTo>
                      <a:pt x="2" y="75"/>
                      <a:pt x="0" y="142"/>
                      <a:pt x="42" y="185"/>
                    </a:cubicBezTo>
                    <a:cubicBezTo>
                      <a:pt x="109" y="255"/>
                      <a:pt x="177" y="322"/>
                      <a:pt x="229" y="3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54" name="Freeform 18"/>
              <p:cNvSpPr>
                <a:spLocks/>
              </p:cNvSpPr>
              <p:nvPr/>
            </p:nvSpPr>
            <p:spPr bwMode="auto">
              <a:xfrm>
                <a:off x="1020761" y="2632066"/>
                <a:ext cx="106362" cy="101601"/>
              </a:xfrm>
              <a:custGeom>
                <a:avLst/>
                <a:gdLst>
                  <a:gd name="T0" fmla="*/ 117 w 421"/>
                  <a:gd name="T1" fmla="*/ 404 h 405"/>
                  <a:gd name="T2" fmla="*/ 130 w 421"/>
                  <a:gd name="T3" fmla="*/ 405 h 405"/>
                  <a:gd name="T4" fmla="*/ 141 w 421"/>
                  <a:gd name="T5" fmla="*/ 400 h 405"/>
                  <a:gd name="T6" fmla="*/ 150 w 421"/>
                  <a:gd name="T7" fmla="*/ 397 h 405"/>
                  <a:gd name="T8" fmla="*/ 192 w 421"/>
                  <a:gd name="T9" fmla="*/ 373 h 405"/>
                  <a:gd name="T10" fmla="*/ 380 w 421"/>
                  <a:gd name="T11" fmla="*/ 185 h 405"/>
                  <a:gd name="T12" fmla="*/ 379 w 421"/>
                  <a:gd name="T13" fmla="*/ 36 h 405"/>
                  <a:gd name="T14" fmla="*/ 299 w 421"/>
                  <a:gd name="T15" fmla="*/ 0 h 405"/>
                  <a:gd name="T16" fmla="*/ 226 w 421"/>
                  <a:gd name="T17" fmla="*/ 30 h 405"/>
                  <a:gd name="T18" fmla="*/ 37 w 421"/>
                  <a:gd name="T19" fmla="*/ 220 h 405"/>
                  <a:gd name="T20" fmla="*/ 20 w 421"/>
                  <a:gd name="T21" fmla="*/ 340 h 405"/>
                  <a:gd name="T22" fmla="*/ 117 w 421"/>
                  <a:gd name="T23" fmla="*/ 404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1" h="405">
                    <a:moveTo>
                      <a:pt x="117" y="404"/>
                    </a:moveTo>
                    <a:cubicBezTo>
                      <a:pt x="130" y="405"/>
                      <a:pt x="130" y="405"/>
                      <a:pt x="130" y="405"/>
                    </a:cubicBezTo>
                    <a:cubicBezTo>
                      <a:pt x="141" y="400"/>
                      <a:pt x="141" y="400"/>
                      <a:pt x="141" y="400"/>
                    </a:cubicBezTo>
                    <a:cubicBezTo>
                      <a:pt x="143" y="399"/>
                      <a:pt x="147" y="398"/>
                      <a:pt x="150" y="397"/>
                    </a:cubicBezTo>
                    <a:cubicBezTo>
                      <a:pt x="162" y="392"/>
                      <a:pt x="178" y="387"/>
                      <a:pt x="192" y="373"/>
                    </a:cubicBezTo>
                    <a:cubicBezTo>
                      <a:pt x="262" y="305"/>
                      <a:pt x="323" y="244"/>
                      <a:pt x="380" y="185"/>
                    </a:cubicBezTo>
                    <a:cubicBezTo>
                      <a:pt x="421" y="143"/>
                      <a:pt x="420" y="79"/>
                      <a:pt x="379" y="36"/>
                    </a:cubicBezTo>
                    <a:cubicBezTo>
                      <a:pt x="358" y="13"/>
                      <a:pt x="328" y="0"/>
                      <a:pt x="299" y="0"/>
                    </a:cubicBezTo>
                    <a:cubicBezTo>
                      <a:pt x="272" y="0"/>
                      <a:pt x="246" y="11"/>
                      <a:pt x="226" y="30"/>
                    </a:cubicBezTo>
                    <a:cubicBezTo>
                      <a:pt x="168" y="86"/>
                      <a:pt x="106" y="148"/>
                      <a:pt x="37" y="220"/>
                    </a:cubicBezTo>
                    <a:cubicBezTo>
                      <a:pt x="6" y="252"/>
                      <a:pt x="0" y="296"/>
                      <a:pt x="20" y="340"/>
                    </a:cubicBezTo>
                    <a:cubicBezTo>
                      <a:pt x="39" y="378"/>
                      <a:pt x="73" y="401"/>
                      <a:pt x="117" y="4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55" name="Freeform 19"/>
              <p:cNvSpPr>
                <a:spLocks noEditPoints="1"/>
              </p:cNvSpPr>
              <p:nvPr/>
            </p:nvSpPr>
            <p:spPr bwMode="auto">
              <a:xfrm>
                <a:off x="719136" y="2693978"/>
                <a:ext cx="346074" cy="374648"/>
              </a:xfrm>
              <a:custGeom>
                <a:avLst/>
                <a:gdLst>
                  <a:gd name="T0" fmla="*/ 334 w 1376"/>
                  <a:gd name="T1" fmla="*/ 1494 h 1494"/>
                  <a:gd name="T2" fmla="*/ 360 w 1376"/>
                  <a:gd name="T3" fmla="*/ 1494 h 1494"/>
                  <a:gd name="T4" fmla="*/ 563 w 1376"/>
                  <a:gd name="T5" fmla="*/ 1494 h 1494"/>
                  <a:gd name="T6" fmla="*/ 1044 w 1376"/>
                  <a:gd name="T7" fmla="*/ 1494 h 1494"/>
                  <a:gd name="T8" fmla="*/ 1131 w 1376"/>
                  <a:gd name="T9" fmla="*/ 1260 h 1494"/>
                  <a:gd name="T10" fmla="*/ 1267 w 1376"/>
                  <a:gd name="T11" fmla="*/ 1040 h 1494"/>
                  <a:gd name="T12" fmla="*/ 1365 w 1376"/>
                  <a:gd name="T13" fmla="*/ 813 h 1494"/>
                  <a:gd name="T14" fmla="*/ 1376 w 1376"/>
                  <a:gd name="T15" fmla="*/ 750 h 1494"/>
                  <a:gd name="T16" fmla="*/ 1376 w 1376"/>
                  <a:gd name="T17" fmla="*/ 648 h 1494"/>
                  <a:gd name="T18" fmla="*/ 1372 w 1376"/>
                  <a:gd name="T19" fmla="*/ 633 h 1494"/>
                  <a:gd name="T20" fmla="*/ 1188 w 1376"/>
                  <a:gd name="T21" fmla="*/ 242 h 1494"/>
                  <a:gd name="T22" fmla="*/ 564 w 1376"/>
                  <a:gd name="T23" fmla="*/ 44 h 1494"/>
                  <a:gd name="T24" fmla="*/ 28 w 1376"/>
                  <a:gd name="T25" fmla="*/ 514 h 1494"/>
                  <a:gd name="T26" fmla="*/ 0 w 1376"/>
                  <a:gd name="T27" fmla="*/ 653 h 1494"/>
                  <a:gd name="T28" fmla="*/ 0 w 1376"/>
                  <a:gd name="T29" fmla="*/ 750 h 1494"/>
                  <a:gd name="T30" fmla="*/ 4 w 1376"/>
                  <a:gd name="T31" fmla="*/ 763 h 1494"/>
                  <a:gd name="T32" fmla="*/ 55 w 1376"/>
                  <a:gd name="T33" fmla="*/ 939 h 1494"/>
                  <a:gd name="T34" fmla="*/ 196 w 1376"/>
                  <a:gd name="T35" fmla="*/ 1174 h 1494"/>
                  <a:gd name="T36" fmla="*/ 316 w 1376"/>
                  <a:gd name="T37" fmla="*/ 1424 h 1494"/>
                  <a:gd name="T38" fmla="*/ 334 w 1376"/>
                  <a:gd name="T39" fmla="*/ 1494 h 1494"/>
                  <a:gd name="T40" fmla="*/ 288 w 1376"/>
                  <a:gd name="T41" fmla="*/ 676 h 1494"/>
                  <a:gd name="T42" fmla="*/ 216 w 1376"/>
                  <a:gd name="T43" fmla="*/ 583 h 1494"/>
                  <a:gd name="T44" fmla="*/ 220 w 1376"/>
                  <a:gd name="T45" fmla="*/ 560 h 1494"/>
                  <a:gd name="T46" fmla="*/ 381 w 1376"/>
                  <a:gd name="T47" fmla="*/ 327 h 1494"/>
                  <a:gd name="T48" fmla="*/ 547 w 1376"/>
                  <a:gd name="T49" fmla="*/ 248 h 1494"/>
                  <a:gd name="T50" fmla="*/ 642 w 1376"/>
                  <a:gd name="T51" fmla="*/ 314 h 1494"/>
                  <a:gd name="T52" fmla="*/ 582 w 1376"/>
                  <a:gd name="T53" fmla="*/ 417 h 1494"/>
                  <a:gd name="T54" fmla="*/ 383 w 1376"/>
                  <a:gd name="T55" fmla="*/ 614 h 1494"/>
                  <a:gd name="T56" fmla="*/ 288 w 1376"/>
                  <a:gd name="T57" fmla="*/ 676 h 1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76" h="1494">
                    <a:moveTo>
                      <a:pt x="334" y="1494"/>
                    </a:moveTo>
                    <a:cubicBezTo>
                      <a:pt x="343" y="1494"/>
                      <a:pt x="352" y="1494"/>
                      <a:pt x="360" y="1494"/>
                    </a:cubicBezTo>
                    <a:cubicBezTo>
                      <a:pt x="428" y="1494"/>
                      <a:pt x="496" y="1494"/>
                      <a:pt x="563" y="1494"/>
                    </a:cubicBezTo>
                    <a:cubicBezTo>
                      <a:pt x="1044" y="1494"/>
                      <a:pt x="1044" y="1494"/>
                      <a:pt x="1044" y="1494"/>
                    </a:cubicBezTo>
                    <a:cubicBezTo>
                      <a:pt x="1058" y="1412"/>
                      <a:pt x="1087" y="1334"/>
                      <a:pt x="1131" y="1260"/>
                    </a:cubicBezTo>
                    <a:cubicBezTo>
                      <a:pt x="1174" y="1185"/>
                      <a:pt x="1222" y="1114"/>
                      <a:pt x="1267" y="1040"/>
                    </a:cubicBezTo>
                    <a:cubicBezTo>
                      <a:pt x="1311" y="970"/>
                      <a:pt x="1348" y="895"/>
                      <a:pt x="1365" y="813"/>
                    </a:cubicBezTo>
                    <a:cubicBezTo>
                      <a:pt x="1369" y="792"/>
                      <a:pt x="1373" y="771"/>
                      <a:pt x="1376" y="750"/>
                    </a:cubicBezTo>
                    <a:cubicBezTo>
                      <a:pt x="1376" y="716"/>
                      <a:pt x="1376" y="682"/>
                      <a:pt x="1376" y="648"/>
                    </a:cubicBezTo>
                    <a:cubicBezTo>
                      <a:pt x="1375" y="643"/>
                      <a:pt x="1373" y="638"/>
                      <a:pt x="1372" y="633"/>
                    </a:cubicBezTo>
                    <a:cubicBezTo>
                      <a:pt x="1356" y="481"/>
                      <a:pt x="1295" y="350"/>
                      <a:pt x="1188" y="242"/>
                    </a:cubicBezTo>
                    <a:cubicBezTo>
                      <a:pt x="1015" y="69"/>
                      <a:pt x="804" y="0"/>
                      <a:pt x="564" y="44"/>
                    </a:cubicBezTo>
                    <a:cubicBezTo>
                      <a:pt x="296" y="94"/>
                      <a:pt x="115" y="253"/>
                      <a:pt x="28" y="514"/>
                    </a:cubicBezTo>
                    <a:cubicBezTo>
                      <a:pt x="14" y="558"/>
                      <a:pt x="9" y="606"/>
                      <a:pt x="0" y="653"/>
                    </a:cubicBezTo>
                    <a:cubicBezTo>
                      <a:pt x="0" y="685"/>
                      <a:pt x="0" y="717"/>
                      <a:pt x="0" y="750"/>
                    </a:cubicBezTo>
                    <a:cubicBezTo>
                      <a:pt x="1" y="754"/>
                      <a:pt x="3" y="758"/>
                      <a:pt x="4" y="763"/>
                    </a:cubicBezTo>
                    <a:cubicBezTo>
                      <a:pt x="10" y="825"/>
                      <a:pt x="25" y="885"/>
                      <a:pt x="55" y="939"/>
                    </a:cubicBezTo>
                    <a:cubicBezTo>
                      <a:pt x="99" y="1018"/>
                      <a:pt x="148" y="1096"/>
                      <a:pt x="196" y="1174"/>
                    </a:cubicBezTo>
                    <a:cubicBezTo>
                      <a:pt x="245" y="1253"/>
                      <a:pt x="291" y="1334"/>
                      <a:pt x="316" y="1424"/>
                    </a:cubicBezTo>
                    <a:cubicBezTo>
                      <a:pt x="323" y="1447"/>
                      <a:pt x="328" y="1470"/>
                      <a:pt x="334" y="1494"/>
                    </a:cubicBezTo>
                    <a:close/>
                    <a:moveTo>
                      <a:pt x="288" y="676"/>
                    </a:moveTo>
                    <a:cubicBezTo>
                      <a:pt x="246" y="669"/>
                      <a:pt x="216" y="633"/>
                      <a:pt x="216" y="583"/>
                    </a:cubicBezTo>
                    <a:cubicBezTo>
                      <a:pt x="217" y="580"/>
                      <a:pt x="217" y="570"/>
                      <a:pt x="220" y="560"/>
                    </a:cubicBezTo>
                    <a:cubicBezTo>
                      <a:pt x="245" y="463"/>
                      <a:pt x="306" y="389"/>
                      <a:pt x="381" y="327"/>
                    </a:cubicBezTo>
                    <a:cubicBezTo>
                      <a:pt x="430" y="287"/>
                      <a:pt x="483" y="255"/>
                      <a:pt x="547" y="248"/>
                    </a:cubicBezTo>
                    <a:cubicBezTo>
                      <a:pt x="591" y="243"/>
                      <a:pt x="633" y="272"/>
                      <a:pt x="642" y="314"/>
                    </a:cubicBezTo>
                    <a:cubicBezTo>
                      <a:pt x="652" y="361"/>
                      <a:pt x="627" y="405"/>
                      <a:pt x="582" y="417"/>
                    </a:cubicBezTo>
                    <a:cubicBezTo>
                      <a:pt x="477" y="443"/>
                      <a:pt x="412" y="510"/>
                      <a:pt x="383" y="614"/>
                    </a:cubicBezTo>
                    <a:cubicBezTo>
                      <a:pt x="371" y="656"/>
                      <a:pt x="331" y="682"/>
                      <a:pt x="288" y="6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56" name="Freeform 20"/>
              <p:cNvSpPr>
                <a:spLocks/>
              </p:cNvSpPr>
              <p:nvPr/>
            </p:nvSpPr>
            <p:spPr bwMode="auto">
              <a:xfrm>
                <a:off x="776286" y="3159111"/>
                <a:ext cx="233363" cy="93662"/>
              </a:xfrm>
              <a:custGeom>
                <a:avLst/>
                <a:gdLst>
                  <a:gd name="T0" fmla="*/ 827 w 927"/>
                  <a:gd name="T1" fmla="*/ 1 h 372"/>
                  <a:gd name="T2" fmla="*/ 102 w 927"/>
                  <a:gd name="T3" fmla="*/ 1 h 372"/>
                  <a:gd name="T4" fmla="*/ 0 w 927"/>
                  <a:gd name="T5" fmla="*/ 91 h 372"/>
                  <a:gd name="T6" fmla="*/ 100 w 927"/>
                  <a:gd name="T7" fmla="*/ 182 h 372"/>
                  <a:gd name="T8" fmla="*/ 212 w 927"/>
                  <a:gd name="T9" fmla="*/ 243 h 372"/>
                  <a:gd name="T10" fmla="*/ 373 w 927"/>
                  <a:gd name="T11" fmla="*/ 372 h 372"/>
                  <a:gd name="T12" fmla="*/ 553 w 927"/>
                  <a:gd name="T13" fmla="*/ 372 h 372"/>
                  <a:gd name="T14" fmla="*/ 714 w 927"/>
                  <a:gd name="T15" fmla="*/ 243 h 372"/>
                  <a:gd name="T16" fmla="*/ 830 w 927"/>
                  <a:gd name="T17" fmla="*/ 182 h 372"/>
                  <a:gd name="T18" fmla="*/ 926 w 927"/>
                  <a:gd name="T19" fmla="*/ 90 h 372"/>
                  <a:gd name="T20" fmla="*/ 827 w 927"/>
                  <a:gd name="T21" fmla="*/ 1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7" h="372">
                    <a:moveTo>
                      <a:pt x="827" y="1"/>
                    </a:moveTo>
                    <a:cubicBezTo>
                      <a:pt x="586" y="0"/>
                      <a:pt x="344" y="0"/>
                      <a:pt x="102" y="1"/>
                    </a:cubicBezTo>
                    <a:cubicBezTo>
                      <a:pt x="39" y="1"/>
                      <a:pt x="0" y="38"/>
                      <a:pt x="0" y="91"/>
                    </a:cubicBezTo>
                    <a:cubicBezTo>
                      <a:pt x="0" y="144"/>
                      <a:pt x="38" y="179"/>
                      <a:pt x="100" y="182"/>
                    </a:cubicBezTo>
                    <a:cubicBezTo>
                      <a:pt x="147" y="184"/>
                      <a:pt x="190" y="202"/>
                      <a:pt x="212" y="243"/>
                    </a:cubicBezTo>
                    <a:cubicBezTo>
                      <a:pt x="248" y="310"/>
                      <a:pt x="300" y="353"/>
                      <a:pt x="373" y="372"/>
                    </a:cubicBezTo>
                    <a:cubicBezTo>
                      <a:pt x="433" y="372"/>
                      <a:pt x="493" y="372"/>
                      <a:pt x="553" y="372"/>
                    </a:cubicBezTo>
                    <a:cubicBezTo>
                      <a:pt x="626" y="353"/>
                      <a:pt x="678" y="309"/>
                      <a:pt x="714" y="243"/>
                    </a:cubicBezTo>
                    <a:cubicBezTo>
                      <a:pt x="737" y="200"/>
                      <a:pt x="781" y="184"/>
                      <a:pt x="830" y="182"/>
                    </a:cubicBezTo>
                    <a:cubicBezTo>
                      <a:pt x="888" y="179"/>
                      <a:pt x="927" y="142"/>
                      <a:pt x="926" y="90"/>
                    </a:cubicBezTo>
                    <a:cubicBezTo>
                      <a:pt x="926" y="40"/>
                      <a:pt x="885" y="1"/>
                      <a:pt x="827" y="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57" name="Freeform 21"/>
              <p:cNvSpPr>
                <a:spLocks/>
              </p:cNvSpPr>
              <p:nvPr/>
            </p:nvSpPr>
            <p:spPr bwMode="auto">
              <a:xfrm>
                <a:off x="776288" y="3090863"/>
                <a:ext cx="238124" cy="46038"/>
              </a:xfrm>
              <a:custGeom>
                <a:avLst/>
                <a:gdLst>
                  <a:gd name="T0" fmla="*/ 827 w 947"/>
                  <a:gd name="T1" fmla="*/ 2 h 184"/>
                  <a:gd name="T2" fmla="*/ 464 w 947"/>
                  <a:gd name="T3" fmla="*/ 1 h 184"/>
                  <a:gd name="T4" fmla="*/ 464 w 947"/>
                  <a:gd name="T5" fmla="*/ 1 h 184"/>
                  <a:gd name="T6" fmla="*/ 101 w 947"/>
                  <a:gd name="T7" fmla="*/ 2 h 184"/>
                  <a:gd name="T8" fmla="*/ 0 w 947"/>
                  <a:gd name="T9" fmla="*/ 92 h 184"/>
                  <a:gd name="T10" fmla="*/ 96 w 947"/>
                  <a:gd name="T11" fmla="*/ 183 h 184"/>
                  <a:gd name="T12" fmla="*/ 830 w 947"/>
                  <a:gd name="T13" fmla="*/ 183 h 184"/>
                  <a:gd name="T14" fmla="*/ 916 w 947"/>
                  <a:gd name="T15" fmla="*/ 132 h 184"/>
                  <a:gd name="T16" fmla="*/ 827 w 947"/>
                  <a:gd name="T17" fmla="*/ 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7" h="184">
                    <a:moveTo>
                      <a:pt x="827" y="2"/>
                    </a:moveTo>
                    <a:cubicBezTo>
                      <a:pt x="706" y="0"/>
                      <a:pt x="585" y="1"/>
                      <a:pt x="464" y="1"/>
                    </a:cubicBezTo>
                    <a:cubicBezTo>
                      <a:pt x="464" y="1"/>
                      <a:pt x="464" y="1"/>
                      <a:pt x="464" y="1"/>
                    </a:cubicBezTo>
                    <a:cubicBezTo>
                      <a:pt x="343" y="1"/>
                      <a:pt x="222" y="1"/>
                      <a:pt x="101" y="2"/>
                    </a:cubicBezTo>
                    <a:cubicBezTo>
                      <a:pt x="41" y="2"/>
                      <a:pt x="0" y="39"/>
                      <a:pt x="0" y="92"/>
                    </a:cubicBezTo>
                    <a:cubicBezTo>
                      <a:pt x="0" y="143"/>
                      <a:pt x="39" y="183"/>
                      <a:pt x="96" y="183"/>
                    </a:cubicBezTo>
                    <a:cubicBezTo>
                      <a:pt x="341" y="184"/>
                      <a:pt x="585" y="184"/>
                      <a:pt x="830" y="183"/>
                    </a:cubicBezTo>
                    <a:cubicBezTo>
                      <a:pt x="868" y="183"/>
                      <a:pt x="898" y="167"/>
                      <a:pt x="916" y="132"/>
                    </a:cubicBezTo>
                    <a:cubicBezTo>
                      <a:pt x="947" y="70"/>
                      <a:pt x="903" y="2"/>
                      <a:pt x="827" y="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grpSp>
          <p:nvGrpSpPr>
            <p:cNvPr id="58" name="Group 57"/>
            <p:cNvGrpSpPr/>
            <p:nvPr userDrawn="1"/>
          </p:nvGrpSpPr>
          <p:grpSpPr>
            <a:xfrm>
              <a:off x="8436830" y="2082037"/>
              <a:ext cx="303051" cy="402432"/>
              <a:chOff x="649288" y="2909886"/>
              <a:chExt cx="784226" cy="1041403"/>
            </a:xfrm>
            <a:solidFill>
              <a:schemeClr val="tx2"/>
            </a:solidFill>
          </p:grpSpPr>
          <p:sp>
            <p:nvSpPr>
              <p:cNvPr id="59" name="Freeform 34"/>
              <p:cNvSpPr>
                <a:spLocks noEditPoints="1"/>
              </p:cNvSpPr>
              <p:nvPr/>
            </p:nvSpPr>
            <p:spPr bwMode="auto">
              <a:xfrm>
                <a:off x="649288" y="2909886"/>
                <a:ext cx="479426" cy="808038"/>
              </a:xfrm>
              <a:custGeom>
                <a:avLst/>
                <a:gdLst>
                  <a:gd name="T0" fmla="*/ 59 w 236"/>
                  <a:gd name="T1" fmla="*/ 343 h 397"/>
                  <a:gd name="T2" fmla="*/ 76 w 236"/>
                  <a:gd name="T3" fmla="*/ 320 h 397"/>
                  <a:gd name="T4" fmla="*/ 23 w 236"/>
                  <a:gd name="T5" fmla="*/ 320 h 397"/>
                  <a:gd name="T6" fmla="*/ 23 w 236"/>
                  <a:gd name="T7" fmla="*/ 62 h 397"/>
                  <a:gd name="T8" fmla="*/ 213 w 236"/>
                  <a:gd name="T9" fmla="*/ 62 h 397"/>
                  <a:gd name="T10" fmla="*/ 213 w 236"/>
                  <a:gd name="T11" fmla="*/ 249 h 397"/>
                  <a:gd name="T12" fmla="*/ 221 w 236"/>
                  <a:gd name="T13" fmla="*/ 247 h 397"/>
                  <a:gd name="T14" fmla="*/ 230 w 236"/>
                  <a:gd name="T15" fmla="*/ 246 h 397"/>
                  <a:gd name="T16" fmla="*/ 236 w 236"/>
                  <a:gd name="T17" fmla="*/ 247 h 397"/>
                  <a:gd name="T18" fmla="*/ 236 w 236"/>
                  <a:gd name="T19" fmla="*/ 37 h 397"/>
                  <a:gd name="T20" fmla="*/ 210 w 236"/>
                  <a:gd name="T21" fmla="*/ 6 h 397"/>
                  <a:gd name="T22" fmla="*/ 26 w 236"/>
                  <a:gd name="T23" fmla="*/ 6 h 397"/>
                  <a:gd name="T24" fmla="*/ 0 w 236"/>
                  <a:gd name="T25" fmla="*/ 37 h 397"/>
                  <a:gd name="T26" fmla="*/ 0 w 236"/>
                  <a:gd name="T27" fmla="*/ 362 h 397"/>
                  <a:gd name="T28" fmla="*/ 25 w 236"/>
                  <a:gd name="T29" fmla="*/ 393 h 397"/>
                  <a:gd name="T30" fmla="*/ 106 w 236"/>
                  <a:gd name="T31" fmla="*/ 397 h 397"/>
                  <a:gd name="T32" fmla="*/ 80 w 236"/>
                  <a:gd name="T33" fmla="*/ 375 h 397"/>
                  <a:gd name="T34" fmla="*/ 59 w 236"/>
                  <a:gd name="T35" fmla="*/ 343 h 397"/>
                  <a:gd name="T36" fmla="*/ 108 w 236"/>
                  <a:gd name="T37" fmla="*/ 25 h 397"/>
                  <a:gd name="T38" fmla="*/ 127 w 236"/>
                  <a:gd name="T39" fmla="*/ 25 h 397"/>
                  <a:gd name="T40" fmla="*/ 136 w 236"/>
                  <a:gd name="T41" fmla="*/ 34 h 397"/>
                  <a:gd name="T42" fmla="*/ 127 w 236"/>
                  <a:gd name="T43" fmla="*/ 43 h 397"/>
                  <a:gd name="T44" fmla="*/ 108 w 236"/>
                  <a:gd name="T45" fmla="*/ 43 h 397"/>
                  <a:gd name="T46" fmla="*/ 99 w 236"/>
                  <a:gd name="T47" fmla="*/ 34 h 397"/>
                  <a:gd name="T48" fmla="*/ 108 w 236"/>
                  <a:gd name="T49" fmla="*/ 25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6" h="397">
                    <a:moveTo>
                      <a:pt x="59" y="343"/>
                    </a:moveTo>
                    <a:cubicBezTo>
                      <a:pt x="61" y="335"/>
                      <a:pt x="67" y="327"/>
                      <a:pt x="76" y="320"/>
                    </a:cubicBezTo>
                    <a:cubicBezTo>
                      <a:pt x="23" y="320"/>
                      <a:pt x="23" y="320"/>
                      <a:pt x="23" y="320"/>
                    </a:cubicBezTo>
                    <a:cubicBezTo>
                      <a:pt x="23" y="62"/>
                      <a:pt x="23" y="62"/>
                      <a:pt x="23" y="62"/>
                    </a:cubicBezTo>
                    <a:cubicBezTo>
                      <a:pt x="213" y="62"/>
                      <a:pt x="213" y="62"/>
                      <a:pt x="213" y="62"/>
                    </a:cubicBezTo>
                    <a:cubicBezTo>
                      <a:pt x="213" y="249"/>
                      <a:pt x="213" y="249"/>
                      <a:pt x="213" y="249"/>
                    </a:cubicBezTo>
                    <a:cubicBezTo>
                      <a:pt x="216" y="248"/>
                      <a:pt x="218" y="248"/>
                      <a:pt x="221" y="247"/>
                    </a:cubicBezTo>
                    <a:cubicBezTo>
                      <a:pt x="224" y="246"/>
                      <a:pt x="227" y="246"/>
                      <a:pt x="230" y="246"/>
                    </a:cubicBezTo>
                    <a:cubicBezTo>
                      <a:pt x="232" y="246"/>
                      <a:pt x="234" y="246"/>
                      <a:pt x="236" y="247"/>
                    </a:cubicBezTo>
                    <a:cubicBezTo>
                      <a:pt x="236" y="37"/>
                      <a:pt x="236" y="37"/>
                      <a:pt x="236" y="37"/>
                    </a:cubicBezTo>
                    <a:cubicBezTo>
                      <a:pt x="236" y="22"/>
                      <a:pt x="225" y="8"/>
                      <a:pt x="210" y="6"/>
                    </a:cubicBezTo>
                    <a:cubicBezTo>
                      <a:pt x="143" y="0"/>
                      <a:pt x="92" y="0"/>
                      <a:pt x="26" y="6"/>
                    </a:cubicBezTo>
                    <a:cubicBezTo>
                      <a:pt x="11" y="8"/>
                      <a:pt x="0" y="22"/>
                      <a:pt x="0" y="37"/>
                    </a:cubicBezTo>
                    <a:cubicBezTo>
                      <a:pt x="0" y="362"/>
                      <a:pt x="0" y="362"/>
                      <a:pt x="0" y="362"/>
                    </a:cubicBezTo>
                    <a:cubicBezTo>
                      <a:pt x="0" y="377"/>
                      <a:pt x="11" y="391"/>
                      <a:pt x="25" y="393"/>
                    </a:cubicBezTo>
                    <a:cubicBezTo>
                      <a:pt x="57" y="396"/>
                      <a:pt x="78" y="397"/>
                      <a:pt x="106" y="397"/>
                    </a:cubicBezTo>
                    <a:cubicBezTo>
                      <a:pt x="96" y="388"/>
                      <a:pt x="87" y="381"/>
                      <a:pt x="80" y="375"/>
                    </a:cubicBezTo>
                    <a:cubicBezTo>
                      <a:pt x="68" y="367"/>
                      <a:pt x="56" y="358"/>
                      <a:pt x="59" y="343"/>
                    </a:cubicBezTo>
                    <a:close/>
                    <a:moveTo>
                      <a:pt x="108" y="25"/>
                    </a:moveTo>
                    <a:cubicBezTo>
                      <a:pt x="127" y="25"/>
                      <a:pt x="127" y="25"/>
                      <a:pt x="127" y="25"/>
                    </a:cubicBezTo>
                    <a:cubicBezTo>
                      <a:pt x="132" y="25"/>
                      <a:pt x="136" y="29"/>
                      <a:pt x="136" y="34"/>
                    </a:cubicBezTo>
                    <a:cubicBezTo>
                      <a:pt x="136" y="39"/>
                      <a:pt x="132" y="43"/>
                      <a:pt x="127" y="43"/>
                    </a:cubicBezTo>
                    <a:cubicBezTo>
                      <a:pt x="108" y="43"/>
                      <a:pt x="108" y="43"/>
                      <a:pt x="108" y="43"/>
                    </a:cubicBezTo>
                    <a:cubicBezTo>
                      <a:pt x="103" y="43"/>
                      <a:pt x="99" y="39"/>
                      <a:pt x="99" y="34"/>
                    </a:cubicBezTo>
                    <a:cubicBezTo>
                      <a:pt x="99" y="29"/>
                      <a:pt x="103" y="25"/>
                      <a:pt x="108"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60" name="Freeform 35"/>
              <p:cNvSpPr>
                <a:spLocks/>
              </p:cNvSpPr>
              <p:nvPr/>
            </p:nvSpPr>
            <p:spPr bwMode="auto">
              <a:xfrm>
                <a:off x="796925" y="3235327"/>
                <a:ext cx="636589" cy="715962"/>
              </a:xfrm>
              <a:custGeom>
                <a:avLst/>
                <a:gdLst>
                  <a:gd name="T0" fmla="*/ 78 w 313"/>
                  <a:gd name="T1" fmla="*/ 3 h 352"/>
                  <a:gd name="T2" fmla="*/ 57 w 313"/>
                  <a:gd name="T3" fmla="*/ 34 h 352"/>
                  <a:gd name="T4" fmla="*/ 89 w 313"/>
                  <a:gd name="T5" fmla="*/ 199 h 352"/>
                  <a:gd name="T6" fmla="*/ 30 w 313"/>
                  <a:gd name="T7" fmla="*/ 166 h 352"/>
                  <a:gd name="T8" fmla="*/ 3 w 313"/>
                  <a:gd name="T9" fmla="*/ 187 h 352"/>
                  <a:gd name="T10" fmla="*/ 79 w 313"/>
                  <a:gd name="T11" fmla="*/ 267 h 352"/>
                  <a:gd name="T12" fmla="*/ 219 w 313"/>
                  <a:gd name="T13" fmla="*/ 340 h 352"/>
                  <a:gd name="T14" fmla="*/ 306 w 313"/>
                  <a:gd name="T15" fmla="*/ 232 h 352"/>
                  <a:gd name="T16" fmla="*/ 289 w 313"/>
                  <a:gd name="T17" fmla="*/ 144 h 352"/>
                  <a:gd name="T18" fmla="*/ 264 w 313"/>
                  <a:gd name="T19" fmla="*/ 123 h 352"/>
                  <a:gd name="T20" fmla="*/ 239 w 313"/>
                  <a:gd name="T21" fmla="*/ 143 h 352"/>
                  <a:gd name="T22" fmla="*/ 236 w 313"/>
                  <a:gd name="T23" fmla="*/ 128 h 352"/>
                  <a:gd name="T24" fmla="*/ 210 w 313"/>
                  <a:gd name="T25" fmla="*/ 106 h 352"/>
                  <a:gd name="T26" fmla="*/ 184 w 313"/>
                  <a:gd name="T27" fmla="*/ 130 h 352"/>
                  <a:gd name="T28" fmla="*/ 157 w 313"/>
                  <a:gd name="T29" fmla="*/ 103 h 352"/>
                  <a:gd name="T30" fmla="*/ 130 w 313"/>
                  <a:gd name="T31" fmla="*/ 130 h 352"/>
                  <a:gd name="T32" fmla="*/ 109 w 313"/>
                  <a:gd name="T33" fmla="*/ 24 h 352"/>
                  <a:gd name="T34" fmla="*/ 78 w 313"/>
                  <a:gd name="T35" fmla="*/ 3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3" h="352">
                    <a:moveTo>
                      <a:pt x="78" y="3"/>
                    </a:moveTo>
                    <a:cubicBezTo>
                      <a:pt x="64" y="6"/>
                      <a:pt x="55" y="19"/>
                      <a:pt x="57" y="34"/>
                    </a:cubicBezTo>
                    <a:cubicBezTo>
                      <a:pt x="89" y="199"/>
                      <a:pt x="89" y="199"/>
                      <a:pt x="89" y="199"/>
                    </a:cubicBezTo>
                    <a:cubicBezTo>
                      <a:pt x="69" y="173"/>
                      <a:pt x="44" y="163"/>
                      <a:pt x="30" y="166"/>
                    </a:cubicBezTo>
                    <a:cubicBezTo>
                      <a:pt x="14" y="169"/>
                      <a:pt x="4" y="181"/>
                      <a:pt x="3" y="187"/>
                    </a:cubicBezTo>
                    <a:cubicBezTo>
                      <a:pt x="0" y="198"/>
                      <a:pt x="39" y="208"/>
                      <a:pt x="79" y="267"/>
                    </a:cubicBezTo>
                    <a:cubicBezTo>
                      <a:pt x="124" y="333"/>
                      <a:pt x="156" y="352"/>
                      <a:pt x="219" y="340"/>
                    </a:cubicBezTo>
                    <a:cubicBezTo>
                      <a:pt x="295" y="325"/>
                      <a:pt x="313" y="266"/>
                      <a:pt x="306" y="232"/>
                    </a:cubicBezTo>
                    <a:cubicBezTo>
                      <a:pt x="289" y="144"/>
                      <a:pt x="289" y="144"/>
                      <a:pt x="289" y="144"/>
                    </a:cubicBezTo>
                    <a:cubicBezTo>
                      <a:pt x="287" y="132"/>
                      <a:pt x="276" y="123"/>
                      <a:pt x="264" y="123"/>
                    </a:cubicBezTo>
                    <a:cubicBezTo>
                      <a:pt x="253" y="123"/>
                      <a:pt x="242" y="130"/>
                      <a:pt x="239" y="143"/>
                    </a:cubicBezTo>
                    <a:cubicBezTo>
                      <a:pt x="236" y="128"/>
                      <a:pt x="236" y="128"/>
                      <a:pt x="236" y="128"/>
                    </a:cubicBezTo>
                    <a:cubicBezTo>
                      <a:pt x="234" y="115"/>
                      <a:pt x="223" y="106"/>
                      <a:pt x="210" y="106"/>
                    </a:cubicBezTo>
                    <a:cubicBezTo>
                      <a:pt x="197" y="106"/>
                      <a:pt x="185" y="116"/>
                      <a:pt x="184" y="130"/>
                    </a:cubicBezTo>
                    <a:cubicBezTo>
                      <a:pt x="180" y="113"/>
                      <a:pt x="171" y="103"/>
                      <a:pt x="157" y="103"/>
                    </a:cubicBezTo>
                    <a:cubicBezTo>
                      <a:pt x="143" y="103"/>
                      <a:pt x="131" y="113"/>
                      <a:pt x="130" y="130"/>
                    </a:cubicBezTo>
                    <a:cubicBezTo>
                      <a:pt x="109" y="24"/>
                      <a:pt x="109" y="24"/>
                      <a:pt x="109" y="24"/>
                    </a:cubicBezTo>
                    <a:cubicBezTo>
                      <a:pt x="107" y="10"/>
                      <a:pt x="93" y="0"/>
                      <a:pt x="78" y="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grpSp>
          <p:nvGrpSpPr>
            <p:cNvPr id="80" name="Group 79"/>
            <p:cNvGrpSpPr/>
            <p:nvPr userDrawn="1"/>
          </p:nvGrpSpPr>
          <p:grpSpPr>
            <a:xfrm>
              <a:off x="4886084" y="2139268"/>
              <a:ext cx="224017" cy="270019"/>
              <a:chOff x="1581943" y="3035286"/>
              <a:chExt cx="533406" cy="642937"/>
            </a:xfrm>
            <a:solidFill>
              <a:schemeClr val="accent4"/>
            </a:solidFill>
          </p:grpSpPr>
          <p:sp>
            <p:nvSpPr>
              <p:cNvPr id="81" name="Freeform 38"/>
              <p:cNvSpPr>
                <a:spLocks/>
              </p:cNvSpPr>
              <p:nvPr/>
            </p:nvSpPr>
            <p:spPr bwMode="auto">
              <a:xfrm>
                <a:off x="1862936" y="3400406"/>
                <a:ext cx="252413" cy="277813"/>
              </a:xfrm>
              <a:custGeom>
                <a:avLst/>
                <a:gdLst>
                  <a:gd name="T0" fmla="*/ 404 w 412"/>
                  <a:gd name="T1" fmla="*/ 155 h 452"/>
                  <a:gd name="T2" fmla="*/ 308 w 412"/>
                  <a:gd name="T3" fmla="*/ 10 h 452"/>
                  <a:gd name="T4" fmla="*/ 297 w 412"/>
                  <a:gd name="T5" fmla="*/ 2 h 452"/>
                  <a:gd name="T6" fmla="*/ 291 w 412"/>
                  <a:gd name="T7" fmla="*/ 0 h 452"/>
                  <a:gd name="T8" fmla="*/ 286 w 412"/>
                  <a:gd name="T9" fmla="*/ 0 h 452"/>
                  <a:gd name="T10" fmla="*/ 126 w 412"/>
                  <a:gd name="T11" fmla="*/ 0 h 452"/>
                  <a:gd name="T12" fmla="*/ 120 w 412"/>
                  <a:gd name="T13" fmla="*/ 0 h 452"/>
                  <a:gd name="T14" fmla="*/ 114 w 412"/>
                  <a:gd name="T15" fmla="*/ 2 h 452"/>
                  <a:gd name="T16" fmla="*/ 104 w 412"/>
                  <a:gd name="T17" fmla="*/ 10 h 452"/>
                  <a:gd name="T18" fmla="*/ 7 w 412"/>
                  <a:gd name="T19" fmla="*/ 155 h 452"/>
                  <a:gd name="T20" fmla="*/ 18 w 412"/>
                  <a:gd name="T21" fmla="*/ 192 h 452"/>
                  <a:gd name="T22" fmla="*/ 56 w 412"/>
                  <a:gd name="T23" fmla="*/ 188 h 452"/>
                  <a:gd name="T24" fmla="*/ 126 w 412"/>
                  <a:gd name="T25" fmla="*/ 84 h 452"/>
                  <a:gd name="T26" fmla="*/ 126 w 412"/>
                  <a:gd name="T27" fmla="*/ 94 h 452"/>
                  <a:gd name="T28" fmla="*/ 80 w 412"/>
                  <a:gd name="T29" fmla="*/ 304 h 452"/>
                  <a:gd name="T30" fmla="*/ 126 w 412"/>
                  <a:gd name="T31" fmla="*/ 304 h 452"/>
                  <a:gd name="T32" fmla="*/ 126 w 412"/>
                  <a:gd name="T33" fmla="*/ 409 h 452"/>
                  <a:gd name="T34" fmla="*/ 160 w 412"/>
                  <a:gd name="T35" fmla="*/ 452 h 452"/>
                  <a:gd name="T36" fmla="*/ 194 w 412"/>
                  <a:gd name="T37" fmla="*/ 409 h 452"/>
                  <a:gd name="T38" fmla="*/ 194 w 412"/>
                  <a:gd name="T39" fmla="*/ 304 h 452"/>
                  <a:gd name="T40" fmla="*/ 218 w 412"/>
                  <a:gd name="T41" fmla="*/ 304 h 452"/>
                  <a:gd name="T42" fmla="*/ 218 w 412"/>
                  <a:gd name="T43" fmla="*/ 409 h 452"/>
                  <a:gd name="T44" fmla="*/ 252 w 412"/>
                  <a:gd name="T45" fmla="*/ 452 h 452"/>
                  <a:gd name="T46" fmla="*/ 286 w 412"/>
                  <a:gd name="T47" fmla="*/ 409 h 452"/>
                  <a:gd name="T48" fmla="*/ 286 w 412"/>
                  <a:gd name="T49" fmla="*/ 304 h 452"/>
                  <a:gd name="T50" fmla="*/ 331 w 412"/>
                  <a:gd name="T51" fmla="*/ 304 h 452"/>
                  <a:gd name="T52" fmla="*/ 286 w 412"/>
                  <a:gd name="T53" fmla="*/ 94 h 452"/>
                  <a:gd name="T54" fmla="*/ 286 w 412"/>
                  <a:gd name="T55" fmla="*/ 84 h 452"/>
                  <a:gd name="T56" fmla="*/ 355 w 412"/>
                  <a:gd name="T57" fmla="*/ 188 h 452"/>
                  <a:gd name="T58" fmla="*/ 393 w 412"/>
                  <a:gd name="T59" fmla="*/ 192 h 452"/>
                  <a:gd name="T60" fmla="*/ 404 w 412"/>
                  <a:gd name="T61" fmla="*/ 155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2" h="452">
                    <a:moveTo>
                      <a:pt x="404" y="155"/>
                    </a:moveTo>
                    <a:cubicBezTo>
                      <a:pt x="308" y="10"/>
                      <a:pt x="308" y="10"/>
                      <a:pt x="308" y="10"/>
                    </a:cubicBezTo>
                    <a:cubicBezTo>
                      <a:pt x="305" y="6"/>
                      <a:pt x="302" y="3"/>
                      <a:pt x="297" y="2"/>
                    </a:cubicBezTo>
                    <a:cubicBezTo>
                      <a:pt x="296" y="1"/>
                      <a:pt x="294" y="0"/>
                      <a:pt x="291" y="0"/>
                    </a:cubicBezTo>
                    <a:cubicBezTo>
                      <a:pt x="286" y="0"/>
                      <a:pt x="286" y="0"/>
                      <a:pt x="286" y="0"/>
                    </a:cubicBezTo>
                    <a:cubicBezTo>
                      <a:pt x="126" y="0"/>
                      <a:pt x="126" y="0"/>
                      <a:pt x="126" y="0"/>
                    </a:cubicBezTo>
                    <a:cubicBezTo>
                      <a:pt x="120" y="0"/>
                      <a:pt x="120" y="0"/>
                      <a:pt x="120" y="0"/>
                    </a:cubicBezTo>
                    <a:cubicBezTo>
                      <a:pt x="118" y="0"/>
                      <a:pt x="116" y="1"/>
                      <a:pt x="114" y="2"/>
                    </a:cubicBezTo>
                    <a:cubicBezTo>
                      <a:pt x="110" y="3"/>
                      <a:pt x="106" y="6"/>
                      <a:pt x="104" y="10"/>
                    </a:cubicBezTo>
                    <a:cubicBezTo>
                      <a:pt x="7" y="155"/>
                      <a:pt x="7" y="155"/>
                      <a:pt x="7" y="155"/>
                    </a:cubicBezTo>
                    <a:cubicBezTo>
                      <a:pt x="0" y="166"/>
                      <a:pt x="5" y="183"/>
                      <a:pt x="18" y="192"/>
                    </a:cubicBezTo>
                    <a:cubicBezTo>
                      <a:pt x="32" y="201"/>
                      <a:pt x="49" y="199"/>
                      <a:pt x="56" y="188"/>
                    </a:cubicBezTo>
                    <a:cubicBezTo>
                      <a:pt x="126" y="84"/>
                      <a:pt x="126" y="84"/>
                      <a:pt x="126" y="84"/>
                    </a:cubicBezTo>
                    <a:cubicBezTo>
                      <a:pt x="126" y="94"/>
                      <a:pt x="126" y="94"/>
                      <a:pt x="126" y="94"/>
                    </a:cubicBezTo>
                    <a:cubicBezTo>
                      <a:pt x="80" y="304"/>
                      <a:pt x="80" y="304"/>
                      <a:pt x="80" y="304"/>
                    </a:cubicBezTo>
                    <a:cubicBezTo>
                      <a:pt x="126" y="304"/>
                      <a:pt x="126" y="304"/>
                      <a:pt x="126" y="304"/>
                    </a:cubicBezTo>
                    <a:cubicBezTo>
                      <a:pt x="126" y="409"/>
                      <a:pt x="126" y="409"/>
                      <a:pt x="126" y="409"/>
                    </a:cubicBezTo>
                    <a:cubicBezTo>
                      <a:pt x="126" y="433"/>
                      <a:pt x="141" y="452"/>
                      <a:pt x="160" y="452"/>
                    </a:cubicBezTo>
                    <a:cubicBezTo>
                      <a:pt x="178" y="452"/>
                      <a:pt x="194" y="433"/>
                      <a:pt x="194" y="409"/>
                    </a:cubicBezTo>
                    <a:cubicBezTo>
                      <a:pt x="194" y="304"/>
                      <a:pt x="194" y="304"/>
                      <a:pt x="194" y="304"/>
                    </a:cubicBezTo>
                    <a:cubicBezTo>
                      <a:pt x="218" y="304"/>
                      <a:pt x="218" y="304"/>
                      <a:pt x="218" y="304"/>
                    </a:cubicBezTo>
                    <a:cubicBezTo>
                      <a:pt x="218" y="409"/>
                      <a:pt x="218" y="409"/>
                      <a:pt x="218" y="409"/>
                    </a:cubicBezTo>
                    <a:cubicBezTo>
                      <a:pt x="218" y="433"/>
                      <a:pt x="233" y="452"/>
                      <a:pt x="252" y="452"/>
                    </a:cubicBezTo>
                    <a:cubicBezTo>
                      <a:pt x="271" y="452"/>
                      <a:pt x="286" y="433"/>
                      <a:pt x="286" y="409"/>
                    </a:cubicBezTo>
                    <a:cubicBezTo>
                      <a:pt x="286" y="304"/>
                      <a:pt x="286" y="304"/>
                      <a:pt x="286" y="304"/>
                    </a:cubicBezTo>
                    <a:cubicBezTo>
                      <a:pt x="331" y="304"/>
                      <a:pt x="331" y="304"/>
                      <a:pt x="331" y="304"/>
                    </a:cubicBezTo>
                    <a:cubicBezTo>
                      <a:pt x="286" y="94"/>
                      <a:pt x="286" y="94"/>
                      <a:pt x="286" y="94"/>
                    </a:cubicBezTo>
                    <a:cubicBezTo>
                      <a:pt x="286" y="84"/>
                      <a:pt x="286" y="84"/>
                      <a:pt x="286" y="84"/>
                    </a:cubicBezTo>
                    <a:cubicBezTo>
                      <a:pt x="355" y="188"/>
                      <a:pt x="355" y="188"/>
                      <a:pt x="355" y="188"/>
                    </a:cubicBezTo>
                    <a:cubicBezTo>
                      <a:pt x="363" y="199"/>
                      <a:pt x="380" y="201"/>
                      <a:pt x="393" y="192"/>
                    </a:cubicBezTo>
                    <a:cubicBezTo>
                      <a:pt x="407" y="183"/>
                      <a:pt x="412" y="166"/>
                      <a:pt x="404" y="15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82" name="Oval 39"/>
              <p:cNvSpPr>
                <a:spLocks noChangeArrowheads="1"/>
              </p:cNvSpPr>
              <p:nvPr/>
            </p:nvSpPr>
            <p:spPr bwMode="auto">
              <a:xfrm>
                <a:off x="1951834" y="3314682"/>
                <a:ext cx="73026" cy="74614"/>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83" name="Oval 40"/>
              <p:cNvSpPr>
                <a:spLocks noChangeArrowheads="1"/>
              </p:cNvSpPr>
              <p:nvPr/>
            </p:nvSpPr>
            <p:spPr bwMode="auto">
              <a:xfrm>
                <a:off x="1637508" y="3035286"/>
                <a:ext cx="109537" cy="109537"/>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84" name="Freeform 41"/>
              <p:cNvSpPr>
                <a:spLocks/>
              </p:cNvSpPr>
              <p:nvPr/>
            </p:nvSpPr>
            <p:spPr bwMode="auto">
              <a:xfrm>
                <a:off x="1581943" y="3159109"/>
                <a:ext cx="219075" cy="519112"/>
              </a:xfrm>
              <a:custGeom>
                <a:avLst/>
                <a:gdLst>
                  <a:gd name="T0" fmla="*/ 247 w 357"/>
                  <a:gd name="T1" fmla="*/ 410 h 847"/>
                  <a:gd name="T2" fmla="*/ 228 w 357"/>
                  <a:gd name="T3" fmla="*/ 413 h 847"/>
                  <a:gd name="T4" fmla="*/ 212 w 357"/>
                  <a:gd name="T5" fmla="*/ 411 h 847"/>
                  <a:gd name="T6" fmla="*/ 171 w 357"/>
                  <a:gd name="T7" fmla="*/ 337 h 847"/>
                  <a:gd name="T8" fmla="*/ 248 w 357"/>
                  <a:gd name="T9" fmla="*/ 68 h 847"/>
                  <a:gd name="T10" fmla="*/ 290 w 357"/>
                  <a:gd name="T11" fmla="*/ 26 h 847"/>
                  <a:gd name="T12" fmla="*/ 304 w 357"/>
                  <a:gd name="T13" fmla="*/ 24 h 847"/>
                  <a:gd name="T14" fmla="*/ 357 w 357"/>
                  <a:gd name="T15" fmla="*/ 24 h 847"/>
                  <a:gd name="T16" fmla="*/ 324 w 357"/>
                  <a:gd name="T17" fmla="*/ 0 h 847"/>
                  <a:gd name="T18" fmla="*/ 322 w 357"/>
                  <a:gd name="T19" fmla="*/ 0 h 847"/>
                  <a:gd name="T20" fmla="*/ 321 w 357"/>
                  <a:gd name="T21" fmla="*/ 0 h 847"/>
                  <a:gd name="T22" fmla="*/ 275 w 357"/>
                  <a:gd name="T23" fmla="*/ 0 h 847"/>
                  <a:gd name="T24" fmla="*/ 86 w 357"/>
                  <a:gd name="T25" fmla="*/ 0 h 847"/>
                  <a:gd name="T26" fmla="*/ 40 w 357"/>
                  <a:gd name="T27" fmla="*/ 0 h 847"/>
                  <a:gd name="T28" fmla="*/ 39 w 357"/>
                  <a:gd name="T29" fmla="*/ 0 h 847"/>
                  <a:gd name="T30" fmla="*/ 38 w 357"/>
                  <a:gd name="T31" fmla="*/ 0 h 847"/>
                  <a:gd name="T32" fmla="*/ 0 w 357"/>
                  <a:gd name="T33" fmla="*/ 44 h 847"/>
                  <a:gd name="T34" fmla="*/ 0 w 357"/>
                  <a:gd name="T35" fmla="*/ 358 h 847"/>
                  <a:gd name="T36" fmla="*/ 38 w 357"/>
                  <a:gd name="T37" fmla="*/ 402 h 847"/>
                  <a:gd name="T38" fmla="*/ 76 w 357"/>
                  <a:gd name="T39" fmla="*/ 358 h 847"/>
                  <a:gd name="T40" fmla="*/ 76 w 357"/>
                  <a:gd name="T41" fmla="*/ 90 h 847"/>
                  <a:gd name="T42" fmla="*/ 86 w 357"/>
                  <a:gd name="T43" fmla="*/ 90 h 847"/>
                  <a:gd name="T44" fmla="*/ 86 w 357"/>
                  <a:gd name="T45" fmla="*/ 439 h 847"/>
                  <a:gd name="T46" fmla="*/ 86 w 357"/>
                  <a:gd name="T47" fmla="*/ 796 h 847"/>
                  <a:gd name="T48" fmla="*/ 130 w 357"/>
                  <a:gd name="T49" fmla="*/ 847 h 847"/>
                  <a:gd name="T50" fmla="*/ 173 w 357"/>
                  <a:gd name="T51" fmla="*/ 796 h 847"/>
                  <a:gd name="T52" fmla="*/ 173 w 357"/>
                  <a:gd name="T53" fmla="*/ 439 h 847"/>
                  <a:gd name="T54" fmla="*/ 188 w 357"/>
                  <a:gd name="T55" fmla="*/ 439 h 847"/>
                  <a:gd name="T56" fmla="*/ 188 w 357"/>
                  <a:gd name="T57" fmla="*/ 796 h 847"/>
                  <a:gd name="T58" fmla="*/ 232 w 357"/>
                  <a:gd name="T59" fmla="*/ 847 h 847"/>
                  <a:gd name="T60" fmla="*/ 275 w 357"/>
                  <a:gd name="T61" fmla="*/ 796 h 847"/>
                  <a:gd name="T62" fmla="*/ 275 w 357"/>
                  <a:gd name="T63" fmla="*/ 588 h 847"/>
                  <a:gd name="T64" fmla="*/ 198 w 357"/>
                  <a:gd name="T65" fmla="*/ 588 h 847"/>
                  <a:gd name="T66" fmla="*/ 247 w 357"/>
                  <a:gd name="T67" fmla="*/ 410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7" h="847">
                    <a:moveTo>
                      <a:pt x="247" y="410"/>
                    </a:moveTo>
                    <a:cubicBezTo>
                      <a:pt x="241" y="412"/>
                      <a:pt x="235" y="413"/>
                      <a:pt x="228" y="413"/>
                    </a:cubicBezTo>
                    <a:cubicBezTo>
                      <a:pt x="223" y="413"/>
                      <a:pt x="217" y="413"/>
                      <a:pt x="212" y="411"/>
                    </a:cubicBezTo>
                    <a:cubicBezTo>
                      <a:pt x="180" y="402"/>
                      <a:pt x="162" y="369"/>
                      <a:pt x="171" y="337"/>
                    </a:cubicBezTo>
                    <a:cubicBezTo>
                      <a:pt x="248" y="68"/>
                      <a:pt x="248" y="68"/>
                      <a:pt x="248" y="68"/>
                    </a:cubicBezTo>
                    <a:cubicBezTo>
                      <a:pt x="253" y="48"/>
                      <a:pt x="269" y="32"/>
                      <a:pt x="290" y="26"/>
                    </a:cubicBezTo>
                    <a:cubicBezTo>
                      <a:pt x="294" y="25"/>
                      <a:pt x="299" y="24"/>
                      <a:pt x="304" y="24"/>
                    </a:cubicBezTo>
                    <a:cubicBezTo>
                      <a:pt x="357" y="24"/>
                      <a:pt x="357" y="24"/>
                      <a:pt x="357" y="24"/>
                    </a:cubicBezTo>
                    <a:cubicBezTo>
                      <a:pt x="351" y="10"/>
                      <a:pt x="338" y="0"/>
                      <a:pt x="324" y="0"/>
                    </a:cubicBezTo>
                    <a:cubicBezTo>
                      <a:pt x="323" y="0"/>
                      <a:pt x="323" y="0"/>
                      <a:pt x="322" y="0"/>
                    </a:cubicBezTo>
                    <a:cubicBezTo>
                      <a:pt x="322" y="0"/>
                      <a:pt x="321" y="0"/>
                      <a:pt x="321" y="0"/>
                    </a:cubicBezTo>
                    <a:cubicBezTo>
                      <a:pt x="275" y="0"/>
                      <a:pt x="275" y="0"/>
                      <a:pt x="275" y="0"/>
                    </a:cubicBezTo>
                    <a:cubicBezTo>
                      <a:pt x="86" y="0"/>
                      <a:pt x="86" y="0"/>
                      <a:pt x="86" y="0"/>
                    </a:cubicBezTo>
                    <a:cubicBezTo>
                      <a:pt x="40" y="0"/>
                      <a:pt x="40" y="0"/>
                      <a:pt x="40" y="0"/>
                    </a:cubicBezTo>
                    <a:cubicBezTo>
                      <a:pt x="40" y="0"/>
                      <a:pt x="39" y="0"/>
                      <a:pt x="39" y="0"/>
                    </a:cubicBezTo>
                    <a:cubicBezTo>
                      <a:pt x="39" y="0"/>
                      <a:pt x="38" y="0"/>
                      <a:pt x="38" y="0"/>
                    </a:cubicBezTo>
                    <a:cubicBezTo>
                      <a:pt x="17" y="0"/>
                      <a:pt x="0" y="20"/>
                      <a:pt x="0" y="44"/>
                    </a:cubicBezTo>
                    <a:cubicBezTo>
                      <a:pt x="0" y="358"/>
                      <a:pt x="0" y="358"/>
                      <a:pt x="0" y="358"/>
                    </a:cubicBezTo>
                    <a:cubicBezTo>
                      <a:pt x="0" y="382"/>
                      <a:pt x="17" y="402"/>
                      <a:pt x="38" y="402"/>
                    </a:cubicBezTo>
                    <a:cubicBezTo>
                      <a:pt x="59" y="402"/>
                      <a:pt x="76" y="382"/>
                      <a:pt x="76" y="358"/>
                    </a:cubicBezTo>
                    <a:cubicBezTo>
                      <a:pt x="76" y="90"/>
                      <a:pt x="76" y="90"/>
                      <a:pt x="76" y="90"/>
                    </a:cubicBezTo>
                    <a:cubicBezTo>
                      <a:pt x="86" y="90"/>
                      <a:pt x="86" y="90"/>
                      <a:pt x="86" y="90"/>
                    </a:cubicBezTo>
                    <a:cubicBezTo>
                      <a:pt x="86" y="439"/>
                      <a:pt x="86" y="439"/>
                      <a:pt x="86" y="439"/>
                    </a:cubicBezTo>
                    <a:cubicBezTo>
                      <a:pt x="86" y="796"/>
                      <a:pt x="86" y="796"/>
                      <a:pt x="86" y="796"/>
                    </a:cubicBezTo>
                    <a:cubicBezTo>
                      <a:pt x="86" y="824"/>
                      <a:pt x="106" y="847"/>
                      <a:pt x="130" y="847"/>
                    </a:cubicBezTo>
                    <a:cubicBezTo>
                      <a:pt x="154" y="847"/>
                      <a:pt x="173" y="824"/>
                      <a:pt x="173" y="796"/>
                    </a:cubicBezTo>
                    <a:cubicBezTo>
                      <a:pt x="173" y="439"/>
                      <a:pt x="173" y="439"/>
                      <a:pt x="173" y="439"/>
                    </a:cubicBezTo>
                    <a:cubicBezTo>
                      <a:pt x="188" y="439"/>
                      <a:pt x="188" y="439"/>
                      <a:pt x="188" y="439"/>
                    </a:cubicBezTo>
                    <a:cubicBezTo>
                      <a:pt x="188" y="796"/>
                      <a:pt x="188" y="796"/>
                      <a:pt x="188" y="796"/>
                    </a:cubicBezTo>
                    <a:cubicBezTo>
                      <a:pt x="188" y="824"/>
                      <a:pt x="208" y="847"/>
                      <a:pt x="232" y="847"/>
                    </a:cubicBezTo>
                    <a:cubicBezTo>
                      <a:pt x="256" y="847"/>
                      <a:pt x="275" y="824"/>
                      <a:pt x="275" y="796"/>
                    </a:cubicBezTo>
                    <a:cubicBezTo>
                      <a:pt x="275" y="588"/>
                      <a:pt x="275" y="588"/>
                      <a:pt x="275" y="588"/>
                    </a:cubicBezTo>
                    <a:cubicBezTo>
                      <a:pt x="198" y="588"/>
                      <a:pt x="198" y="588"/>
                      <a:pt x="198" y="588"/>
                    </a:cubicBezTo>
                    <a:lnTo>
                      <a:pt x="247" y="41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85" name="Freeform 42"/>
              <p:cNvSpPr>
                <a:spLocks/>
              </p:cNvSpPr>
              <p:nvPr/>
            </p:nvSpPr>
            <p:spPr bwMode="auto">
              <a:xfrm>
                <a:off x="1694657" y="3186099"/>
                <a:ext cx="287338" cy="492122"/>
              </a:xfrm>
              <a:custGeom>
                <a:avLst/>
                <a:gdLst>
                  <a:gd name="T0" fmla="*/ 263 w 467"/>
                  <a:gd name="T1" fmla="*/ 493 h 802"/>
                  <a:gd name="T2" fmla="*/ 360 w 467"/>
                  <a:gd name="T3" fmla="*/ 348 h 802"/>
                  <a:gd name="T4" fmla="*/ 378 w 467"/>
                  <a:gd name="T5" fmla="*/ 333 h 802"/>
                  <a:gd name="T6" fmla="*/ 393 w 467"/>
                  <a:gd name="T7" fmla="*/ 330 h 802"/>
                  <a:gd name="T8" fmla="*/ 410 w 467"/>
                  <a:gd name="T9" fmla="*/ 330 h 802"/>
                  <a:gd name="T10" fmla="*/ 346 w 467"/>
                  <a:gd name="T11" fmla="*/ 100 h 802"/>
                  <a:gd name="T12" fmla="*/ 346 w 467"/>
                  <a:gd name="T13" fmla="*/ 85 h 802"/>
                  <a:gd name="T14" fmla="*/ 356 w 467"/>
                  <a:gd name="T15" fmla="*/ 85 h 802"/>
                  <a:gd name="T16" fmla="*/ 401 w 467"/>
                  <a:gd name="T17" fmla="*/ 244 h 802"/>
                  <a:gd name="T18" fmla="*/ 467 w 467"/>
                  <a:gd name="T19" fmla="*/ 189 h 802"/>
                  <a:gd name="T20" fmla="*/ 421 w 467"/>
                  <a:gd name="T21" fmla="*/ 29 h 802"/>
                  <a:gd name="T22" fmla="*/ 394 w 467"/>
                  <a:gd name="T23" fmla="*/ 1 h 802"/>
                  <a:gd name="T24" fmla="*/ 385 w 467"/>
                  <a:gd name="T25" fmla="*/ 0 h 802"/>
                  <a:gd name="T26" fmla="*/ 346 w 467"/>
                  <a:gd name="T27" fmla="*/ 0 h 802"/>
                  <a:gd name="T28" fmla="*/ 157 w 467"/>
                  <a:gd name="T29" fmla="*/ 0 h 802"/>
                  <a:gd name="T30" fmla="*/ 119 w 467"/>
                  <a:gd name="T31" fmla="*/ 0 h 802"/>
                  <a:gd name="T32" fmla="*/ 110 w 467"/>
                  <a:gd name="T33" fmla="*/ 1 h 802"/>
                  <a:gd name="T34" fmla="*/ 82 w 467"/>
                  <a:gd name="T35" fmla="*/ 29 h 802"/>
                  <a:gd name="T36" fmla="*/ 6 w 467"/>
                  <a:gd name="T37" fmla="*/ 298 h 802"/>
                  <a:gd name="T38" fmla="*/ 33 w 467"/>
                  <a:gd name="T39" fmla="*/ 346 h 802"/>
                  <a:gd name="T40" fmla="*/ 81 w 467"/>
                  <a:gd name="T41" fmla="*/ 319 h 802"/>
                  <a:gd name="T42" fmla="*/ 148 w 467"/>
                  <a:gd name="T43" fmla="*/ 85 h 802"/>
                  <a:gd name="T44" fmla="*/ 157 w 467"/>
                  <a:gd name="T45" fmla="*/ 85 h 802"/>
                  <a:gd name="T46" fmla="*/ 157 w 467"/>
                  <a:gd name="T47" fmla="*/ 100 h 802"/>
                  <a:gd name="T48" fmla="*/ 40 w 467"/>
                  <a:gd name="T49" fmla="*/ 522 h 802"/>
                  <a:gd name="T50" fmla="*/ 157 w 467"/>
                  <a:gd name="T51" fmla="*/ 522 h 802"/>
                  <a:gd name="T52" fmla="*/ 157 w 467"/>
                  <a:gd name="T53" fmla="*/ 751 h 802"/>
                  <a:gd name="T54" fmla="*/ 201 w 467"/>
                  <a:gd name="T55" fmla="*/ 802 h 802"/>
                  <a:gd name="T56" fmla="*/ 244 w 467"/>
                  <a:gd name="T57" fmla="*/ 751 h 802"/>
                  <a:gd name="T58" fmla="*/ 244 w 467"/>
                  <a:gd name="T59" fmla="*/ 522 h 802"/>
                  <a:gd name="T60" fmla="*/ 256 w 467"/>
                  <a:gd name="T61" fmla="*/ 522 h 802"/>
                  <a:gd name="T62" fmla="*/ 263 w 467"/>
                  <a:gd name="T63" fmla="*/ 49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7" h="802">
                    <a:moveTo>
                      <a:pt x="263" y="493"/>
                    </a:moveTo>
                    <a:cubicBezTo>
                      <a:pt x="360" y="348"/>
                      <a:pt x="360" y="348"/>
                      <a:pt x="360" y="348"/>
                    </a:cubicBezTo>
                    <a:cubicBezTo>
                      <a:pt x="364" y="342"/>
                      <a:pt x="371" y="336"/>
                      <a:pt x="378" y="333"/>
                    </a:cubicBezTo>
                    <a:cubicBezTo>
                      <a:pt x="383" y="331"/>
                      <a:pt x="388" y="330"/>
                      <a:pt x="393" y="330"/>
                    </a:cubicBezTo>
                    <a:cubicBezTo>
                      <a:pt x="410" y="330"/>
                      <a:pt x="410" y="330"/>
                      <a:pt x="410" y="330"/>
                    </a:cubicBezTo>
                    <a:cubicBezTo>
                      <a:pt x="346" y="100"/>
                      <a:pt x="346" y="100"/>
                      <a:pt x="346" y="100"/>
                    </a:cubicBezTo>
                    <a:cubicBezTo>
                      <a:pt x="346" y="85"/>
                      <a:pt x="346" y="85"/>
                      <a:pt x="346" y="85"/>
                    </a:cubicBezTo>
                    <a:cubicBezTo>
                      <a:pt x="356" y="85"/>
                      <a:pt x="356" y="85"/>
                      <a:pt x="356" y="85"/>
                    </a:cubicBezTo>
                    <a:cubicBezTo>
                      <a:pt x="401" y="244"/>
                      <a:pt x="401" y="244"/>
                      <a:pt x="401" y="244"/>
                    </a:cubicBezTo>
                    <a:cubicBezTo>
                      <a:pt x="411" y="215"/>
                      <a:pt x="436" y="193"/>
                      <a:pt x="467" y="189"/>
                    </a:cubicBezTo>
                    <a:cubicBezTo>
                      <a:pt x="421" y="29"/>
                      <a:pt x="421" y="29"/>
                      <a:pt x="421" y="29"/>
                    </a:cubicBezTo>
                    <a:cubicBezTo>
                      <a:pt x="417" y="15"/>
                      <a:pt x="406" y="5"/>
                      <a:pt x="394" y="1"/>
                    </a:cubicBezTo>
                    <a:cubicBezTo>
                      <a:pt x="391" y="0"/>
                      <a:pt x="388" y="0"/>
                      <a:pt x="385" y="0"/>
                    </a:cubicBezTo>
                    <a:cubicBezTo>
                      <a:pt x="346" y="0"/>
                      <a:pt x="346" y="0"/>
                      <a:pt x="346" y="0"/>
                    </a:cubicBezTo>
                    <a:cubicBezTo>
                      <a:pt x="157" y="0"/>
                      <a:pt x="157" y="0"/>
                      <a:pt x="157" y="0"/>
                    </a:cubicBezTo>
                    <a:cubicBezTo>
                      <a:pt x="119" y="0"/>
                      <a:pt x="119" y="0"/>
                      <a:pt x="119" y="0"/>
                    </a:cubicBezTo>
                    <a:cubicBezTo>
                      <a:pt x="116" y="0"/>
                      <a:pt x="113" y="0"/>
                      <a:pt x="110" y="1"/>
                    </a:cubicBezTo>
                    <a:cubicBezTo>
                      <a:pt x="97" y="5"/>
                      <a:pt x="86" y="15"/>
                      <a:pt x="82" y="29"/>
                    </a:cubicBezTo>
                    <a:cubicBezTo>
                      <a:pt x="6" y="298"/>
                      <a:pt x="6" y="298"/>
                      <a:pt x="6" y="298"/>
                    </a:cubicBezTo>
                    <a:cubicBezTo>
                      <a:pt x="0" y="318"/>
                      <a:pt x="12" y="340"/>
                      <a:pt x="33" y="346"/>
                    </a:cubicBezTo>
                    <a:cubicBezTo>
                      <a:pt x="53" y="352"/>
                      <a:pt x="75" y="340"/>
                      <a:pt x="81" y="319"/>
                    </a:cubicBezTo>
                    <a:cubicBezTo>
                      <a:pt x="148" y="85"/>
                      <a:pt x="148" y="85"/>
                      <a:pt x="148" y="85"/>
                    </a:cubicBezTo>
                    <a:cubicBezTo>
                      <a:pt x="157" y="85"/>
                      <a:pt x="157" y="85"/>
                      <a:pt x="157" y="85"/>
                    </a:cubicBezTo>
                    <a:cubicBezTo>
                      <a:pt x="157" y="100"/>
                      <a:pt x="157" y="100"/>
                      <a:pt x="157" y="100"/>
                    </a:cubicBezTo>
                    <a:cubicBezTo>
                      <a:pt x="40" y="522"/>
                      <a:pt x="40" y="522"/>
                      <a:pt x="40" y="522"/>
                    </a:cubicBezTo>
                    <a:cubicBezTo>
                      <a:pt x="157" y="522"/>
                      <a:pt x="157" y="522"/>
                      <a:pt x="157" y="522"/>
                    </a:cubicBezTo>
                    <a:cubicBezTo>
                      <a:pt x="157" y="751"/>
                      <a:pt x="157" y="751"/>
                      <a:pt x="157" y="751"/>
                    </a:cubicBezTo>
                    <a:cubicBezTo>
                      <a:pt x="157" y="779"/>
                      <a:pt x="177" y="802"/>
                      <a:pt x="201" y="802"/>
                    </a:cubicBezTo>
                    <a:cubicBezTo>
                      <a:pt x="224" y="802"/>
                      <a:pt x="244" y="779"/>
                      <a:pt x="244" y="751"/>
                    </a:cubicBezTo>
                    <a:cubicBezTo>
                      <a:pt x="244" y="522"/>
                      <a:pt x="244" y="522"/>
                      <a:pt x="244" y="522"/>
                    </a:cubicBezTo>
                    <a:cubicBezTo>
                      <a:pt x="256" y="522"/>
                      <a:pt x="256" y="522"/>
                      <a:pt x="256" y="522"/>
                    </a:cubicBezTo>
                    <a:cubicBezTo>
                      <a:pt x="255" y="512"/>
                      <a:pt x="257" y="502"/>
                      <a:pt x="263" y="49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86" name="Freeform 43"/>
              <p:cNvSpPr>
                <a:spLocks/>
              </p:cNvSpPr>
              <p:nvPr/>
            </p:nvSpPr>
            <p:spPr bwMode="auto">
              <a:xfrm>
                <a:off x="1854988" y="3514712"/>
                <a:ext cx="52389" cy="163511"/>
              </a:xfrm>
              <a:custGeom>
                <a:avLst/>
                <a:gdLst>
                  <a:gd name="T0" fmla="*/ 50 w 86"/>
                  <a:gd name="T1" fmla="*/ 32 h 266"/>
                  <a:gd name="T2" fmla="*/ 20 w 86"/>
                  <a:gd name="T3" fmla="*/ 23 h 266"/>
                  <a:gd name="T4" fmla="*/ 0 w 86"/>
                  <a:gd name="T5" fmla="*/ 0 h 266"/>
                  <a:gd name="T6" fmla="*/ 0 w 86"/>
                  <a:gd name="T7" fmla="*/ 215 h 266"/>
                  <a:gd name="T8" fmla="*/ 43 w 86"/>
                  <a:gd name="T9" fmla="*/ 266 h 266"/>
                  <a:gd name="T10" fmla="*/ 86 w 86"/>
                  <a:gd name="T11" fmla="*/ 215 h 266"/>
                  <a:gd name="T12" fmla="*/ 86 w 86"/>
                  <a:gd name="T13" fmla="*/ 139 h 266"/>
                  <a:gd name="T14" fmla="*/ 67 w 86"/>
                  <a:gd name="T15" fmla="*/ 139 h 266"/>
                  <a:gd name="T16" fmla="*/ 86 w 86"/>
                  <a:gd name="T17" fmla="*/ 50 h 266"/>
                  <a:gd name="T18" fmla="*/ 86 w 86"/>
                  <a:gd name="T19" fmla="*/ 13 h 266"/>
                  <a:gd name="T20" fmla="*/ 50 w 86"/>
                  <a:gd name="T21" fmla="*/ 32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266">
                    <a:moveTo>
                      <a:pt x="50" y="32"/>
                    </a:moveTo>
                    <a:cubicBezTo>
                      <a:pt x="39" y="32"/>
                      <a:pt x="29" y="29"/>
                      <a:pt x="20" y="23"/>
                    </a:cubicBezTo>
                    <a:cubicBezTo>
                      <a:pt x="11" y="17"/>
                      <a:pt x="4" y="9"/>
                      <a:pt x="0" y="0"/>
                    </a:cubicBezTo>
                    <a:cubicBezTo>
                      <a:pt x="0" y="215"/>
                      <a:pt x="0" y="215"/>
                      <a:pt x="0" y="215"/>
                    </a:cubicBezTo>
                    <a:cubicBezTo>
                      <a:pt x="0" y="243"/>
                      <a:pt x="20" y="266"/>
                      <a:pt x="43" y="266"/>
                    </a:cubicBezTo>
                    <a:cubicBezTo>
                      <a:pt x="67" y="266"/>
                      <a:pt x="86" y="243"/>
                      <a:pt x="86" y="215"/>
                    </a:cubicBezTo>
                    <a:cubicBezTo>
                      <a:pt x="86" y="139"/>
                      <a:pt x="86" y="139"/>
                      <a:pt x="86" y="139"/>
                    </a:cubicBezTo>
                    <a:cubicBezTo>
                      <a:pt x="67" y="139"/>
                      <a:pt x="67" y="139"/>
                      <a:pt x="67" y="139"/>
                    </a:cubicBezTo>
                    <a:cubicBezTo>
                      <a:pt x="86" y="50"/>
                      <a:pt x="86" y="50"/>
                      <a:pt x="86" y="50"/>
                    </a:cubicBezTo>
                    <a:cubicBezTo>
                      <a:pt x="86" y="13"/>
                      <a:pt x="86" y="13"/>
                      <a:pt x="86" y="13"/>
                    </a:cubicBezTo>
                    <a:cubicBezTo>
                      <a:pt x="79" y="25"/>
                      <a:pt x="65" y="32"/>
                      <a:pt x="50" y="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87" name="Oval 44"/>
              <p:cNvSpPr>
                <a:spLocks noChangeArrowheads="1"/>
              </p:cNvSpPr>
              <p:nvPr/>
            </p:nvSpPr>
            <p:spPr bwMode="auto">
              <a:xfrm>
                <a:off x="1794668" y="3060699"/>
                <a:ext cx="109537" cy="109537"/>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2400" dirty="0"/>
              </a:p>
            </p:txBody>
          </p:sp>
        </p:grpSp>
        <p:sp>
          <p:nvSpPr>
            <p:cNvPr id="77" name="Freeform 6"/>
            <p:cNvSpPr>
              <a:spLocks noEditPoints="1"/>
            </p:cNvSpPr>
            <p:nvPr userDrawn="1"/>
          </p:nvSpPr>
          <p:spPr bwMode="auto">
            <a:xfrm>
              <a:off x="4795076" y="2042524"/>
              <a:ext cx="353226" cy="443453"/>
            </a:xfrm>
            <a:custGeom>
              <a:avLst/>
              <a:gdLst>
                <a:gd name="T0" fmla="*/ 318 w 817"/>
                <a:gd name="T1" fmla="*/ 192 h 1026"/>
                <a:gd name="T2" fmla="*/ 264 w 817"/>
                <a:gd name="T3" fmla="*/ 125 h 1026"/>
                <a:gd name="T4" fmla="*/ 313 w 817"/>
                <a:gd name="T5" fmla="*/ 79 h 1026"/>
                <a:gd name="T6" fmla="*/ 519 w 817"/>
                <a:gd name="T7" fmla="*/ 102 h 1026"/>
                <a:gd name="T8" fmla="*/ 576 w 817"/>
                <a:gd name="T9" fmla="*/ 169 h 1026"/>
                <a:gd name="T10" fmla="*/ 314 w 817"/>
                <a:gd name="T11" fmla="*/ 111 h 1026"/>
                <a:gd name="T12" fmla="*/ 295 w 817"/>
                <a:gd name="T13" fmla="*/ 131 h 1026"/>
                <a:gd name="T14" fmla="*/ 361 w 817"/>
                <a:gd name="T15" fmla="*/ 175 h 1026"/>
                <a:gd name="T16" fmla="*/ 456 w 817"/>
                <a:gd name="T17" fmla="*/ 205 h 1026"/>
                <a:gd name="T18" fmla="*/ 792 w 817"/>
                <a:gd name="T19" fmla="*/ 225 h 1026"/>
                <a:gd name="T20" fmla="*/ 791 w 817"/>
                <a:gd name="T21" fmla="*/ 66 h 1026"/>
                <a:gd name="T22" fmla="*/ 707 w 817"/>
                <a:gd name="T23" fmla="*/ 90 h 1026"/>
                <a:gd name="T24" fmla="*/ 657 w 817"/>
                <a:gd name="T25" fmla="*/ 80 h 1026"/>
                <a:gd name="T26" fmla="*/ 420 w 817"/>
                <a:gd name="T27" fmla="*/ 2 h 1026"/>
                <a:gd name="T28" fmla="*/ 374 w 817"/>
                <a:gd name="T29" fmla="*/ 5 h 1026"/>
                <a:gd name="T30" fmla="*/ 51 w 817"/>
                <a:gd name="T31" fmla="*/ 155 h 1026"/>
                <a:gd name="T32" fmla="*/ 85 w 817"/>
                <a:gd name="T33" fmla="*/ 217 h 1026"/>
                <a:gd name="T34" fmla="*/ 113 w 817"/>
                <a:gd name="T35" fmla="*/ 206 h 1026"/>
                <a:gd name="T36" fmla="*/ 159 w 817"/>
                <a:gd name="T37" fmla="*/ 226 h 1026"/>
                <a:gd name="T38" fmla="*/ 178 w 817"/>
                <a:gd name="T39" fmla="*/ 218 h 1026"/>
                <a:gd name="T40" fmla="*/ 238 w 817"/>
                <a:gd name="T41" fmla="*/ 234 h 1026"/>
                <a:gd name="T42" fmla="*/ 318 w 817"/>
                <a:gd name="T43" fmla="*/ 192 h 1026"/>
                <a:gd name="T44" fmla="*/ 499 w 817"/>
                <a:gd name="T45" fmla="*/ 833 h 1026"/>
                <a:gd name="T46" fmla="*/ 553 w 817"/>
                <a:gd name="T47" fmla="*/ 900 h 1026"/>
                <a:gd name="T48" fmla="*/ 504 w 817"/>
                <a:gd name="T49" fmla="*/ 946 h 1026"/>
                <a:gd name="T50" fmla="*/ 298 w 817"/>
                <a:gd name="T51" fmla="*/ 924 h 1026"/>
                <a:gd name="T52" fmla="*/ 241 w 817"/>
                <a:gd name="T53" fmla="*/ 856 h 1026"/>
                <a:gd name="T54" fmla="*/ 503 w 817"/>
                <a:gd name="T55" fmla="*/ 915 h 1026"/>
                <a:gd name="T56" fmla="*/ 523 w 817"/>
                <a:gd name="T57" fmla="*/ 895 h 1026"/>
                <a:gd name="T58" fmla="*/ 457 w 817"/>
                <a:gd name="T59" fmla="*/ 851 h 1026"/>
                <a:gd name="T60" fmla="*/ 361 w 817"/>
                <a:gd name="T61" fmla="*/ 821 h 1026"/>
                <a:gd name="T62" fmla="*/ 24 w 817"/>
                <a:gd name="T63" fmla="*/ 800 h 1026"/>
                <a:gd name="T64" fmla="*/ 24 w 817"/>
                <a:gd name="T65" fmla="*/ 959 h 1026"/>
                <a:gd name="T66" fmla="*/ 110 w 817"/>
                <a:gd name="T67" fmla="*/ 936 h 1026"/>
                <a:gd name="T68" fmla="*/ 160 w 817"/>
                <a:gd name="T69" fmla="*/ 945 h 1026"/>
                <a:gd name="T70" fmla="*/ 397 w 817"/>
                <a:gd name="T71" fmla="*/ 1023 h 1026"/>
                <a:gd name="T72" fmla="*/ 443 w 817"/>
                <a:gd name="T73" fmla="*/ 1020 h 1026"/>
                <a:gd name="T74" fmla="*/ 767 w 817"/>
                <a:gd name="T75" fmla="*/ 870 h 1026"/>
                <a:gd name="T76" fmla="*/ 732 w 817"/>
                <a:gd name="T77" fmla="*/ 809 h 1026"/>
                <a:gd name="T78" fmla="*/ 704 w 817"/>
                <a:gd name="T79" fmla="*/ 820 h 1026"/>
                <a:gd name="T80" fmla="*/ 658 w 817"/>
                <a:gd name="T81" fmla="*/ 800 h 1026"/>
                <a:gd name="T82" fmla="*/ 639 w 817"/>
                <a:gd name="T83" fmla="*/ 808 h 1026"/>
                <a:gd name="T84" fmla="*/ 579 w 817"/>
                <a:gd name="T85" fmla="*/ 792 h 1026"/>
                <a:gd name="T86" fmla="*/ 499 w 817"/>
                <a:gd name="T87" fmla="*/ 833 h 1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17" h="1026">
                  <a:moveTo>
                    <a:pt x="318" y="192"/>
                  </a:moveTo>
                  <a:cubicBezTo>
                    <a:pt x="287" y="183"/>
                    <a:pt x="257" y="163"/>
                    <a:pt x="264" y="125"/>
                  </a:cubicBezTo>
                  <a:cubicBezTo>
                    <a:pt x="268" y="101"/>
                    <a:pt x="287" y="80"/>
                    <a:pt x="313" y="79"/>
                  </a:cubicBezTo>
                  <a:cubicBezTo>
                    <a:pt x="414" y="77"/>
                    <a:pt x="456" y="72"/>
                    <a:pt x="519" y="102"/>
                  </a:cubicBezTo>
                  <a:cubicBezTo>
                    <a:pt x="548" y="115"/>
                    <a:pt x="564" y="141"/>
                    <a:pt x="576" y="169"/>
                  </a:cubicBezTo>
                  <a:cubicBezTo>
                    <a:pt x="465" y="100"/>
                    <a:pt x="441" y="108"/>
                    <a:pt x="314" y="111"/>
                  </a:cubicBezTo>
                  <a:cubicBezTo>
                    <a:pt x="305" y="111"/>
                    <a:pt x="295" y="118"/>
                    <a:pt x="295" y="131"/>
                  </a:cubicBezTo>
                  <a:cubicBezTo>
                    <a:pt x="294" y="161"/>
                    <a:pt x="318" y="167"/>
                    <a:pt x="361" y="175"/>
                  </a:cubicBezTo>
                  <a:cubicBezTo>
                    <a:pt x="397" y="181"/>
                    <a:pt x="429" y="180"/>
                    <a:pt x="456" y="205"/>
                  </a:cubicBezTo>
                  <a:cubicBezTo>
                    <a:pt x="564" y="302"/>
                    <a:pt x="657" y="305"/>
                    <a:pt x="792" y="225"/>
                  </a:cubicBezTo>
                  <a:cubicBezTo>
                    <a:pt x="791" y="66"/>
                    <a:pt x="791" y="66"/>
                    <a:pt x="791" y="66"/>
                  </a:cubicBezTo>
                  <a:cubicBezTo>
                    <a:pt x="767" y="72"/>
                    <a:pt x="732" y="83"/>
                    <a:pt x="707" y="90"/>
                  </a:cubicBezTo>
                  <a:cubicBezTo>
                    <a:pt x="689" y="94"/>
                    <a:pt x="673" y="89"/>
                    <a:pt x="657" y="80"/>
                  </a:cubicBezTo>
                  <a:cubicBezTo>
                    <a:pt x="548" y="22"/>
                    <a:pt x="542" y="23"/>
                    <a:pt x="420" y="2"/>
                  </a:cubicBezTo>
                  <a:cubicBezTo>
                    <a:pt x="404" y="0"/>
                    <a:pt x="389" y="0"/>
                    <a:pt x="374" y="5"/>
                  </a:cubicBezTo>
                  <a:cubicBezTo>
                    <a:pt x="219" y="53"/>
                    <a:pt x="206" y="58"/>
                    <a:pt x="51" y="155"/>
                  </a:cubicBezTo>
                  <a:cubicBezTo>
                    <a:pt x="0" y="187"/>
                    <a:pt x="31" y="239"/>
                    <a:pt x="85" y="217"/>
                  </a:cubicBezTo>
                  <a:cubicBezTo>
                    <a:pt x="94" y="213"/>
                    <a:pt x="104" y="209"/>
                    <a:pt x="113" y="206"/>
                  </a:cubicBezTo>
                  <a:cubicBezTo>
                    <a:pt x="108" y="223"/>
                    <a:pt x="134" y="235"/>
                    <a:pt x="159" y="226"/>
                  </a:cubicBezTo>
                  <a:cubicBezTo>
                    <a:pt x="165" y="224"/>
                    <a:pt x="171" y="221"/>
                    <a:pt x="178" y="218"/>
                  </a:cubicBezTo>
                  <a:cubicBezTo>
                    <a:pt x="176" y="237"/>
                    <a:pt x="202" y="249"/>
                    <a:pt x="238" y="234"/>
                  </a:cubicBezTo>
                  <a:cubicBezTo>
                    <a:pt x="247" y="230"/>
                    <a:pt x="300" y="201"/>
                    <a:pt x="318" y="192"/>
                  </a:cubicBezTo>
                  <a:close/>
                  <a:moveTo>
                    <a:pt x="499" y="833"/>
                  </a:moveTo>
                  <a:cubicBezTo>
                    <a:pt x="530" y="842"/>
                    <a:pt x="560" y="863"/>
                    <a:pt x="553" y="900"/>
                  </a:cubicBezTo>
                  <a:cubicBezTo>
                    <a:pt x="549" y="925"/>
                    <a:pt x="530" y="945"/>
                    <a:pt x="504" y="946"/>
                  </a:cubicBezTo>
                  <a:cubicBezTo>
                    <a:pt x="403" y="949"/>
                    <a:pt x="362" y="953"/>
                    <a:pt x="298" y="924"/>
                  </a:cubicBezTo>
                  <a:cubicBezTo>
                    <a:pt x="270" y="911"/>
                    <a:pt x="253" y="884"/>
                    <a:pt x="241" y="856"/>
                  </a:cubicBezTo>
                  <a:cubicBezTo>
                    <a:pt x="352" y="926"/>
                    <a:pt x="376" y="918"/>
                    <a:pt x="503" y="915"/>
                  </a:cubicBezTo>
                  <a:cubicBezTo>
                    <a:pt x="512" y="915"/>
                    <a:pt x="522" y="908"/>
                    <a:pt x="523" y="895"/>
                  </a:cubicBezTo>
                  <a:cubicBezTo>
                    <a:pt x="523" y="864"/>
                    <a:pt x="500" y="859"/>
                    <a:pt x="457" y="851"/>
                  </a:cubicBezTo>
                  <a:cubicBezTo>
                    <a:pt x="420" y="844"/>
                    <a:pt x="389" y="845"/>
                    <a:pt x="361" y="821"/>
                  </a:cubicBezTo>
                  <a:cubicBezTo>
                    <a:pt x="254" y="724"/>
                    <a:pt x="158" y="720"/>
                    <a:pt x="24" y="800"/>
                  </a:cubicBezTo>
                  <a:cubicBezTo>
                    <a:pt x="24" y="959"/>
                    <a:pt x="24" y="959"/>
                    <a:pt x="24" y="959"/>
                  </a:cubicBezTo>
                  <a:cubicBezTo>
                    <a:pt x="49" y="953"/>
                    <a:pt x="85" y="942"/>
                    <a:pt x="110" y="936"/>
                  </a:cubicBezTo>
                  <a:cubicBezTo>
                    <a:pt x="128" y="931"/>
                    <a:pt x="144" y="936"/>
                    <a:pt x="160" y="945"/>
                  </a:cubicBezTo>
                  <a:cubicBezTo>
                    <a:pt x="269" y="1003"/>
                    <a:pt x="275" y="1002"/>
                    <a:pt x="397" y="1023"/>
                  </a:cubicBezTo>
                  <a:cubicBezTo>
                    <a:pt x="414" y="1026"/>
                    <a:pt x="428" y="1025"/>
                    <a:pt x="443" y="1020"/>
                  </a:cubicBezTo>
                  <a:cubicBezTo>
                    <a:pt x="598" y="973"/>
                    <a:pt x="611" y="968"/>
                    <a:pt x="767" y="870"/>
                  </a:cubicBezTo>
                  <a:cubicBezTo>
                    <a:pt x="817" y="838"/>
                    <a:pt x="786" y="786"/>
                    <a:pt x="732" y="809"/>
                  </a:cubicBezTo>
                  <a:cubicBezTo>
                    <a:pt x="723" y="812"/>
                    <a:pt x="713" y="816"/>
                    <a:pt x="704" y="820"/>
                  </a:cubicBezTo>
                  <a:cubicBezTo>
                    <a:pt x="709" y="802"/>
                    <a:pt x="683" y="790"/>
                    <a:pt x="658" y="800"/>
                  </a:cubicBezTo>
                  <a:cubicBezTo>
                    <a:pt x="652" y="802"/>
                    <a:pt x="646" y="804"/>
                    <a:pt x="639" y="808"/>
                  </a:cubicBezTo>
                  <a:cubicBezTo>
                    <a:pt x="641" y="789"/>
                    <a:pt x="616" y="777"/>
                    <a:pt x="579" y="792"/>
                  </a:cubicBezTo>
                  <a:cubicBezTo>
                    <a:pt x="571" y="795"/>
                    <a:pt x="517" y="825"/>
                    <a:pt x="499" y="833"/>
                  </a:cubicBezTo>
                  <a:close/>
                </a:path>
              </a:pathLst>
            </a:custGeom>
            <a:solidFill>
              <a:schemeClr val="bg1"/>
            </a:solidFill>
            <a:ln w="285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400" dirty="0"/>
            </a:p>
          </p:txBody>
        </p:sp>
        <p:sp>
          <p:nvSpPr>
            <p:cNvPr id="88" name="Freeform 6"/>
            <p:cNvSpPr>
              <a:spLocks noEditPoints="1"/>
            </p:cNvSpPr>
            <p:nvPr userDrawn="1"/>
          </p:nvSpPr>
          <p:spPr bwMode="auto">
            <a:xfrm>
              <a:off x="4795076" y="2042524"/>
              <a:ext cx="353226" cy="443453"/>
            </a:xfrm>
            <a:custGeom>
              <a:avLst/>
              <a:gdLst>
                <a:gd name="T0" fmla="*/ 318 w 817"/>
                <a:gd name="T1" fmla="*/ 192 h 1026"/>
                <a:gd name="T2" fmla="*/ 264 w 817"/>
                <a:gd name="T3" fmla="*/ 125 h 1026"/>
                <a:gd name="T4" fmla="*/ 313 w 817"/>
                <a:gd name="T5" fmla="*/ 79 h 1026"/>
                <a:gd name="T6" fmla="*/ 519 w 817"/>
                <a:gd name="T7" fmla="*/ 102 h 1026"/>
                <a:gd name="T8" fmla="*/ 576 w 817"/>
                <a:gd name="T9" fmla="*/ 169 h 1026"/>
                <a:gd name="T10" fmla="*/ 314 w 817"/>
                <a:gd name="T11" fmla="*/ 111 h 1026"/>
                <a:gd name="T12" fmla="*/ 295 w 817"/>
                <a:gd name="T13" fmla="*/ 131 h 1026"/>
                <a:gd name="T14" fmla="*/ 361 w 817"/>
                <a:gd name="T15" fmla="*/ 175 h 1026"/>
                <a:gd name="T16" fmla="*/ 456 w 817"/>
                <a:gd name="T17" fmla="*/ 205 h 1026"/>
                <a:gd name="T18" fmla="*/ 792 w 817"/>
                <a:gd name="T19" fmla="*/ 225 h 1026"/>
                <a:gd name="T20" fmla="*/ 791 w 817"/>
                <a:gd name="T21" fmla="*/ 66 h 1026"/>
                <a:gd name="T22" fmla="*/ 707 w 817"/>
                <a:gd name="T23" fmla="*/ 90 h 1026"/>
                <a:gd name="T24" fmla="*/ 657 w 817"/>
                <a:gd name="T25" fmla="*/ 80 h 1026"/>
                <a:gd name="T26" fmla="*/ 420 w 817"/>
                <a:gd name="T27" fmla="*/ 2 h 1026"/>
                <a:gd name="T28" fmla="*/ 374 w 817"/>
                <a:gd name="T29" fmla="*/ 5 h 1026"/>
                <a:gd name="T30" fmla="*/ 51 w 817"/>
                <a:gd name="T31" fmla="*/ 155 h 1026"/>
                <a:gd name="T32" fmla="*/ 85 w 817"/>
                <a:gd name="T33" fmla="*/ 217 h 1026"/>
                <a:gd name="T34" fmla="*/ 113 w 817"/>
                <a:gd name="T35" fmla="*/ 206 h 1026"/>
                <a:gd name="T36" fmla="*/ 159 w 817"/>
                <a:gd name="T37" fmla="*/ 226 h 1026"/>
                <a:gd name="T38" fmla="*/ 178 w 817"/>
                <a:gd name="T39" fmla="*/ 218 h 1026"/>
                <a:gd name="T40" fmla="*/ 238 w 817"/>
                <a:gd name="T41" fmla="*/ 234 h 1026"/>
                <a:gd name="T42" fmla="*/ 318 w 817"/>
                <a:gd name="T43" fmla="*/ 192 h 1026"/>
                <a:gd name="T44" fmla="*/ 499 w 817"/>
                <a:gd name="T45" fmla="*/ 833 h 1026"/>
                <a:gd name="T46" fmla="*/ 553 w 817"/>
                <a:gd name="T47" fmla="*/ 900 h 1026"/>
                <a:gd name="T48" fmla="*/ 504 w 817"/>
                <a:gd name="T49" fmla="*/ 946 h 1026"/>
                <a:gd name="T50" fmla="*/ 298 w 817"/>
                <a:gd name="T51" fmla="*/ 924 h 1026"/>
                <a:gd name="T52" fmla="*/ 241 w 817"/>
                <a:gd name="T53" fmla="*/ 856 h 1026"/>
                <a:gd name="T54" fmla="*/ 503 w 817"/>
                <a:gd name="T55" fmla="*/ 915 h 1026"/>
                <a:gd name="T56" fmla="*/ 523 w 817"/>
                <a:gd name="T57" fmla="*/ 895 h 1026"/>
                <a:gd name="T58" fmla="*/ 457 w 817"/>
                <a:gd name="T59" fmla="*/ 851 h 1026"/>
                <a:gd name="T60" fmla="*/ 361 w 817"/>
                <a:gd name="T61" fmla="*/ 821 h 1026"/>
                <a:gd name="T62" fmla="*/ 24 w 817"/>
                <a:gd name="T63" fmla="*/ 800 h 1026"/>
                <a:gd name="T64" fmla="*/ 24 w 817"/>
                <a:gd name="T65" fmla="*/ 959 h 1026"/>
                <a:gd name="T66" fmla="*/ 110 w 817"/>
                <a:gd name="T67" fmla="*/ 936 h 1026"/>
                <a:gd name="T68" fmla="*/ 160 w 817"/>
                <a:gd name="T69" fmla="*/ 945 h 1026"/>
                <a:gd name="T70" fmla="*/ 397 w 817"/>
                <a:gd name="T71" fmla="*/ 1023 h 1026"/>
                <a:gd name="T72" fmla="*/ 443 w 817"/>
                <a:gd name="T73" fmla="*/ 1020 h 1026"/>
                <a:gd name="T74" fmla="*/ 767 w 817"/>
                <a:gd name="T75" fmla="*/ 870 h 1026"/>
                <a:gd name="T76" fmla="*/ 732 w 817"/>
                <a:gd name="T77" fmla="*/ 809 h 1026"/>
                <a:gd name="T78" fmla="*/ 704 w 817"/>
                <a:gd name="T79" fmla="*/ 820 h 1026"/>
                <a:gd name="T80" fmla="*/ 658 w 817"/>
                <a:gd name="T81" fmla="*/ 800 h 1026"/>
                <a:gd name="T82" fmla="*/ 639 w 817"/>
                <a:gd name="T83" fmla="*/ 808 h 1026"/>
                <a:gd name="T84" fmla="*/ 579 w 817"/>
                <a:gd name="T85" fmla="*/ 792 h 1026"/>
                <a:gd name="T86" fmla="*/ 499 w 817"/>
                <a:gd name="T87" fmla="*/ 833 h 1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17" h="1026">
                  <a:moveTo>
                    <a:pt x="318" y="192"/>
                  </a:moveTo>
                  <a:cubicBezTo>
                    <a:pt x="287" y="183"/>
                    <a:pt x="257" y="163"/>
                    <a:pt x="264" y="125"/>
                  </a:cubicBezTo>
                  <a:cubicBezTo>
                    <a:pt x="268" y="101"/>
                    <a:pt x="287" y="80"/>
                    <a:pt x="313" y="79"/>
                  </a:cubicBezTo>
                  <a:cubicBezTo>
                    <a:pt x="414" y="77"/>
                    <a:pt x="456" y="72"/>
                    <a:pt x="519" y="102"/>
                  </a:cubicBezTo>
                  <a:cubicBezTo>
                    <a:pt x="548" y="115"/>
                    <a:pt x="564" y="141"/>
                    <a:pt x="576" y="169"/>
                  </a:cubicBezTo>
                  <a:cubicBezTo>
                    <a:pt x="465" y="100"/>
                    <a:pt x="441" y="108"/>
                    <a:pt x="314" y="111"/>
                  </a:cubicBezTo>
                  <a:cubicBezTo>
                    <a:pt x="305" y="111"/>
                    <a:pt x="295" y="118"/>
                    <a:pt x="295" y="131"/>
                  </a:cubicBezTo>
                  <a:cubicBezTo>
                    <a:pt x="294" y="161"/>
                    <a:pt x="318" y="167"/>
                    <a:pt x="361" y="175"/>
                  </a:cubicBezTo>
                  <a:cubicBezTo>
                    <a:pt x="397" y="181"/>
                    <a:pt x="429" y="180"/>
                    <a:pt x="456" y="205"/>
                  </a:cubicBezTo>
                  <a:cubicBezTo>
                    <a:pt x="564" y="302"/>
                    <a:pt x="657" y="305"/>
                    <a:pt x="792" y="225"/>
                  </a:cubicBezTo>
                  <a:cubicBezTo>
                    <a:pt x="791" y="66"/>
                    <a:pt x="791" y="66"/>
                    <a:pt x="791" y="66"/>
                  </a:cubicBezTo>
                  <a:cubicBezTo>
                    <a:pt x="767" y="72"/>
                    <a:pt x="732" y="83"/>
                    <a:pt x="707" y="90"/>
                  </a:cubicBezTo>
                  <a:cubicBezTo>
                    <a:pt x="689" y="94"/>
                    <a:pt x="673" y="89"/>
                    <a:pt x="657" y="80"/>
                  </a:cubicBezTo>
                  <a:cubicBezTo>
                    <a:pt x="548" y="22"/>
                    <a:pt x="542" y="23"/>
                    <a:pt x="420" y="2"/>
                  </a:cubicBezTo>
                  <a:cubicBezTo>
                    <a:pt x="404" y="0"/>
                    <a:pt x="389" y="0"/>
                    <a:pt x="374" y="5"/>
                  </a:cubicBezTo>
                  <a:cubicBezTo>
                    <a:pt x="219" y="53"/>
                    <a:pt x="206" y="58"/>
                    <a:pt x="51" y="155"/>
                  </a:cubicBezTo>
                  <a:cubicBezTo>
                    <a:pt x="0" y="187"/>
                    <a:pt x="31" y="239"/>
                    <a:pt x="85" y="217"/>
                  </a:cubicBezTo>
                  <a:cubicBezTo>
                    <a:pt x="94" y="213"/>
                    <a:pt x="104" y="209"/>
                    <a:pt x="113" y="206"/>
                  </a:cubicBezTo>
                  <a:cubicBezTo>
                    <a:pt x="108" y="223"/>
                    <a:pt x="134" y="235"/>
                    <a:pt x="159" y="226"/>
                  </a:cubicBezTo>
                  <a:cubicBezTo>
                    <a:pt x="165" y="224"/>
                    <a:pt x="171" y="221"/>
                    <a:pt x="178" y="218"/>
                  </a:cubicBezTo>
                  <a:cubicBezTo>
                    <a:pt x="176" y="237"/>
                    <a:pt x="202" y="249"/>
                    <a:pt x="238" y="234"/>
                  </a:cubicBezTo>
                  <a:cubicBezTo>
                    <a:pt x="247" y="230"/>
                    <a:pt x="300" y="201"/>
                    <a:pt x="318" y="192"/>
                  </a:cubicBezTo>
                  <a:close/>
                  <a:moveTo>
                    <a:pt x="499" y="833"/>
                  </a:moveTo>
                  <a:cubicBezTo>
                    <a:pt x="530" y="842"/>
                    <a:pt x="560" y="863"/>
                    <a:pt x="553" y="900"/>
                  </a:cubicBezTo>
                  <a:cubicBezTo>
                    <a:pt x="549" y="925"/>
                    <a:pt x="530" y="945"/>
                    <a:pt x="504" y="946"/>
                  </a:cubicBezTo>
                  <a:cubicBezTo>
                    <a:pt x="403" y="949"/>
                    <a:pt x="362" y="953"/>
                    <a:pt x="298" y="924"/>
                  </a:cubicBezTo>
                  <a:cubicBezTo>
                    <a:pt x="270" y="911"/>
                    <a:pt x="253" y="884"/>
                    <a:pt x="241" y="856"/>
                  </a:cubicBezTo>
                  <a:cubicBezTo>
                    <a:pt x="352" y="926"/>
                    <a:pt x="376" y="918"/>
                    <a:pt x="503" y="915"/>
                  </a:cubicBezTo>
                  <a:cubicBezTo>
                    <a:pt x="512" y="915"/>
                    <a:pt x="522" y="908"/>
                    <a:pt x="523" y="895"/>
                  </a:cubicBezTo>
                  <a:cubicBezTo>
                    <a:pt x="523" y="864"/>
                    <a:pt x="500" y="859"/>
                    <a:pt x="457" y="851"/>
                  </a:cubicBezTo>
                  <a:cubicBezTo>
                    <a:pt x="420" y="844"/>
                    <a:pt x="389" y="845"/>
                    <a:pt x="361" y="821"/>
                  </a:cubicBezTo>
                  <a:cubicBezTo>
                    <a:pt x="254" y="724"/>
                    <a:pt x="158" y="720"/>
                    <a:pt x="24" y="800"/>
                  </a:cubicBezTo>
                  <a:cubicBezTo>
                    <a:pt x="24" y="959"/>
                    <a:pt x="24" y="959"/>
                    <a:pt x="24" y="959"/>
                  </a:cubicBezTo>
                  <a:cubicBezTo>
                    <a:pt x="49" y="953"/>
                    <a:pt x="85" y="942"/>
                    <a:pt x="110" y="936"/>
                  </a:cubicBezTo>
                  <a:cubicBezTo>
                    <a:pt x="128" y="931"/>
                    <a:pt x="144" y="936"/>
                    <a:pt x="160" y="945"/>
                  </a:cubicBezTo>
                  <a:cubicBezTo>
                    <a:pt x="269" y="1003"/>
                    <a:pt x="275" y="1002"/>
                    <a:pt x="397" y="1023"/>
                  </a:cubicBezTo>
                  <a:cubicBezTo>
                    <a:pt x="414" y="1026"/>
                    <a:pt x="428" y="1025"/>
                    <a:pt x="443" y="1020"/>
                  </a:cubicBezTo>
                  <a:cubicBezTo>
                    <a:pt x="598" y="973"/>
                    <a:pt x="611" y="968"/>
                    <a:pt x="767" y="870"/>
                  </a:cubicBezTo>
                  <a:cubicBezTo>
                    <a:pt x="817" y="838"/>
                    <a:pt x="786" y="786"/>
                    <a:pt x="732" y="809"/>
                  </a:cubicBezTo>
                  <a:cubicBezTo>
                    <a:pt x="723" y="812"/>
                    <a:pt x="713" y="816"/>
                    <a:pt x="704" y="820"/>
                  </a:cubicBezTo>
                  <a:cubicBezTo>
                    <a:pt x="709" y="802"/>
                    <a:pt x="683" y="790"/>
                    <a:pt x="658" y="800"/>
                  </a:cubicBezTo>
                  <a:cubicBezTo>
                    <a:pt x="652" y="802"/>
                    <a:pt x="646" y="804"/>
                    <a:pt x="639" y="808"/>
                  </a:cubicBezTo>
                  <a:cubicBezTo>
                    <a:pt x="641" y="789"/>
                    <a:pt x="616" y="777"/>
                    <a:pt x="579" y="792"/>
                  </a:cubicBezTo>
                  <a:cubicBezTo>
                    <a:pt x="571" y="795"/>
                    <a:pt x="517" y="825"/>
                    <a:pt x="499" y="8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nvGrpSpPr>
            <p:cNvPr id="111" name="Group 110"/>
            <p:cNvGrpSpPr/>
            <p:nvPr userDrawn="1"/>
          </p:nvGrpSpPr>
          <p:grpSpPr>
            <a:xfrm>
              <a:off x="5434346" y="2092355"/>
              <a:ext cx="2728020" cy="392112"/>
              <a:chOff x="4437292" y="1911988"/>
              <a:chExt cx="2728020" cy="540140"/>
            </a:xfrm>
            <a:solidFill>
              <a:schemeClr val="bg1"/>
            </a:solidFill>
          </p:grpSpPr>
          <p:cxnSp>
            <p:nvCxnSpPr>
              <p:cNvPr id="105" name="Straight Connector 104"/>
              <p:cNvCxnSpPr/>
              <p:nvPr userDrawn="1"/>
            </p:nvCxnSpPr>
            <p:spPr>
              <a:xfrm>
                <a:off x="4437292" y="1911988"/>
                <a:ext cx="0" cy="540140"/>
              </a:xfrm>
              <a:prstGeom prst="line">
                <a:avLst/>
              </a:prstGeom>
              <a:grpFill/>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userDrawn="1"/>
            </p:nvCxnSpPr>
            <p:spPr>
              <a:xfrm>
                <a:off x="5341781" y="1911988"/>
                <a:ext cx="0" cy="540140"/>
              </a:xfrm>
              <a:prstGeom prst="line">
                <a:avLst/>
              </a:prstGeom>
              <a:grpFill/>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userDrawn="1"/>
            </p:nvCxnSpPr>
            <p:spPr>
              <a:xfrm>
                <a:off x="6266541" y="1911988"/>
                <a:ext cx="0" cy="540140"/>
              </a:xfrm>
              <a:prstGeom prst="line">
                <a:avLst/>
              </a:prstGeom>
              <a:grpFill/>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userDrawn="1"/>
            </p:nvCxnSpPr>
            <p:spPr>
              <a:xfrm>
                <a:off x="7165312" y="1911988"/>
                <a:ext cx="0" cy="540140"/>
              </a:xfrm>
              <a:prstGeom prst="line">
                <a:avLst/>
              </a:prstGeom>
              <a:grpFill/>
              <a:ln w="19050">
                <a:solidFill>
                  <a:schemeClr val="accent4"/>
                </a:solidFill>
              </a:ln>
            </p:spPr>
            <p:style>
              <a:lnRef idx="1">
                <a:schemeClr val="accent1"/>
              </a:lnRef>
              <a:fillRef idx="0">
                <a:schemeClr val="accent1"/>
              </a:fillRef>
              <a:effectRef idx="0">
                <a:schemeClr val="accent1"/>
              </a:effectRef>
              <a:fontRef idx="minor">
                <a:schemeClr val="tx1"/>
              </a:fontRef>
            </p:style>
          </p:cxnSp>
        </p:grpSp>
      </p:grpSp>
      <p:sp>
        <p:nvSpPr>
          <p:cNvPr id="61" name="Text Placeholder 6"/>
          <p:cNvSpPr>
            <a:spLocks noGrp="1"/>
          </p:cNvSpPr>
          <p:nvPr userDrawn="1">
            <p:ph type="body" sz="quarter" idx="12" hasCustomPrompt="1"/>
          </p:nvPr>
        </p:nvSpPr>
        <p:spPr>
          <a:xfrm>
            <a:off x="1125416" y="5776648"/>
            <a:ext cx="10445704" cy="332117"/>
          </a:xfrm>
          <a:prstGeom prst="rect">
            <a:avLst/>
          </a:prstGeom>
        </p:spPr>
        <p:txBody>
          <a:bodyPr lIns="0" tIns="0" rIns="0" bIns="0" anchor="ctr" anchorCtr="0">
            <a:noAutofit/>
          </a:bodyPr>
          <a:lstStyle>
            <a:lvl1pPr marL="0" indent="0">
              <a:buNone/>
              <a:defRPr sz="1600">
                <a:solidFill>
                  <a:schemeClr val="tx2"/>
                </a:solidFill>
              </a:defRPr>
            </a:lvl1pPr>
            <a:lvl5pPr marL="2438339" indent="0">
              <a:buNone/>
              <a:defRPr/>
            </a:lvl5pPr>
          </a:lstStyle>
          <a:p>
            <a:pPr lvl="0"/>
            <a:r>
              <a:rPr lang="en-US" dirty="0"/>
              <a:t>Date</a:t>
            </a:r>
          </a:p>
        </p:txBody>
      </p:sp>
      <p:sp>
        <p:nvSpPr>
          <p:cNvPr id="7" name="Text Placeholder 6"/>
          <p:cNvSpPr>
            <a:spLocks noGrp="1"/>
          </p:cNvSpPr>
          <p:nvPr>
            <p:ph type="body" sz="quarter" idx="13" hasCustomPrompt="1"/>
          </p:nvPr>
        </p:nvSpPr>
        <p:spPr>
          <a:xfrm>
            <a:off x="1138815" y="6584148"/>
            <a:ext cx="10445704" cy="119337"/>
          </a:xfrm>
        </p:spPr>
        <p:txBody>
          <a:bodyPr rIns="0"/>
          <a:lstStyle>
            <a:lvl1pPr marL="0" indent="0">
              <a:buNone/>
              <a:defRPr lang="en-US" sz="1067" kern="1200" dirty="0">
                <a:solidFill>
                  <a:srgbClr val="000000"/>
                </a:solidFill>
              </a:defRPr>
            </a:lvl1pPr>
          </a:lstStyle>
          <a:p>
            <a:pPr algn="r"/>
            <a:r>
              <a:rPr lang="en-US" sz="933" kern="1200" dirty="0">
                <a:solidFill>
                  <a:srgbClr val="000000"/>
                </a:solidFill>
                <a:latin typeface="+mn-lt"/>
                <a:ea typeface="+mn-ea"/>
                <a:cs typeface="+mn-cs"/>
              </a:rPr>
              <a:t>For Financial Professional Use Only. Not For Use With Consumers.</a:t>
            </a:r>
          </a:p>
        </p:txBody>
      </p:sp>
    </p:spTree>
    <p:extLst>
      <p:ext uri="{BB962C8B-B14F-4D97-AF65-F5344CB8AC3E}">
        <p14:creationId xmlns:p14="http://schemas.microsoft.com/office/powerpoint/2010/main" val="14675297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GENDA layout">
    <p:spTree>
      <p:nvGrpSpPr>
        <p:cNvPr id="1" name=""/>
        <p:cNvGrpSpPr/>
        <p:nvPr/>
      </p:nvGrpSpPr>
      <p:grpSpPr>
        <a:xfrm>
          <a:off x="0" y="0"/>
          <a:ext cx="0" cy="0"/>
          <a:chOff x="0" y="0"/>
          <a:chExt cx="0" cy="0"/>
        </a:xfrm>
      </p:grpSpPr>
      <p:sp>
        <p:nvSpPr>
          <p:cNvPr id="6" name="Text Placeholder 5"/>
          <p:cNvSpPr>
            <a:spLocks noGrp="1"/>
          </p:cNvSpPr>
          <p:nvPr>
            <p:ph type="body" sz="quarter" idx="14" hasCustomPrompt="1"/>
          </p:nvPr>
        </p:nvSpPr>
        <p:spPr>
          <a:xfrm>
            <a:off x="3138793" y="6560363"/>
            <a:ext cx="5927388" cy="214955"/>
          </a:xfrm>
        </p:spPr>
        <p:txBody>
          <a:bodyPr/>
          <a:lstStyle>
            <a:lvl1pPr marL="0" indent="0" algn="ctr">
              <a:buNone/>
              <a:defRPr sz="933" baseline="0"/>
            </a:lvl1pPr>
          </a:lstStyle>
          <a:p>
            <a:pPr lvl="0"/>
            <a:r>
              <a:rPr lang="en-US" dirty="0"/>
              <a:t>For internal use only.</a:t>
            </a:r>
          </a:p>
        </p:txBody>
      </p:sp>
      <p:sp>
        <p:nvSpPr>
          <p:cNvPr id="2" name="Title 1"/>
          <p:cNvSpPr>
            <a:spLocks noGrp="1"/>
          </p:cNvSpPr>
          <p:nvPr>
            <p:ph type="title" hasCustomPrompt="1"/>
          </p:nvPr>
        </p:nvSpPr>
        <p:spPr/>
        <p:txBody>
          <a:bodyPr/>
          <a:lstStyle>
            <a:lvl1pPr>
              <a:defRPr/>
            </a:lvl1pPr>
          </a:lstStyle>
          <a:p>
            <a:r>
              <a:rPr lang="en-US" dirty="0"/>
              <a:t>Agenda</a:t>
            </a:r>
          </a:p>
        </p:txBody>
      </p:sp>
      <p:sp>
        <p:nvSpPr>
          <p:cNvPr id="5" name="Table Placeholder 4"/>
          <p:cNvSpPr>
            <a:spLocks noGrp="1"/>
          </p:cNvSpPr>
          <p:nvPr>
            <p:ph type="tbl" sz="quarter" idx="10" hasCustomPrompt="1"/>
          </p:nvPr>
        </p:nvSpPr>
        <p:spPr>
          <a:xfrm>
            <a:off x="3055008" y="1530350"/>
            <a:ext cx="9136993" cy="4660901"/>
          </a:xfrm>
        </p:spPr>
        <p:txBody>
          <a:bodyPr/>
          <a:lstStyle>
            <a:lvl1pPr marL="0" indent="0">
              <a:buNone/>
              <a:defRPr/>
            </a:lvl1pPr>
          </a:lstStyle>
          <a:p>
            <a:r>
              <a:rPr lang="en-US" dirty="0"/>
              <a:t>Agenda Table</a:t>
            </a:r>
          </a:p>
        </p:txBody>
      </p:sp>
      <p:sp>
        <p:nvSpPr>
          <p:cNvPr id="7" name="TextBox 6"/>
          <p:cNvSpPr txBox="1"/>
          <p:nvPr userDrawn="1"/>
        </p:nvSpPr>
        <p:spPr>
          <a:xfrm>
            <a:off x="12650699" y="1455472"/>
            <a:ext cx="2977117" cy="769634"/>
          </a:xfrm>
          <a:prstGeom prst="rect">
            <a:avLst/>
          </a:prstGeom>
          <a:noFill/>
        </p:spPr>
        <p:txBody>
          <a:bodyPr wrap="square" rtlCol="0">
            <a:spAutoFit/>
          </a:bodyPr>
          <a:lstStyle/>
          <a:p>
            <a:r>
              <a:rPr lang="en-US" sz="1467" dirty="0">
                <a:solidFill>
                  <a:schemeClr val="tx1"/>
                </a:solidFill>
              </a:rPr>
              <a:t>To add more items to the agenda, click in last row and press tab on your keyboard.</a:t>
            </a:r>
          </a:p>
        </p:txBody>
      </p:sp>
      <p:sp>
        <p:nvSpPr>
          <p:cNvPr id="9" name="TextBox 8"/>
          <p:cNvSpPr txBox="1"/>
          <p:nvPr userDrawn="1"/>
        </p:nvSpPr>
        <p:spPr>
          <a:xfrm>
            <a:off x="12650699" y="2988928"/>
            <a:ext cx="2977117" cy="1898468"/>
          </a:xfrm>
          <a:prstGeom prst="rect">
            <a:avLst/>
          </a:prstGeom>
          <a:noFill/>
        </p:spPr>
        <p:txBody>
          <a:bodyPr wrap="square" rtlCol="0">
            <a:spAutoFit/>
          </a:bodyPr>
          <a:lstStyle/>
          <a:p>
            <a:r>
              <a:rPr lang="en-US" sz="1467" dirty="0">
                <a:solidFill>
                  <a:schemeClr val="tx1"/>
                </a:solidFill>
              </a:rPr>
              <a:t>Use</a:t>
            </a:r>
            <a:r>
              <a:rPr lang="en-US" sz="1467" baseline="0" dirty="0">
                <a:solidFill>
                  <a:schemeClr val="tx1"/>
                </a:solidFill>
              </a:rPr>
              <a:t> the Agenda as section dividers throughout your presentation Turn the Agenda items gray except for the section you are on—leave it black. This is both practical and helpful to the audience to guide them through the presentation.</a:t>
            </a:r>
            <a:endParaRPr lang="en-US" sz="1467" dirty="0">
              <a:solidFill>
                <a:schemeClr val="tx1"/>
              </a:solidFill>
            </a:endParaRPr>
          </a:p>
        </p:txBody>
      </p:sp>
      <p:cxnSp>
        <p:nvCxnSpPr>
          <p:cNvPr id="10" name="Straight Connector 9"/>
          <p:cNvCxnSpPr/>
          <p:nvPr userDrawn="1"/>
        </p:nvCxnSpPr>
        <p:spPr>
          <a:xfrm>
            <a:off x="12511603" y="2622308"/>
            <a:ext cx="29823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24320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lvl1pPr>
              <a:defRPr sz="3200" baseline="0"/>
            </a:lvl1pPr>
          </a:lstStyle>
          <a:p>
            <a:r>
              <a:rPr lang="en-US" dirty="0"/>
              <a:t>Custom layout option</a:t>
            </a:r>
          </a:p>
        </p:txBody>
      </p:sp>
      <p:sp>
        <p:nvSpPr>
          <p:cNvPr id="3" name="Text Placeholder 4"/>
          <p:cNvSpPr>
            <a:spLocks noGrp="1"/>
          </p:cNvSpPr>
          <p:nvPr>
            <p:ph type="body" sz="quarter" idx="11" hasCustomPrompt="1"/>
          </p:nvPr>
        </p:nvSpPr>
        <p:spPr>
          <a:xfrm>
            <a:off x="611717" y="881767"/>
            <a:ext cx="10972800" cy="366932"/>
          </a:xfrm>
        </p:spPr>
        <p:txBody>
          <a:bodyPr/>
          <a:lstStyle>
            <a:lvl1pPr marL="0" indent="0">
              <a:buNone/>
              <a:defRPr sz="2667" baseline="0"/>
            </a:lvl1pPr>
            <a:lvl2pPr marL="302675" indent="0">
              <a:buNone/>
              <a:defRPr/>
            </a:lvl2pPr>
          </a:lstStyle>
          <a:p>
            <a:pPr lvl="0"/>
            <a:r>
              <a:rPr lang="en-US" dirty="0"/>
              <a:t>Sub-header optional—delete if not needed</a:t>
            </a:r>
          </a:p>
        </p:txBody>
      </p:sp>
      <p:sp>
        <p:nvSpPr>
          <p:cNvPr id="4" name="Text Placeholder 5"/>
          <p:cNvSpPr>
            <a:spLocks noGrp="1"/>
          </p:cNvSpPr>
          <p:nvPr>
            <p:ph type="body" sz="quarter" idx="14" hasCustomPrompt="1"/>
          </p:nvPr>
        </p:nvSpPr>
        <p:spPr>
          <a:xfrm>
            <a:off x="3138793" y="6560363"/>
            <a:ext cx="5927388" cy="214955"/>
          </a:xfrm>
        </p:spPr>
        <p:txBody>
          <a:bodyPr/>
          <a:lstStyle>
            <a:lvl1pPr marL="0" indent="0" algn="ctr">
              <a:buNone/>
              <a:defRPr sz="933" baseline="0"/>
            </a:lvl1pPr>
          </a:lstStyle>
          <a:p>
            <a:pPr lvl="0"/>
            <a:r>
              <a:rPr lang="en-US" dirty="0"/>
              <a:t>For internal use only.</a:t>
            </a:r>
          </a:p>
        </p:txBody>
      </p:sp>
    </p:spTree>
    <p:extLst>
      <p:ext uri="{BB962C8B-B14F-4D97-AF65-F5344CB8AC3E}">
        <p14:creationId xmlns:p14="http://schemas.microsoft.com/office/powerpoint/2010/main" val="1296150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27013"/>
            <a:ext cx="10962219" cy="498475"/>
          </a:xfrm>
        </p:spPr>
        <p:txBody>
          <a:bodyPr/>
          <a:lstStyle>
            <a:lvl1pPr>
              <a:defRPr baseline="0"/>
            </a:lvl1pPr>
          </a:lstStyle>
          <a:p>
            <a:r>
              <a:rPr lang="en-US" dirty="0"/>
              <a:t>Text layout</a:t>
            </a:r>
          </a:p>
        </p:txBody>
      </p:sp>
      <p:sp>
        <p:nvSpPr>
          <p:cNvPr id="3" name="Text Placeholder 20"/>
          <p:cNvSpPr>
            <a:spLocks noGrp="1"/>
          </p:cNvSpPr>
          <p:nvPr>
            <p:ph type="body" sz="quarter" idx="10"/>
          </p:nvPr>
        </p:nvSpPr>
        <p:spPr>
          <a:xfrm>
            <a:off x="609601" y="1530351"/>
            <a:ext cx="10962217" cy="4660900"/>
          </a:xfrm>
          <a:prstGeom prst="rect">
            <a:avLst/>
          </a:prstGeom>
        </p:spPr>
        <p:txBody>
          <a:bodyPr lIns="0" tIns="91440" bIns="91440" anchor="ctr" anchorCtr="0"/>
          <a:lstStyle>
            <a:lvl1pPr marL="224361" indent="-224361">
              <a:spcBef>
                <a:spcPts val="2400"/>
              </a:spcBef>
              <a:buSzPct val="100000"/>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1pPr>
            <a:lvl2pPr marL="537620" indent="-234945">
              <a:lnSpc>
                <a:spcPct val="90000"/>
              </a:lnSpc>
              <a:spcBef>
                <a:spcPts val="0"/>
              </a:spcBef>
              <a:tabLst>
                <a:tab pos="537620" algn="l"/>
              </a:tabLst>
              <a:defRPr sz="2133">
                <a:solidFill>
                  <a:schemeClr val="tx1"/>
                </a:solidFill>
                <a:latin typeface="Arial" panose="020B0604020202020204" pitchFamily="34" charset="0"/>
                <a:cs typeface="Arial" panose="020B0604020202020204" pitchFamily="34" charset="0"/>
              </a:defRPr>
            </a:lvl2pPr>
            <a:lvl3pPr marL="838179" indent="-222245">
              <a:lnSpc>
                <a:spcPct val="90000"/>
              </a:lnSpc>
              <a:spcBef>
                <a:spcPts val="0"/>
              </a:spcBef>
              <a:buFont typeface="Courier New" panose="02070309020205020404" pitchFamily="49" charset="0"/>
              <a:buChar char="o"/>
              <a:defRPr sz="1867">
                <a:solidFill>
                  <a:schemeClr val="tx1"/>
                </a:solidFill>
                <a:latin typeface="Arial" panose="020B0604020202020204" pitchFamily="34" charset="0"/>
                <a:cs typeface="Arial" panose="020B0604020202020204" pitchFamily="34" charset="0"/>
              </a:defRPr>
            </a:lvl3pPr>
            <a:lvl4pPr marL="1979035" indent="-222245">
              <a:lnSpc>
                <a:spcPct val="90000"/>
              </a:lnSpc>
              <a:spcBef>
                <a:spcPts val="0"/>
              </a:spcBef>
              <a:buFont typeface="Arial" panose="020B0604020202020204" pitchFamily="34" charset="0"/>
              <a:buChar char="»"/>
              <a:defRPr lang="en-US" sz="2400" kern="1200" dirty="0" smtClean="0">
                <a:solidFill>
                  <a:srgbClr val="646464"/>
                </a:solidFill>
                <a:latin typeface="Arial" panose="020B0604020202020204" pitchFamily="34" charset="0"/>
                <a:ea typeface="+mn-ea"/>
                <a:cs typeface="Arial" panose="020B0604020202020204" pitchFamily="34" charset="0"/>
              </a:defRPr>
            </a:lvl4pPr>
            <a:lvl5pPr>
              <a:defRPr sz="2133">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4" name="Text Placeholder 4"/>
          <p:cNvSpPr>
            <a:spLocks noGrp="1"/>
          </p:cNvSpPr>
          <p:nvPr>
            <p:ph type="body" sz="quarter" idx="11" hasCustomPrompt="1"/>
          </p:nvPr>
        </p:nvSpPr>
        <p:spPr>
          <a:xfrm>
            <a:off x="600428" y="881767"/>
            <a:ext cx="10972800" cy="366932"/>
          </a:xfrm>
        </p:spPr>
        <p:txBody>
          <a:bodyPr/>
          <a:lstStyle>
            <a:lvl1pPr marL="0" indent="0">
              <a:buNone/>
              <a:defRPr sz="2667" baseline="0"/>
            </a:lvl1pPr>
            <a:lvl2pPr marL="302675" indent="0">
              <a:buNone/>
              <a:defRPr/>
            </a:lvl2pPr>
          </a:lstStyle>
          <a:p>
            <a:pPr lvl="0"/>
            <a:r>
              <a:rPr lang="en-US" dirty="0"/>
              <a:t>Subheader optional—delete if not needed</a:t>
            </a:r>
          </a:p>
        </p:txBody>
      </p:sp>
    </p:spTree>
    <p:extLst>
      <p:ext uri="{BB962C8B-B14F-4D97-AF65-F5344CB8AC3E}">
        <p14:creationId xmlns:p14="http://schemas.microsoft.com/office/powerpoint/2010/main" val="76298875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and CHART/GRAPH lyaout">
    <p:spTree>
      <p:nvGrpSpPr>
        <p:cNvPr id="1" name=""/>
        <p:cNvGrpSpPr/>
        <p:nvPr/>
      </p:nvGrpSpPr>
      <p:grpSpPr>
        <a:xfrm>
          <a:off x="0" y="0"/>
          <a:ext cx="0" cy="0"/>
          <a:chOff x="0" y="0"/>
          <a:chExt cx="0" cy="0"/>
        </a:xfrm>
      </p:grpSpPr>
      <p:sp>
        <p:nvSpPr>
          <p:cNvPr id="3" name="Text Placeholder 20"/>
          <p:cNvSpPr>
            <a:spLocks noGrp="1"/>
          </p:cNvSpPr>
          <p:nvPr>
            <p:ph type="body" sz="quarter" idx="10"/>
          </p:nvPr>
        </p:nvSpPr>
        <p:spPr>
          <a:xfrm>
            <a:off x="609602" y="1530351"/>
            <a:ext cx="5274364" cy="4660900"/>
          </a:xfrm>
          <a:prstGeom prst="rect">
            <a:avLst/>
          </a:prstGeom>
        </p:spPr>
        <p:txBody>
          <a:bodyPr lIns="0" tIns="91440" bIns="91440" anchor="ctr" anchorCtr="0"/>
          <a:lstStyle>
            <a:lvl1pPr marL="224361" indent="-224361">
              <a:spcBef>
                <a:spcPts val="2400"/>
              </a:spcBef>
              <a:buSzPct val="100000"/>
              <a:buFont typeface="Arial" panose="020B0604020202020204" pitchFamily="34" charset="0"/>
              <a:buChar char="•"/>
              <a:defRPr sz="2400">
                <a:latin typeface="Arial" panose="020B0604020202020204" pitchFamily="34" charset="0"/>
                <a:cs typeface="Arial" panose="020B0604020202020204" pitchFamily="34" charset="0"/>
              </a:defRPr>
            </a:lvl1pPr>
            <a:lvl2pPr marL="537620" indent="-234945">
              <a:lnSpc>
                <a:spcPct val="90000"/>
              </a:lnSpc>
              <a:spcBef>
                <a:spcPts val="0"/>
              </a:spcBef>
              <a:tabLst>
                <a:tab pos="537620" algn="l"/>
              </a:tabLst>
              <a:defRPr sz="2133">
                <a:latin typeface="Arial" panose="020B0604020202020204" pitchFamily="34" charset="0"/>
                <a:cs typeface="Arial" panose="020B0604020202020204" pitchFamily="34" charset="0"/>
              </a:defRPr>
            </a:lvl2pPr>
            <a:lvl3pPr marL="838179" indent="-222245">
              <a:lnSpc>
                <a:spcPct val="90000"/>
              </a:lnSpc>
              <a:spcBef>
                <a:spcPts val="0"/>
              </a:spcBef>
              <a:buFont typeface="Courier New" panose="02070309020205020404" pitchFamily="49" charset="0"/>
              <a:buChar char="o"/>
              <a:defRPr sz="1867">
                <a:solidFill>
                  <a:srgbClr val="000000"/>
                </a:solidFill>
                <a:latin typeface="Arial" panose="020B0604020202020204" pitchFamily="34" charset="0"/>
                <a:cs typeface="Arial" panose="020B0604020202020204" pitchFamily="34" charset="0"/>
              </a:defRPr>
            </a:lvl3pPr>
            <a:lvl4pPr marL="1979035" indent="-222245">
              <a:lnSpc>
                <a:spcPct val="90000"/>
              </a:lnSpc>
              <a:spcBef>
                <a:spcPts val="0"/>
              </a:spcBef>
              <a:buFont typeface="Arial" panose="020B0604020202020204" pitchFamily="34" charset="0"/>
              <a:buChar char="»"/>
              <a:defRPr lang="en-US" sz="2400" kern="1200" dirty="0" smtClean="0">
                <a:solidFill>
                  <a:srgbClr val="646464"/>
                </a:solidFill>
                <a:latin typeface="Arial" panose="020B0604020202020204" pitchFamily="34" charset="0"/>
                <a:ea typeface="+mn-ea"/>
                <a:cs typeface="Arial" panose="020B0604020202020204" pitchFamily="34" charset="0"/>
              </a:defRPr>
            </a:lvl4pPr>
            <a:lvl5pPr>
              <a:defRPr sz="2133">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4" name="Text Placeholder 4"/>
          <p:cNvSpPr>
            <a:spLocks noGrp="1"/>
          </p:cNvSpPr>
          <p:nvPr>
            <p:ph type="body" sz="quarter" idx="11" hasCustomPrompt="1"/>
          </p:nvPr>
        </p:nvSpPr>
        <p:spPr>
          <a:xfrm>
            <a:off x="600428" y="881767"/>
            <a:ext cx="10972800" cy="366932"/>
          </a:xfrm>
        </p:spPr>
        <p:txBody>
          <a:bodyPr/>
          <a:lstStyle>
            <a:lvl1pPr marL="0" indent="0">
              <a:buNone/>
              <a:defRPr sz="2667" baseline="0"/>
            </a:lvl1pPr>
            <a:lvl2pPr marL="302675" indent="0">
              <a:buNone/>
              <a:defRPr/>
            </a:lvl2pPr>
          </a:lstStyle>
          <a:p>
            <a:pPr lvl="0"/>
            <a:r>
              <a:rPr lang="en-US" dirty="0"/>
              <a:t>Sub-header optional—delete if not needed</a:t>
            </a:r>
          </a:p>
        </p:txBody>
      </p:sp>
      <p:sp>
        <p:nvSpPr>
          <p:cNvPr id="5" name="Text Placeholder 5"/>
          <p:cNvSpPr>
            <a:spLocks noGrp="1"/>
          </p:cNvSpPr>
          <p:nvPr>
            <p:ph type="body" sz="quarter" idx="14" hasCustomPrompt="1"/>
          </p:nvPr>
        </p:nvSpPr>
        <p:spPr>
          <a:xfrm>
            <a:off x="3138793" y="6560363"/>
            <a:ext cx="5927388" cy="214955"/>
          </a:xfrm>
        </p:spPr>
        <p:txBody>
          <a:bodyPr/>
          <a:lstStyle>
            <a:lvl1pPr marL="0" indent="0" algn="ctr">
              <a:buNone/>
              <a:defRPr sz="933" baseline="0"/>
            </a:lvl1pPr>
          </a:lstStyle>
          <a:p>
            <a:pPr lvl="0"/>
            <a:r>
              <a:rPr lang="en-US" dirty="0"/>
              <a:t>For internal use only.</a:t>
            </a:r>
          </a:p>
        </p:txBody>
      </p:sp>
      <p:sp>
        <p:nvSpPr>
          <p:cNvPr id="6" name="Chart Placeholder 5"/>
          <p:cNvSpPr>
            <a:spLocks noGrp="1"/>
          </p:cNvSpPr>
          <p:nvPr>
            <p:ph type="chart" sz="quarter" idx="15" hasCustomPrompt="1"/>
          </p:nvPr>
        </p:nvSpPr>
        <p:spPr>
          <a:xfrm>
            <a:off x="6297435" y="1538288"/>
            <a:ext cx="5287084" cy="4652963"/>
          </a:xfrm>
        </p:spPr>
        <p:txBody>
          <a:bodyPr tIns="914400"/>
          <a:lstStyle>
            <a:lvl1pPr marL="0" indent="0" algn="ctr">
              <a:spcBef>
                <a:spcPts val="0"/>
              </a:spcBef>
              <a:buNone/>
              <a:defRPr sz="1600" baseline="0"/>
            </a:lvl1pPr>
          </a:lstStyle>
          <a:p>
            <a:r>
              <a:rPr lang="en-US" dirty="0"/>
              <a:t>CLICK ▲ ICON                </a:t>
            </a:r>
          </a:p>
          <a:p>
            <a:r>
              <a:rPr lang="en-US" dirty="0"/>
              <a:t>to insert chart of graph</a:t>
            </a:r>
          </a:p>
        </p:txBody>
      </p:sp>
      <p:sp>
        <p:nvSpPr>
          <p:cNvPr id="7" name="Title 1"/>
          <p:cNvSpPr>
            <a:spLocks noGrp="1"/>
          </p:cNvSpPr>
          <p:nvPr>
            <p:ph type="title" hasCustomPrompt="1"/>
          </p:nvPr>
        </p:nvSpPr>
        <p:spPr>
          <a:xfrm>
            <a:off x="609600" y="227013"/>
            <a:ext cx="10962219" cy="498475"/>
          </a:xfrm>
        </p:spPr>
        <p:txBody>
          <a:bodyPr/>
          <a:lstStyle>
            <a:lvl1pPr>
              <a:defRPr baseline="0"/>
            </a:lvl1pPr>
          </a:lstStyle>
          <a:p>
            <a:r>
              <a:rPr lang="en-US" dirty="0"/>
              <a:t>Text and chart layout</a:t>
            </a:r>
          </a:p>
        </p:txBody>
      </p:sp>
    </p:spTree>
    <p:extLst>
      <p:ext uri="{BB962C8B-B14F-4D97-AF65-F5344CB8AC3E}">
        <p14:creationId xmlns:p14="http://schemas.microsoft.com/office/powerpoint/2010/main" val="26633259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RT or GRAPH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Graph layout visually communicates the message</a:t>
            </a:r>
          </a:p>
        </p:txBody>
      </p:sp>
      <p:sp>
        <p:nvSpPr>
          <p:cNvPr id="4" name="Chart Placeholder 3"/>
          <p:cNvSpPr>
            <a:spLocks noGrp="1"/>
          </p:cNvSpPr>
          <p:nvPr>
            <p:ph type="chart" sz="quarter" idx="10"/>
          </p:nvPr>
        </p:nvSpPr>
        <p:spPr>
          <a:xfrm>
            <a:off x="611717" y="1530351"/>
            <a:ext cx="10972800" cy="4660899"/>
          </a:xfrm>
        </p:spPr>
        <p:txBody>
          <a:bodyPr lIns="91440" tIns="640080" rIns="365760" bIns="365760"/>
          <a:lstStyle>
            <a:lvl1pPr marL="0" indent="156629" algn="ctr">
              <a:spcBef>
                <a:spcPts val="0"/>
              </a:spcBef>
              <a:buNone/>
              <a:defRPr sz="1600" baseline="0"/>
            </a:lvl1pPr>
          </a:lstStyle>
          <a:p>
            <a:endParaRPr lang="en-US" dirty="0"/>
          </a:p>
          <a:p>
            <a:endParaRPr lang="en-US" dirty="0"/>
          </a:p>
          <a:p>
            <a:endParaRPr lang="en-US" dirty="0"/>
          </a:p>
          <a:p>
            <a:r>
              <a:rPr lang="en-US" dirty="0"/>
              <a:t>CLICK ▲ ICON </a:t>
            </a:r>
          </a:p>
          <a:p>
            <a:r>
              <a:rPr lang="en-US" dirty="0"/>
              <a:t>to select chart type and insert</a:t>
            </a:r>
          </a:p>
        </p:txBody>
      </p:sp>
      <p:sp>
        <p:nvSpPr>
          <p:cNvPr id="5" name="Text Placeholder 4"/>
          <p:cNvSpPr>
            <a:spLocks noGrp="1"/>
          </p:cNvSpPr>
          <p:nvPr>
            <p:ph type="body" sz="quarter" idx="11" hasCustomPrompt="1"/>
          </p:nvPr>
        </p:nvSpPr>
        <p:spPr>
          <a:xfrm>
            <a:off x="611717" y="881767"/>
            <a:ext cx="10972800" cy="366932"/>
          </a:xfrm>
        </p:spPr>
        <p:txBody>
          <a:bodyPr/>
          <a:lstStyle>
            <a:lvl1pPr marL="0" indent="0">
              <a:buNone/>
              <a:defRPr sz="2667" baseline="0"/>
            </a:lvl1pPr>
            <a:lvl2pPr marL="302675" indent="0">
              <a:buNone/>
              <a:defRPr/>
            </a:lvl2pPr>
          </a:lstStyle>
          <a:p>
            <a:pPr lvl="0"/>
            <a:r>
              <a:rPr lang="en-US" dirty="0"/>
              <a:t>Sub-header optional—delete if not needed</a:t>
            </a:r>
          </a:p>
        </p:txBody>
      </p:sp>
      <p:sp>
        <p:nvSpPr>
          <p:cNvPr id="6" name="Text Placeholder 5"/>
          <p:cNvSpPr>
            <a:spLocks noGrp="1"/>
          </p:cNvSpPr>
          <p:nvPr>
            <p:ph type="body" sz="quarter" idx="14" hasCustomPrompt="1"/>
          </p:nvPr>
        </p:nvSpPr>
        <p:spPr>
          <a:xfrm>
            <a:off x="3138793" y="6560363"/>
            <a:ext cx="5927388" cy="214955"/>
          </a:xfrm>
        </p:spPr>
        <p:txBody>
          <a:bodyPr/>
          <a:lstStyle>
            <a:lvl1pPr marL="0" indent="0" algn="ctr">
              <a:buNone/>
              <a:defRPr sz="933" baseline="0"/>
            </a:lvl1pPr>
          </a:lstStyle>
          <a:p>
            <a:pPr lvl="0"/>
            <a:r>
              <a:rPr lang="en-US" dirty="0"/>
              <a:t>For internal use only.</a:t>
            </a:r>
          </a:p>
        </p:txBody>
      </p:sp>
    </p:spTree>
    <p:extLst>
      <p:ext uri="{BB962C8B-B14F-4D97-AF65-F5344CB8AC3E}">
        <p14:creationId xmlns:p14="http://schemas.microsoft.com/office/powerpoint/2010/main" val="12926410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images and text">
    <p:spTree>
      <p:nvGrpSpPr>
        <p:cNvPr id="1" name=""/>
        <p:cNvGrpSpPr/>
        <p:nvPr/>
      </p:nvGrpSpPr>
      <p:grpSpPr>
        <a:xfrm>
          <a:off x="0" y="0"/>
          <a:ext cx="0" cy="0"/>
          <a:chOff x="0" y="0"/>
          <a:chExt cx="0" cy="0"/>
        </a:xfrm>
      </p:grpSpPr>
      <p:grpSp>
        <p:nvGrpSpPr>
          <p:cNvPr id="8" name="Group 7"/>
          <p:cNvGrpSpPr/>
          <p:nvPr userDrawn="1"/>
        </p:nvGrpSpPr>
        <p:grpSpPr>
          <a:xfrm>
            <a:off x="737514" y="1850529"/>
            <a:ext cx="2419644" cy="4028971"/>
            <a:chOff x="553135" y="1387897"/>
            <a:chExt cx="1814733" cy="3021728"/>
          </a:xfrm>
        </p:grpSpPr>
        <p:sp>
          <p:nvSpPr>
            <p:cNvPr id="12" name="Rectangle 11"/>
            <p:cNvSpPr/>
            <p:nvPr userDrawn="1"/>
          </p:nvSpPr>
          <p:spPr>
            <a:xfrm>
              <a:off x="553135" y="1387897"/>
              <a:ext cx="1814733" cy="1097279"/>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7" name="Rectangle 16"/>
            <p:cNvSpPr/>
            <p:nvPr userDrawn="1"/>
          </p:nvSpPr>
          <p:spPr>
            <a:xfrm>
              <a:off x="553135" y="3312346"/>
              <a:ext cx="1814733" cy="1097279"/>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nvGrpSpPr>
            <p:cNvPr id="26" name="Group 25"/>
            <p:cNvGrpSpPr/>
            <p:nvPr userDrawn="1"/>
          </p:nvGrpSpPr>
          <p:grpSpPr>
            <a:xfrm>
              <a:off x="1005539" y="3403852"/>
              <a:ext cx="909923" cy="457133"/>
              <a:chOff x="1751012" y="1069975"/>
              <a:chExt cx="2359025" cy="1143001"/>
            </a:xfrm>
            <a:solidFill>
              <a:schemeClr val="bg1">
                <a:lumMod val="50000"/>
              </a:schemeClr>
            </a:solidFill>
          </p:grpSpPr>
          <p:sp>
            <p:nvSpPr>
              <p:cNvPr id="27" name="Freeform 30"/>
              <p:cNvSpPr>
                <a:spLocks/>
              </p:cNvSpPr>
              <p:nvPr/>
            </p:nvSpPr>
            <p:spPr bwMode="auto">
              <a:xfrm>
                <a:off x="2827338" y="1069975"/>
                <a:ext cx="1068387" cy="752475"/>
              </a:xfrm>
              <a:custGeom>
                <a:avLst/>
                <a:gdLst>
                  <a:gd name="T0" fmla="*/ 19 w 285"/>
                  <a:gd name="T1" fmla="*/ 61 h 201"/>
                  <a:gd name="T2" fmla="*/ 56 w 285"/>
                  <a:gd name="T3" fmla="*/ 92 h 201"/>
                  <a:gd name="T4" fmla="*/ 74 w 285"/>
                  <a:gd name="T5" fmla="*/ 83 h 201"/>
                  <a:gd name="T6" fmla="*/ 130 w 285"/>
                  <a:gd name="T7" fmla="*/ 122 h 201"/>
                  <a:gd name="T8" fmla="*/ 151 w 285"/>
                  <a:gd name="T9" fmla="*/ 110 h 201"/>
                  <a:gd name="T10" fmla="*/ 152 w 285"/>
                  <a:gd name="T11" fmla="*/ 111 h 201"/>
                  <a:gd name="T12" fmla="*/ 253 w 285"/>
                  <a:gd name="T13" fmla="*/ 184 h 201"/>
                  <a:gd name="T14" fmla="*/ 279 w 285"/>
                  <a:gd name="T15" fmla="*/ 201 h 201"/>
                  <a:gd name="T16" fmla="*/ 285 w 285"/>
                  <a:gd name="T17" fmla="*/ 157 h 201"/>
                  <a:gd name="T18" fmla="*/ 128 w 285"/>
                  <a:gd name="T19" fmla="*/ 0 h 201"/>
                  <a:gd name="T20" fmla="*/ 0 w 285"/>
                  <a:gd name="T21" fmla="*/ 66 h 201"/>
                  <a:gd name="T22" fmla="*/ 2 w 285"/>
                  <a:gd name="T23" fmla="*/ 67 h 201"/>
                  <a:gd name="T24" fmla="*/ 19 w 285"/>
                  <a:gd name="T25" fmla="*/ 6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5" h="201">
                    <a:moveTo>
                      <a:pt x="19" y="61"/>
                    </a:moveTo>
                    <a:cubicBezTo>
                      <a:pt x="56" y="92"/>
                      <a:pt x="56" y="92"/>
                      <a:pt x="56" y="92"/>
                    </a:cubicBezTo>
                    <a:cubicBezTo>
                      <a:pt x="74" y="83"/>
                      <a:pt x="74" y="83"/>
                      <a:pt x="74" y="83"/>
                    </a:cubicBezTo>
                    <a:cubicBezTo>
                      <a:pt x="130" y="122"/>
                      <a:pt x="130" y="122"/>
                      <a:pt x="130" y="122"/>
                    </a:cubicBezTo>
                    <a:cubicBezTo>
                      <a:pt x="151" y="110"/>
                      <a:pt x="151" y="110"/>
                      <a:pt x="151" y="110"/>
                    </a:cubicBezTo>
                    <a:cubicBezTo>
                      <a:pt x="152" y="111"/>
                      <a:pt x="152" y="111"/>
                      <a:pt x="152" y="111"/>
                    </a:cubicBezTo>
                    <a:cubicBezTo>
                      <a:pt x="187" y="140"/>
                      <a:pt x="227" y="166"/>
                      <a:pt x="253" y="184"/>
                    </a:cubicBezTo>
                    <a:cubicBezTo>
                      <a:pt x="267" y="193"/>
                      <a:pt x="275" y="198"/>
                      <a:pt x="279" y="201"/>
                    </a:cubicBezTo>
                    <a:cubicBezTo>
                      <a:pt x="283" y="187"/>
                      <a:pt x="285" y="173"/>
                      <a:pt x="285" y="157"/>
                    </a:cubicBezTo>
                    <a:cubicBezTo>
                      <a:pt x="285" y="70"/>
                      <a:pt x="215" y="0"/>
                      <a:pt x="128" y="0"/>
                    </a:cubicBezTo>
                    <a:cubicBezTo>
                      <a:pt x="75" y="0"/>
                      <a:pt x="29" y="26"/>
                      <a:pt x="0" y="66"/>
                    </a:cubicBezTo>
                    <a:cubicBezTo>
                      <a:pt x="2" y="67"/>
                      <a:pt x="2" y="67"/>
                      <a:pt x="2" y="67"/>
                    </a:cubicBezTo>
                    <a:lnTo>
                      <a:pt x="19"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28" name="Freeform 31"/>
              <p:cNvSpPr>
                <a:spLocks noEditPoints="1"/>
              </p:cNvSpPr>
              <p:nvPr/>
            </p:nvSpPr>
            <p:spPr bwMode="auto">
              <a:xfrm>
                <a:off x="1751012" y="1208088"/>
                <a:ext cx="2359025" cy="1004888"/>
              </a:xfrm>
              <a:custGeom>
                <a:avLst/>
                <a:gdLst>
                  <a:gd name="T0" fmla="*/ 540 w 629"/>
                  <a:gd name="T1" fmla="*/ 154 h 268"/>
                  <a:gd name="T2" fmla="*/ 438 w 629"/>
                  <a:gd name="T3" fmla="*/ 80 h 268"/>
                  <a:gd name="T4" fmla="*/ 361 w 629"/>
                  <a:gd name="T5" fmla="*/ 54 h 268"/>
                  <a:gd name="T6" fmla="*/ 306 w 629"/>
                  <a:gd name="T7" fmla="*/ 31 h 268"/>
                  <a:gd name="T8" fmla="*/ 233 w 629"/>
                  <a:gd name="T9" fmla="*/ 0 h 268"/>
                  <a:gd name="T10" fmla="*/ 190 w 629"/>
                  <a:gd name="T11" fmla="*/ 29 h 268"/>
                  <a:gd name="T12" fmla="*/ 44 w 629"/>
                  <a:gd name="T13" fmla="*/ 163 h 268"/>
                  <a:gd name="T14" fmla="*/ 92 w 629"/>
                  <a:gd name="T15" fmla="*/ 149 h 268"/>
                  <a:gd name="T16" fmla="*/ 110 w 629"/>
                  <a:gd name="T17" fmla="*/ 116 h 268"/>
                  <a:gd name="T18" fmla="*/ 100 w 629"/>
                  <a:gd name="T19" fmla="*/ 111 h 268"/>
                  <a:gd name="T20" fmla="*/ 118 w 629"/>
                  <a:gd name="T21" fmla="*/ 83 h 268"/>
                  <a:gd name="T22" fmla="*/ 190 w 629"/>
                  <a:gd name="T23" fmla="*/ 40 h 268"/>
                  <a:gd name="T24" fmla="*/ 250 w 629"/>
                  <a:gd name="T25" fmla="*/ 49 h 268"/>
                  <a:gd name="T26" fmla="*/ 282 w 629"/>
                  <a:gd name="T27" fmla="*/ 64 h 268"/>
                  <a:gd name="T28" fmla="*/ 303 w 629"/>
                  <a:gd name="T29" fmla="*/ 65 h 268"/>
                  <a:gd name="T30" fmla="*/ 308 w 629"/>
                  <a:gd name="T31" fmla="*/ 39 h 268"/>
                  <a:gd name="T32" fmla="*/ 348 w 629"/>
                  <a:gd name="T33" fmla="*/ 67 h 268"/>
                  <a:gd name="T34" fmla="*/ 408 w 629"/>
                  <a:gd name="T35" fmla="*/ 132 h 268"/>
                  <a:gd name="T36" fmla="*/ 442 w 629"/>
                  <a:gd name="T37" fmla="*/ 139 h 268"/>
                  <a:gd name="T38" fmla="*/ 463 w 629"/>
                  <a:gd name="T39" fmla="*/ 132 h 268"/>
                  <a:gd name="T40" fmla="*/ 519 w 629"/>
                  <a:gd name="T41" fmla="*/ 150 h 268"/>
                  <a:gd name="T42" fmla="*/ 376 w 629"/>
                  <a:gd name="T43" fmla="*/ 185 h 268"/>
                  <a:gd name="T44" fmla="*/ 81 w 629"/>
                  <a:gd name="T45" fmla="*/ 268 h 268"/>
                  <a:gd name="T46" fmla="*/ 108 w 629"/>
                  <a:gd name="T47" fmla="*/ 217 h 268"/>
                  <a:gd name="T48" fmla="*/ 163 w 629"/>
                  <a:gd name="T49" fmla="*/ 219 h 268"/>
                  <a:gd name="T50" fmla="*/ 390 w 629"/>
                  <a:gd name="T51" fmla="*/ 268 h 268"/>
                  <a:gd name="T52" fmla="*/ 613 w 629"/>
                  <a:gd name="T53" fmla="*/ 212 h 268"/>
                  <a:gd name="T54" fmla="*/ 41 w 629"/>
                  <a:gd name="T55" fmla="*/ 205 h 268"/>
                  <a:gd name="T56" fmla="*/ 34 w 629"/>
                  <a:gd name="T57" fmla="*/ 202 h 268"/>
                  <a:gd name="T58" fmla="*/ 41 w 629"/>
                  <a:gd name="T59" fmla="*/ 205 h 268"/>
                  <a:gd name="T60" fmla="*/ 521 w 629"/>
                  <a:gd name="T61" fmla="*/ 212 h 268"/>
                  <a:gd name="T62" fmla="*/ 581 w 629"/>
                  <a:gd name="T63" fmla="*/ 17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29" h="268">
                    <a:moveTo>
                      <a:pt x="559" y="166"/>
                    </a:moveTo>
                    <a:cubicBezTo>
                      <a:pt x="554" y="163"/>
                      <a:pt x="547" y="159"/>
                      <a:pt x="540" y="154"/>
                    </a:cubicBezTo>
                    <a:cubicBezTo>
                      <a:pt x="514" y="137"/>
                      <a:pt x="474" y="110"/>
                      <a:pt x="439" y="81"/>
                    </a:cubicBezTo>
                    <a:cubicBezTo>
                      <a:pt x="438" y="80"/>
                      <a:pt x="438" y="80"/>
                      <a:pt x="438" y="80"/>
                    </a:cubicBezTo>
                    <a:cubicBezTo>
                      <a:pt x="417" y="93"/>
                      <a:pt x="417" y="93"/>
                      <a:pt x="417" y="93"/>
                    </a:cubicBezTo>
                    <a:cubicBezTo>
                      <a:pt x="361" y="54"/>
                      <a:pt x="361" y="54"/>
                      <a:pt x="361" y="54"/>
                    </a:cubicBezTo>
                    <a:cubicBezTo>
                      <a:pt x="343" y="62"/>
                      <a:pt x="343" y="62"/>
                      <a:pt x="343" y="62"/>
                    </a:cubicBezTo>
                    <a:cubicBezTo>
                      <a:pt x="306" y="31"/>
                      <a:pt x="306" y="31"/>
                      <a:pt x="306" y="31"/>
                    </a:cubicBezTo>
                    <a:cubicBezTo>
                      <a:pt x="289" y="38"/>
                      <a:pt x="289" y="38"/>
                      <a:pt x="289" y="38"/>
                    </a:cubicBezTo>
                    <a:cubicBezTo>
                      <a:pt x="233" y="0"/>
                      <a:pt x="233" y="0"/>
                      <a:pt x="233" y="0"/>
                    </a:cubicBezTo>
                    <a:cubicBezTo>
                      <a:pt x="231" y="2"/>
                      <a:pt x="231" y="2"/>
                      <a:pt x="231" y="2"/>
                    </a:cubicBezTo>
                    <a:cubicBezTo>
                      <a:pt x="224" y="9"/>
                      <a:pt x="197" y="29"/>
                      <a:pt x="190" y="29"/>
                    </a:cubicBezTo>
                    <a:cubicBezTo>
                      <a:pt x="184" y="25"/>
                      <a:pt x="174" y="13"/>
                      <a:pt x="174" y="13"/>
                    </a:cubicBezTo>
                    <a:cubicBezTo>
                      <a:pt x="174" y="13"/>
                      <a:pt x="82" y="112"/>
                      <a:pt x="44" y="163"/>
                    </a:cubicBezTo>
                    <a:cubicBezTo>
                      <a:pt x="97" y="121"/>
                      <a:pt x="97" y="121"/>
                      <a:pt x="97" y="121"/>
                    </a:cubicBezTo>
                    <a:cubicBezTo>
                      <a:pt x="92" y="149"/>
                      <a:pt x="92" y="149"/>
                      <a:pt x="92" y="149"/>
                    </a:cubicBezTo>
                    <a:cubicBezTo>
                      <a:pt x="149" y="79"/>
                      <a:pt x="149" y="79"/>
                      <a:pt x="149" y="79"/>
                    </a:cubicBezTo>
                    <a:cubicBezTo>
                      <a:pt x="110" y="116"/>
                      <a:pt x="110" y="116"/>
                      <a:pt x="110" y="116"/>
                    </a:cubicBezTo>
                    <a:cubicBezTo>
                      <a:pt x="156" y="53"/>
                      <a:pt x="156" y="53"/>
                      <a:pt x="156" y="53"/>
                    </a:cubicBezTo>
                    <a:cubicBezTo>
                      <a:pt x="100" y="111"/>
                      <a:pt x="100" y="111"/>
                      <a:pt x="100" y="111"/>
                    </a:cubicBezTo>
                    <a:cubicBezTo>
                      <a:pt x="118" y="83"/>
                      <a:pt x="118" y="83"/>
                      <a:pt x="118" y="83"/>
                    </a:cubicBezTo>
                    <a:cubicBezTo>
                      <a:pt x="118" y="83"/>
                      <a:pt x="118" y="83"/>
                      <a:pt x="118" y="83"/>
                    </a:cubicBezTo>
                    <a:cubicBezTo>
                      <a:pt x="151" y="49"/>
                      <a:pt x="174" y="27"/>
                      <a:pt x="174" y="27"/>
                    </a:cubicBezTo>
                    <a:cubicBezTo>
                      <a:pt x="174" y="27"/>
                      <a:pt x="183" y="38"/>
                      <a:pt x="190" y="40"/>
                    </a:cubicBezTo>
                    <a:cubicBezTo>
                      <a:pt x="199" y="35"/>
                      <a:pt x="222" y="20"/>
                      <a:pt x="222" y="20"/>
                    </a:cubicBezTo>
                    <a:cubicBezTo>
                      <a:pt x="250" y="49"/>
                      <a:pt x="250" y="49"/>
                      <a:pt x="250" y="49"/>
                    </a:cubicBezTo>
                    <a:cubicBezTo>
                      <a:pt x="240" y="21"/>
                      <a:pt x="240" y="21"/>
                      <a:pt x="240" y="21"/>
                    </a:cubicBezTo>
                    <a:cubicBezTo>
                      <a:pt x="282" y="64"/>
                      <a:pt x="282" y="64"/>
                      <a:pt x="282" y="64"/>
                    </a:cubicBezTo>
                    <a:cubicBezTo>
                      <a:pt x="274" y="43"/>
                      <a:pt x="274" y="43"/>
                      <a:pt x="274" y="43"/>
                    </a:cubicBezTo>
                    <a:cubicBezTo>
                      <a:pt x="303" y="65"/>
                      <a:pt x="303" y="65"/>
                      <a:pt x="303" y="65"/>
                    </a:cubicBezTo>
                    <a:cubicBezTo>
                      <a:pt x="296" y="47"/>
                      <a:pt x="296" y="47"/>
                      <a:pt x="296" y="47"/>
                    </a:cubicBezTo>
                    <a:cubicBezTo>
                      <a:pt x="308" y="39"/>
                      <a:pt x="308" y="39"/>
                      <a:pt x="308" y="39"/>
                    </a:cubicBezTo>
                    <a:cubicBezTo>
                      <a:pt x="353" y="89"/>
                      <a:pt x="353" y="89"/>
                      <a:pt x="353" y="89"/>
                    </a:cubicBezTo>
                    <a:cubicBezTo>
                      <a:pt x="348" y="67"/>
                      <a:pt x="348" y="67"/>
                      <a:pt x="348" y="67"/>
                    </a:cubicBezTo>
                    <a:cubicBezTo>
                      <a:pt x="415" y="155"/>
                      <a:pt x="415" y="155"/>
                      <a:pt x="415" y="155"/>
                    </a:cubicBezTo>
                    <a:cubicBezTo>
                      <a:pt x="408" y="132"/>
                      <a:pt x="408" y="132"/>
                      <a:pt x="408" y="132"/>
                    </a:cubicBezTo>
                    <a:cubicBezTo>
                      <a:pt x="457" y="167"/>
                      <a:pt x="457" y="167"/>
                      <a:pt x="457" y="167"/>
                    </a:cubicBezTo>
                    <a:cubicBezTo>
                      <a:pt x="456" y="162"/>
                      <a:pt x="442" y="139"/>
                      <a:pt x="442" y="139"/>
                    </a:cubicBezTo>
                    <a:cubicBezTo>
                      <a:pt x="489" y="169"/>
                      <a:pt x="489" y="169"/>
                      <a:pt x="489" y="169"/>
                    </a:cubicBezTo>
                    <a:cubicBezTo>
                      <a:pt x="463" y="132"/>
                      <a:pt x="463" y="132"/>
                      <a:pt x="463" y="132"/>
                    </a:cubicBezTo>
                    <a:cubicBezTo>
                      <a:pt x="545" y="167"/>
                      <a:pt x="545" y="167"/>
                      <a:pt x="545" y="167"/>
                    </a:cubicBezTo>
                    <a:cubicBezTo>
                      <a:pt x="540" y="164"/>
                      <a:pt x="530" y="157"/>
                      <a:pt x="519" y="150"/>
                    </a:cubicBezTo>
                    <a:cubicBezTo>
                      <a:pt x="543" y="163"/>
                      <a:pt x="562" y="170"/>
                      <a:pt x="569" y="174"/>
                    </a:cubicBezTo>
                    <a:cubicBezTo>
                      <a:pt x="600" y="197"/>
                      <a:pt x="510" y="211"/>
                      <a:pt x="376" y="185"/>
                    </a:cubicBezTo>
                    <a:cubicBezTo>
                      <a:pt x="300" y="170"/>
                      <a:pt x="133" y="134"/>
                      <a:pt x="43" y="172"/>
                    </a:cubicBezTo>
                    <a:cubicBezTo>
                      <a:pt x="1" y="191"/>
                      <a:pt x="0" y="239"/>
                      <a:pt x="81" y="268"/>
                    </a:cubicBezTo>
                    <a:cubicBezTo>
                      <a:pt x="86" y="268"/>
                      <a:pt x="169" y="268"/>
                      <a:pt x="172" y="268"/>
                    </a:cubicBezTo>
                    <a:cubicBezTo>
                      <a:pt x="150" y="256"/>
                      <a:pt x="125" y="239"/>
                      <a:pt x="108" y="217"/>
                    </a:cubicBezTo>
                    <a:cubicBezTo>
                      <a:pt x="82" y="183"/>
                      <a:pt x="143" y="169"/>
                      <a:pt x="243" y="177"/>
                    </a:cubicBezTo>
                    <a:cubicBezTo>
                      <a:pt x="179" y="174"/>
                      <a:pt x="115" y="182"/>
                      <a:pt x="163" y="219"/>
                    </a:cubicBezTo>
                    <a:cubicBezTo>
                      <a:pt x="189" y="240"/>
                      <a:pt x="230" y="256"/>
                      <a:pt x="273" y="268"/>
                    </a:cubicBezTo>
                    <a:cubicBezTo>
                      <a:pt x="282" y="268"/>
                      <a:pt x="388" y="268"/>
                      <a:pt x="390" y="268"/>
                    </a:cubicBezTo>
                    <a:cubicBezTo>
                      <a:pt x="298" y="251"/>
                      <a:pt x="195" y="227"/>
                      <a:pt x="209" y="206"/>
                    </a:cubicBezTo>
                    <a:cubicBezTo>
                      <a:pt x="238" y="159"/>
                      <a:pt x="572" y="263"/>
                      <a:pt x="613" y="212"/>
                    </a:cubicBezTo>
                    <a:cubicBezTo>
                      <a:pt x="629" y="191"/>
                      <a:pt x="584" y="174"/>
                      <a:pt x="559" y="166"/>
                    </a:cubicBezTo>
                    <a:close/>
                    <a:moveTo>
                      <a:pt x="41" y="205"/>
                    </a:moveTo>
                    <a:cubicBezTo>
                      <a:pt x="44" y="221"/>
                      <a:pt x="61" y="233"/>
                      <a:pt x="61" y="233"/>
                    </a:cubicBezTo>
                    <a:cubicBezTo>
                      <a:pt x="61" y="233"/>
                      <a:pt x="33" y="221"/>
                      <a:pt x="34" y="202"/>
                    </a:cubicBezTo>
                    <a:cubicBezTo>
                      <a:pt x="35" y="181"/>
                      <a:pt x="71" y="176"/>
                      <a:pt x="71" y="176"/>
                    </a:cubicBezTo>
                    <a:cubicBezTo>
                      <a:pt x="62" y="178"/>
                      <a:pt x="38" y="183"/>
                      <a:pt x="41" y="205"/>
                    </a:cubicBezTo>
                    <a:close/>
                    <a:moveTo>
                      <a:pt x="603" y="197"/>
                    </a:moveTo>
                    <a:cubicBezTo>
                      <a:pt x="597" y="217"/>
                      <a:pt x="539" y="214"/>
                      <a:pt x="521" y="212"/>
                    </a:cubicBezTo>
                    <a:cubicBezTo>
                      <a:pt x="529" y="212"/>
                      <a:pt x="591" y="213"/>
                      <a:pt x="597" y="197"/>
                    </a:cubicBezTo>
                    <a:cubicBezTo>
                      <a:pt x="602" y="186"/>
                      <a:pt x="585" y="179"/>
                      <a:pt x="581" y="177"/>
                    </a:cubicBezTo>
                    <a:cubicBezTo>
                      <a:pt x="585" y="178"/>
                      <a:pt x="605" y="189"/>
                      <a:pt x="603"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grpSp>
          <p:nvGrpSpPr>
            <p:cNvPr id="29" name="Group 28"/>
            <p:cNvGrpSpPr/>
            <p:nvPr userDrawn="1"/>
          </p:nvGrpSpPr>
          <p:grpSpPr>
            <a:xfrm>
              <a:off x="1005539" y="1479403"/>
              <a:ext cx="909923" cy="457133"/>
              <a:chOff x="1751012" y="1069975"/>
              <a:chExt cx="2359025" cy="1143001"/>
            </a:xfrm>
            <a:solidFill>
              <a:schemeClr val="bg1">
                <a:lumMod val="50000"/>
              </a:schemeClr>
            </a:solidFill>
          </p:grpSpPr>
          <p:sp>
            <p:nvSpPr>
              <p:cNvPr id="30" name="Freeform 30"/>
              <p:cNvSpPr>
                <a:spLocks/>
              </p:cNvSpPr>
              <p:nvPr/>
            </p:nvSpPr>
            <p:spPr bwMode="auto">
              <a:xfrm>
                <a:off x="2827338" y="1069975"/>
                <a:ext cx="1068387" cy="752475"/>
              </a:xfrm>
              <a:custGeom>
                <a:avLst/>
                <a:gdLst>
                  <a:gd name="T0" fmla="*/ 19 w 285"/>
                  <a:gd name="T1" fmla="*/ 61 h 201"/>
                  <a:gd name="T2" fmla="*/ 56 w 285"/>
                  <a:gd name="T3" fmla="*/ 92 h 201"/>
                  <a:gd name="T4" fmla="*/ 74 w 285"/>
                  <a:gd name="T5" fmla="*/ 83 h 201"/>
                  <a:gd name="T6" fmla="*/ 130 w 285"/>
                  <a:gd name="T7" fmla="*/ 122 h 201"/>
                  <a:gd name="T8" fmla="*/ 151 w 285"/>
                  <a:gd name="T9" fmla="*/ 110 h 201"/>
                  <a:gd name="T10" fmla="*/ 152 w 285"/>
                  <a:gd name="T11" fmla="*/ 111 h 201"/>
                  <a:gd name="T12" fmla="*/ 253 w 285"/>
                  <a:gd name="T13" fmla="*/ 184 h 201"/>
                  <a:gd name="T14" fmla="*/ 279 w 285"/>
                  <a:gd name="T15" fmla="*/ 201 h 201"/>
                  <a:gd name="T16" fmla="*/ 285 w 285"/>
                  <a:gd name="T17" fmla="*/ 157 h 201"/>
                  <a:gd name="T18" fmla="*/ 128 w 285"/>
                  <a:gd name="T19" fmla="*/ 0 h 201"/>
                  <a:gd name="T20" fmla="*/ 0 w 285"/>
                  <a:gd name="T21" fmla="*/ 66 h 201"/>
                  <a:gd name="T22" fmla="*/ 2 w 285"/>
                  <a:gd name="T23" fmla="*/ 67 h 201"/>
                  <a:gd name="T24" fmla="*/ 19 w 285"/>
                  <a:gd name="T25" fmla="*/ 6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5" h="201">
                    <a:moveTo>
                      <a:pt x="19" y="61"/>
                    </a:moveTo>
                    <a:cubicBezTo>
                      <a:pt x="56" y="92"/>
                      <a:pt x="56" y="92"/>
                      <a:pt x="56" y="92"/>
                    </a:cubicBezTo>
                    <a:cubicBezTo>
                      <a:pt x="74" y="83"/>
                      <a:pt x="74" y="83"/>
                      <a:pt x="74" y="83"/>
                    </a:cubicBezTo>
                    <a:cubicBezTo>
                      <a:pt x="130" y="122"/>
                      <a:pt x="130" y="122"/>
                      <a:pt x="130" y="122"/>
                    </a:cubicBezTo>
                    <a:cubicBezTo>
                      <a:pt x="151" y="110"/>
                      <a:pt x="151" y="110"/>
                      <a:pt x="151" y="110"/>
                    </a:cubicBezTo>
                    <a:cubicBezTo>
                      <a:pt x="152" y="111"/>
                      <a:pt x="152" y="111"/>
                      <a:pt x="152" y="111"/>
                    </a:cubicBezTo>
                    <a:cubicBezTo>
                      <a:pt x="187" y="140"/>
                      <a:pt x="227" y="166"/>
                      <a:pt x="253" y="184"/>
                    </a:cubicBezTo>
                    <a:cubicBezTo>
                      <a:pt x="267" y="193"/>
                      <a:pt x="275" y="198"/>
                      <a:pt x="279" y="201"/>
                    </a:cubicBezTo>
                    <a:cubicBezTo>
                      <a:pt x="283" y="187"/>
                      <a:pt x="285" y="173"/>
                      <a:pt x="285" y="157"/>
                    </a:cubicBezTo>
                    <a:cubicBezTo>
                      <a:pt x="285" y="70"/>
                      <a:pt x="215" y="0"/>
                      <a:pt x="128" y="0"/>
                    </a:cubicBezTo>
                    <a:cubicBezTo>
                      <a:pt x="75" y="0"/>
                      <a:pt x="29" y="26"/>
                      <a:pt x="0" y="66"/>
                    </a:cubicBezTo>
                    <a:cubicBezTo>
                      <a:pt x="2" y="67"/>
                      <a:pt x="2" y="67"/>
                      <a:pt x="2" y="67"/>
                    </a:cubicBezTo>
                    <a:lnTo>
                      <a:pt x="19"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31" name="Freeform 31"/>
              <p:cNvSpPr>
                <a:spLocks noEditPoints="1"/>
              </p:cNvSpPr>
              <p:nvPr/>
            </p:nvSpPr>
            <p:spPr bwMode="auto">
              <a:xfrm>
                <a:off x="1751012" y="1208088"/>
                <a:ext cx="2359025" cy="1004888"/>
              </a:xfrm>
              <a:custGeom>
                <a:avLst/>
                <a:gdLst>
                  <a:gd name="T0" fmla="*/ 540 w 629"/>
                  <a:gd name="T1" fmla="*/ 154 h 268"/>
                  <a:gd name="T2" fmla="*/ 438 w 629"/>
                  <a:gd name="T3" fmla="*/ 80 h 268"/>
                  <a:gd name="T4" fmla="*/ 361 w 629"/>
                  <a:gd name="T5" fmla="*/ 54 h 268"/>
                  <a:gd name="T6" fmla="*/ 306 w 629"/>
                  <a:gd name="T7" fmla="*/ 31 h 268"/>
                  <a:gd name="T8" fmla="*/ 233 w 629"/>
                  <a:gd name="T9" fmla="*/ 0 h 268"/>
                  <a:gd name="T10" fmla="*/ 190 w 629"/>
                  <a:gd name="T11" fmla="*/ 29 h 268"/>
                  <a:gd name="T12" fmla="*/ 44 w 629"/>
                  <a:gd name="T13" fmla="*/ 163 h 268"/>
                  <a:gd name="T14" fmla="*/ 92 w 629"/>
                  <a:gd name="T15" fmla="*/ 149 h 268"/>
                  <a:gd name="T16" fmla="*/ 110 w 629"/>
                  <a:gd name="T17" fmla="*/ 116 h 268"/>
                  <a:gd name="T18" fmla="*/ 100 w 629"/>
                  <a:gd name="T19" fmla="*/ 111 h 268"/>
                  <a:gd name="T20" fmla="*/ 118 w 629"/>
                  <a:gd name="T21" fmla="*/ 83 h 268"/>
                  <a:gd name="T22" fmla="*/ 190 w 629"/>
                  <a:gd name="T23" fmla="*/ 40 h 268"/>
                  <a:gd name="T24" fmla="*/ 250 w 629"/>
                  <a:gd name="T25" fmla="*/ 49 h 268"/>
                  <a:gd name="T26" fmla="*/ 282 w 629"/>
                  <a:gd name="T27" fmla="*/ 64 h 268"/>
                  <a:gd name="T28" fmla="*/ 303 w 629"/>
                  <a:gd name="T29" fmla="*/ 65 h 268"/>
                  <a:gd name="T30" fmla="*/ 308 w 629"/>
                  <a:gd name="T31" fmla="*/ 39 h 268"/>
                  <a:gd name="T32" fmla="*/ 348 w 629"/>
                  <a:gd name="T33" fmla="*/ 67 h 268"/>
                  <a:gd name="T34" fmla="*/ 408 w 629"/>
                  <a:gd name="T35" fmla="*/ 132 h 268"/>
                  <a:gd name="T36" fmla="*/ 442 w 629"/>
                  <a:gd name="T37" fmla="*/ 139 h 268"/>
                  <a:gd name="T38" fmla="*/ 463 w 629"/>
                  <a:gd name="T39" fmla="*/ 132 h 268"/>
                  <a:gd name="T40" fmla="*/ 519 w 629"/>
                  <a:gd name="T41" fmla="*/ 150 h 268"/>
                  <a:gd name="T42" fmla="*/ 376 w 629"/>
                  <a:gd name="T43" fmla="*/ 185 h 268"/>
                  <a:gd name="T44" fmla="*/ 81 w 629"/>
                  <a:gd name="T45" fmla="*/ 268 h 268"/>
                  <a:gd name="T46" fmla="*/ 108 w 629"/>
                  <a:gd name="T47" fmla="*/ 217 h 268"/>
                  <a:gd name="T48" fmla="*/ 163 w 629"/>
                  <a:gd name="T49" fmla="*/ 219 h 268"/>
                  <a:gd name="T50" fmla="*/ 390 w 629"/>
                  <a:gd name="T51" fmla="*/ 268 h 268"/>
                  <a:gd name="T52" fmla="*/ 613 w 629"/>
                  <a:gd name="T53" fmla="*/ 212 h 268"/>
                  <a:gd name="T54" fmla="*/ 41 w 629"/>
                  <a:gd name="T55" fmla="*/ 205 h 268"/>
                  <a:gd name="T56" fmla="*/ 34 w 629"/>
                  <a:gd name="T57" fmla="*/ 202 h 268"/>
                  <a:gd name="T58" fmla="*/ 41 w 629"/>
                  <a:gd name="T59" fmla="*/ 205 h 268"/>
                  <a:gd name="T60" fmla="*/ 521 w 629"/>
                  <a:gd name="T61" fmla="*/ 212 h 268"/>
                  <a:gd name="T62" fmla="*/ 581 w 629"/>
                  <a:gd name="T63" fmla="*/ 17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29" h="268">
                    <a:moveTo>
                      <a:pt x="559" y="166"/>
                    </a:moveTo>
                    <a:cubicBezTo>
                      <a:pt x="554" y="163"/>
                      <a:pt x="547" y="159"/>
                      <a:pt x="540" y="154"/>
                    </a:cubicBezTo>
                    <a:cubicBezTo>
                      <a:pt x="514" y="137"/>
                      <a:pt x="474" y="110"/>
                      <a:pt x="439" y="81"/>
                    </a:cubicBezTo>
                    <a:cubicBezTo>
                      <a:pt x="438" y="80"/>
                      <a:pt x="438" y="80"/>
                      <a:pt x="438" y="80"/>
                    </a:cubicBezTo>
                    <a:cubicBezTo>
                      <a:pt x="417" y="93"/>
                      <a:pt x="417" y="93"/>
                      <a:pt x="417" y="93"/>
                    </a:cubicBezTo>
                    <a:cubicBezTo>
                      <a:pt x="361" y="54"/>
                      <a:pt x="361" y="54"/>
                      <a:pt x="361" y="54"/>
                    </a:cubicBezTo>
                    <a:cubicBezTo>
                      <a:pt x="343" y="62"/>
                      <a:pt x="343" y="62"/>
                      <a:pt x="343" y="62"/>
                    </a:cubicBezTo>
                    <a:cubicBezTo>
                      <a:pt x="306" y="31"/>
                      <a:pt x="306" y="31"/>
                      <a:pt x="306" y="31"/>
                    </a:cubicBezTo>
                    <a:cubicBezTo>
                      <a:pt x="289" y="38"/>
                      <a:pt x="289" y="38"/>
                      <a:pt x="289" y="38"/>
                    </a:cubicBezTo>
                    <a:cubicBezTo>
                      <a:pt x="233" y="0"/>
                      <a:pt x="233" y="0"/>
                      <a:pt x="233" y="0"/>
                    </a:cubicBezTo>
                    <a:cubicBezTo>
                      <a:pt x="231" y="2"/>
                      <a:pt x="231" y="2"/>
                      <a:pt x="231" y="2"/>
                    </a:cubicBezTo>
                    <a:cubicBezTo>
                      <a:pt x="224" y="9"/>
                      <a:pt x="197" y="29"/>
                      <a:pt x="190" y="29"/>
                    </a:cubicBezTo>
                    <a:cubicBezTo>
                      <a:pt x="184" y="25"/>
                      <a:pt x="174" y="13"/>
                      <a:pt x="174" y="13"/>
                    </a:cubicBezTo>
                    <a:cubicBezTo>
                      <a:pt x="174" y="13"/>
                      <a:pt x="82" y="112"/>
                      <a:pt x="44" y="163"/>
                    </a:cubicBezTo>
                    <a:cubicBezTo>
                      <a:pt x="97" y="121"/>
                      <a:pt x="97" y="121"/>
                      <a:pt x="97" y="121"/>
                    </a:cubicBezTo>
                    <a:cubicBezTo>
                      <a:pt x="92" y="149"/>
                      <a:pt x="92" y="149"/>
                      <a:pt x="92" y="149"/>
                    </a:cubicBezTo>
                    <a:cubicBezTo>
                      <a:pt x="149" y="79"/>
                      <a:pt x="149" y="79"/>
                      <a:pt x="149" y="79"/>
                    </a:cubicBezTo>
                    <a:cubicBezTo>
                      <a:pt x="110" y="116"/>
                      <a:pt x="110" y="116"/>
                      <a:pt x="110" y="116"/>
                    </a:cubicBezTo>
                    <a:cubicBezTo>
                      <a:pt x="156" y="53"/>
                      <a:pt x="156" y="53"/>
                      <a:pt x="156" y="53"/>
                    </a:cubicBezTo>
                    <a:cubicBezTo>
                      <a:pt x="100" y="111"/>
                      <a:pt x="100" y="111"/>
                      <a:pt x="100" y="111"/>
                    </a:cubicBezTo>
                    <a:cubicBezTo>
                      <a:pt x="118" y="83"/>
                      <a:pt x="118" y="83"/>
                      <a:pt x="118" y="83"/>
                    </a:cubicBezTo>
                    <a:cubicBezTo>
                      <a:pt x="118" y="83"/>
                      <a:pt x="118" y="83"/>
                      <a:pt x="118" y="83"/>
                    </a:cubicBezTo>
                    <a:cubicBezTo>
                      <a:pt x="151" y="49"/>
                      <a:pt x="174" y="27"/>
                      <a:pt x="174" y="27"/>
                    </a:cubicBezTo>
                    <a:cubicBezTo>
                      <a:pt x="174" y="27"/>
                      <a:pt x="183" y="38"/>
                      <a:pt x="190" y="40"/>
                    </a:cubicBezTo>
                    <a:cubicBezTo>
                      <a:pt x="199" y="35"/>
                      <a:pt x="222" y="20"/>
                      <a:pt x="222" y="20"/>
                    </a:cubicBezTo>
                    <a:cubicBezTo>
                      <a:pt x="250" y="49"/>
                      <a:pt x="250" y="49"/>
                      <a:pt x="250" y="49"/>
                    </a:cubicBezTo>
                    <a:cubicBezTo>
                      <a:pt x="240" y="21"/>
                      <a:pt x="240" y="21"/>
                      <a:pt x="240" y="21"/>
                    </a:cubicBezTo>
                    <a:cubicBezTo>
                      <a:pt x="282" y="64"/>
                      <a:pt x="282" y="64"/>
                      <a:pt x="282" y="64"/>
                    </a:cubicBezTo>
                    <a:cubicBezTo>
                      <a:pt x="274" y="43"/>
                      <a:pt x="274" y="43"/>
                      <a:pt x="274" y="43"/>
                    </a:cubicBezTo>
                    <a:cubicBezTo>
                      <a:pt x="303" y="65"/>
                      <a:pt x="303" y="65"/>
                      <a:pt x="303" y="65"/>
                    </a:cubicBezTo>
                    <a:cubicBezTo>
                      <a:pt x="296" y="47"/>
                      <a:pt x="296" y="47"/>
                      <a:pt x="296" y="47"/>
                    </a:cubicBezTo>
                    <a:cubicBezTo>
                      <a:pt x="308" y="39"/>
                      <a:pt x="308" y="39"/>
                      <a:pt x="308" y="39"/>
                    </a:cubicBezTo>
                    <a:cubicBezTo>
                      <a:pt x="353" y="89"/>
                      <a:pt x="353" y="89"/>
                      <a:pt x="353" y="89"/>
                    </a:cubicBezTo>
                    <a:cubicBezTo>
                      <a:pt x="348" y="67"/>
                      <a:pt x="348" y="67"/>
                      <a:pt x="348" y="67"/>
                    </a:cubicBezTo>
                    <a:cubicBezTo>
                      <a:pt x="415" y="155"/>
                      <a:pt x="415" y="155"/>
                      <a:pt x="415" y="155"/>
                    </a:cubicBezTo>
                    <a:cubicBezTo>
                      <a:pt x="408" y="132"/>
                      <a:pt x="408" y="132"/>
                      <a:pt x="408" y="132"/>
                    </a:cubicBezTo>
                    <a:cubicBezTo>
                      <a:pt x="457" y="167"/>
                      <a:pt x="457" y="167"/>
                      <a:pt x="457" y="167"/>
                    </a:cubicBezTo>
                    <a:cubicBezTo>
                      <a:pt x="456" y="162"/>
                      <a:pt x="442" y="139"/>
                      <a:pt x="442" y="139"/>
                    </a:cubicBezTo>
                    <a:cubicBezTo>
                      <a:pt x="489" y="169"/>
                      <a:pt x="489" y="169"/>
                      <a:pt x="489" y="169"/>
                    </a:cubicBezTo>
                    <a:cubicBezTo>
                      <a:pt x="463" y="132"/>
                      <a:pt x="463" y="132"/>
                      <a:pt x="463" y="132"/>
                    </a:cubicBezTo>
                    <a:cubicBezTo>
                      <a:pt x="545" y="167"/>
                      <a:pt x="545" y="167"/>
                      <a:pt x="545" y="167"/>
                    </a:cubicBezTo>
                    <a:cubicBezTo>
                      <a:pt x="540" y="164"/>
                      <a:pt x="530" y="157"/>
                      <a:pt x="519" y="150"/>
                    </a:cubicBezTo>
                    <a:cubicBezTo>
                      <a:pt x="543" y="163"/>
                      <a:pt x="562" y="170"/>
                      <a:pt x="569" y="174"/>
                    </a:cubicBezTo>
                    <a:cubicBezTo>
                      <a:pt x="600" y="197"/>
                      <a:pt x="510" y="211"/>
                      <a:pt x="376" y="185"/>
                    </a:cubicBezTo>
                    <a:cubicBezTo>
                      <a:pt x="300" y="170"/>
                      <a:pt x="133" y="134"/>
                      <a:pt x="43" y="172"/>
                    </a:cubicBezTo>
                    <a:cubicBezTo>
                      <a:pt x="1" y="191"/>
                      <a:pt x="0" y="239"/>
                      <a:pt x="81" y="268"/>
                    </a:cubicBezTo>
                    <a:cubicBezTo>
                      <a:pt x="86" y="268"/>
                      <a:pt x="169" y="268"/>
                      <a:pt x="172" y="268"/>
                    </a:cubicBezTo>
                    <a:cubicBezTo>
                      <a:pt x="150" y="256"/>
                      <a:pt x="125" y="239"/>
                      <a:pt x="108" y="217"/>
                    </a:cubicBezTo>
                    <a:cubicBezTo>
                      <a:pt x="82" y="183"/>
                      <a:pt x="143" y="169"/>
                      <a:pt x="243" y="177"/>
                    </a:cubicBezTo>
                    <a:cubicBezTo>
                      <a:pt x="179" y="174"/>
                      <a:pt x="115" y="182"/>
                      <a:pt x="163" y="219"/>
                    </a:cubicBezTo>
                    <a:cubicBezTo>
                      <a:pt x="189" y="240"/>
                      <a:pt x="230" y="256"/>
                      <a:pt x="273" y="268"/>
                    </a:cubicBezTo>
                    <a:cubicBezTo>
                      <a:pt x="282" y="268"/>
                      <a:pt x="388" y="268"/>
                      <a:pt x="390" y="268"/>
                    </a:cubicBezTo>
                    <a:cubicBezTo>
                      <a:pt x="298" y="251"/>
                      <a:pt x="195" y="227"/>
                      <a:pt x="209" y="206"/>
                    </a:cubicBezTo>
                    <a:cubicBezTo>
                      <a:pt x="238" y="159"/>
                      <a:pt x="572" y="263"/>
                      <a:pt x="613" y="212"/>
                    </a:cubicBezTo>
                    <a:cubicBezTo>
                      <a:pt x="629" y="191"/>
                      <a:pt x="584" y="174"/>
                      <a:pt x="559" y="166"/>
                    </a:cubicBezTo>
                    <a:close/>
                    <a:moveTo>
                      <a:pt x="41" y="205"/>
                    </a:moveTo>
                    <a:cubicBezTo>
                      <a:pt x="44" y="221"/>
                      <a:pt x="61" y="233"/>
                      <a:pt x="61" y="233"/>
                    </a:cubicBezTo>
                    <a:cubicBezTo>
                      <a:pt x="61" y="233"/>
                      <a:pt x="33" y="221"/>
                      <a:pt x="34" y="202"/>
                    </a:cubicBezTo>
                    <a:cubicBezTo>
                      <a:pt x="35" y="181"/>
                      <a:pt x="71" y="176"/>
                      <a:pt x="71" y="176"/>
                    </a:cubicBezTo>
                    <a:cubicBezTo>
                      <a:pt x="62" y="178"/>
                      <a:pt x="38" y="183"/>
                      <a:pt x="41" y="205"/>
                    </a:cubicBezTo>
                    <a:close/>
                    <a:moveTo>
                      <a:pt x="603" y="197"/>
                    </a:moveTo>
                    <a:cubicBezTo>
                      <a:pt x="597" y="217"/>
                      <a:pt x="539" y="214"/>
                      <a:pt x="521" y="212"/>
                    </a:cubicBezTo>
                    <a:cubicBezTo>
                      <a:pt x="529" y="212"/>
                      <a:pt x="591" y="213"/>
                      <a:pt x="597" y="197"/>
                    </a:cubicBezTo>
                    <a:cubicBezTo>
                      <a:pt x="602" y="186"/>
                      <a:pt x="585" y="179"/>
                      <a:pt x="581" y="177"/>
                    </a:cubicBezTo>
                    <a:cubicBezTo>
                      <a:pt x="585" y="178"/>
                      <a:pt x="605" y="189"/>
                      <a:pt x="603"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grpSp>
      <p:sp>
        <p:nvSpPr>
          <p:cNvPr id="10" name="Picture Placeholder 9"/>
          <p:cNvSpPr>
            <a:spLocks noGrp="1"/>
          </p:cNvSpPr>
          <p:nvPr>
            <p:ph type="pic" sz="quarter" idx="12" hasCustomPrompt="1"/>
          </p:nvPr>
        </p:nvSpPr>
        <p:spPr>
          <a:xfrm>
            <a:off x="611720" y="1736704"/>
            <a:ext cx="2671233" cy="1690688"/>
          </a:xfrm>
          <a:ln>
            <a:solidFill>
              <a:schemeClr val="tx1"/>
            </a:solidFill>
          </a:ln>
        </p:spPr>
        <p:txBody>
          <a:bodyPr tIns="1280160" rIns="109728" bIns="274320" anchor="b" anchorCtr="0"/>
          <a:lstStyle>
            <a:lvl1pPr marL="0" indent="0" algn="ctr">
              <a:buNone/>
              <a:defRPr sz="1600" baseline="0"/>
            </a:lvl1pPr>
          </a:lstStyle>
          <a:p>
            <a:r>
              <a:rPr lang="en-US" dirty="0"/>
              <a:t>CLICK ▲ ICON                   to add photo</a:t>
            </a:r>
          </a:p>
        </p:txBody>
      </p:sp>
      <p:sp>
        <p:nvSpPr>
          <p:cNvPr id="11" name="Picture Placeholder 9"/>
          <p:cNvSpPr>
            <a:spLocks noGrp="1"/>
          </p:cNvSpPr>
          <p:nvPr>
            <p:ph type="pic" sz="quarter" idx="13" hasCustomPrompt="1"/>
          </p:nvPr>
        </p:nvSpPr>
        <p:spPr>
          <a:xfrm>
            <a:off x="611720" y="4302635"/>
            <a:ext cx="2671233" cy="1690688"/>
          </a:xfrm>
          <a:ln>
            <a:solidFill>
              <a:schemeClr val="tx1"/>
            </a:solidFill>
          </a:ln>
        </p:spPr>
        <p:txBody>
          <a:bodyPr tIns="1280160" rIns="109728" bIns="274320" anchor="b" anchorCtr="0"/>
          <a:lstStyle>
            <a:lvl1pPr marL="0" indent="0" algn="ctr" defTabSz="1219170" rtl="0" eaLnBrk="1" latinLnBrk="0" hangingPunct="1">
              <a:lnSpc>
                <a:spcPct val="90000"/>
              </a:lnSpc>
              <a:spcBef>
                <a:spcPts val="2400"/>
              </a:spcBef>
              <a:buClr>
                <a:srgbClr val="00A9E0"/>
              </a:buClr>
              <a:buSzPct val="100000"/>
              <a:buFont typeface="Arial" panose="020B0604020202020204" pitchFamily="34" charset="0"/>
              <a:buNone/>
              <a:defRPr lang="en-US" sz="1600" b="0" kern="1200" baseline="0" dirty="0">
                <a:solidFill>
                  <a:srgbClr val="000000"/>
                </a:solidFill>
                <a:latin typeface="Arial" panose="020B0604020202020204" pitchFamily="34" charset="0"/>
                <a:ea typeface="+mn-ea"/>
                <a:cs typeface="Arial" panose="020B0604020202020204" pitchFamily="34" charset="0"/>
              </a:defRPr>
            </a:lvl1pPr>
          </a:lstStyle>
          <a:p>
            <a:r>
              <a:rPr lang="en-US" dirty="0"/>
              <a:t>CLICK ▲ ICON                   to add photo</a:t>
            </a:r>
          </a:p>
        </p:txBody>
      </p:sp>
      <p:sp>
        <p:nvSpPr>
          <p:cNvPr id="2" name="Title 1"/>
          <p:cNvSpPr>
            <a:spLocks noGrp="1"/>
          </p:cNvSpPr>
          <p:nvPr userDrawn="1">
            <p:ph type="title" hasCustomPrompt="1"/>
          </p:nvPr>
        </p:nvSpPr>
        <p:spPr/>
        <p:txBody>
          <a:bodyPr/>
          <a:lstStyle>
            <a:lvl1pPr>
              <a:defRPr sz="3200"/>
            </a:lvl1pPr>
          </a:lstStyle>
          <a:p>
            <a:r>
              <a:rPr lang="en-US" dirty="0"/>
              <a:t>Comparing two items or features</a:t>
            </a:r>
          </a:p>
        </p:txBody>
      </p:sp>
      <p:sp>
        <p:nvSpPr>
          <p:cNvPr id="4" name="Text Placeholder 3"/>
          <p:cNvSpPr>
            <a:spLocks noGrp="1"/>
          </p:cNvSpPr>
          <p:nvPr userDrawn="1">
            <p:ph type="body" sz="quarter" idx="10" hasCustomPrompt="1"/>
          </p:nvPr>
        </p:nvSpPr>
        <p:spPr>
          <a:xfrm>
            <a:off x="3676357" y="1535378"/>
            <a:ext cx="7908160" cy="2103396"/>
          </a:xfrm>
        </p:spPr>
        <p:txBody>
          <a:bodyPr/>
          <a:lstStyle>
            <a:lvl1pPr marL="0" indent="0">
              <a:buNone/>
              <a:defRPr sz="2133" baseline="0"/>
            </a:lvl1pPr>
          </a:lstStyle>
          <a:p>
            <a:pPr lvl="0"/>
            <a:r>
              <a:rPr lang="en-US" dirty="0"/>
              <a:t>Enter your text here</a:t>
            </a:r>
          </a:p>
        </p:txBody>
      </p:sp>
      <p:sp>
        <p:nvSpPr>
          <p:cNvPr id="5" name="Text Placeholder 3"/>
          <p:cNvSpPr>
            <a:spLocks noGrp="1"/>
          </p:cNvSpPr>
          <p:nvPr userDrawn="1">
            <p:ph type="body" sz="quarter" idx="11" hasCustomPrompt="1"/>
          </p:nvPr>
        </p:nvSpPr>
        <p:spPr>
          <a:xfrm>
            <a:off x="3676357" y="4128454"/>
            <a:ext cx="7908160" cy="2058407"/>
          </a:xfrm>
        </p:spPr>
        <p:txBody>
          <a:bodyPr/>
          <a:lstStyle>
            <a:lvl1pPr marL="0" indent="0">
              <a:buNone/>
              <a:defRPr sz="2133"/>
            </a:lvl1pPr>
          </a:lstStyle>
          <a:p>
            <a:pPr lvl="0"/>
            <a:r>
              <a:rPr lang="en-US" dirty="0"/>
              <a:t>Enter your text here</a:t>
            </a:r>
          </a:p>
        </p:txBody>
      </p:sp>
      <p:cxnSp>
        <p:nvCxnSpPr>
          <p:cNvPr id="7" name="Straight Connector 6"/>
          <p:cNvCxnSpPr/>
          <p:nvPr userDrawn="1"/>
        </p:nvCxnSpPr>
        <p:spPr>
          <a:xfrm>
            <a:off x="611717" y="3860359"/>
            <a:ext cx="11580283"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21" name="Text Placeholder 4"/>
          <p:cNvSpPr>
            <a:spLocks noGrp="1"/>
          </p:cNvSpPr>
          <p:nvPr userDrawn="1">
            <p:ph type="body" sz="quarter" idx="14" hasCustomPrompt="1"/>
          </p:nvPr>
        </p:nvSpPr>
        <p:spPr>
          <a:xfrm>
            <a:off x="589139" y="881767"/>
            <a:ext cx="10972800" cy="366932"/>
          </a:xfrm>
        </p:spPr>
        <p:txBody>
          <a:bodyPr/>
          <a:lstStyle>
            <a:lvl1pPr marL="0" indent="0">
              <a:buNone/>
              <a:defRPr sz="2667" baseline="0"/>
            </a:lvl1pPr>
            <a:lvl2pPr marL="302675" indent="0">
              <a:buNone/>
              <a:defRPr/>
            </a:lvl2pPr>
          </a:lstStyle>
          <a:p>
            <a:pPr lvl="0"/>
            <a:r>
              <a:rPr lang="en-US" dirty="0"/>
              <a:t>Sub-header optional—delete if not needed</a:t>
            </a:r>
          </a:p>
        </p:txBody>
      </p:sp>
      <p:sp>
        <p:nvSpPr>
          <p:cNvPr id="22" name="Text Placeholder 5"/>
          <p:cNvSpPr>
            <a:spLocks noGrp="1"/>
          </p:cNvSpPr>
          <p:nvPr userDrawn="1">
            <p:ph type="body" sz="quarter" idx="15" hasCustomPrompt="1"/>
          </p:nvPr>
        </p:nvSpPr>
        <p:spPr>
          <a:xfrm>
            <a:off x="3138793" y="6560363"/>
            <a:ext cx="5927388" cy="214955"/>
          </a:xfrm>
        </p:spPr>
        <p:txBody>
          <a:bodyPr/>
          <a:lstStyle>
            <a:lvl1pPr marL="0" indent="0" algn="ctr">
              <a:buNone/>
              <a:defRPr sz="933" baseline="0"/>
            </a:lvl1pPr>
          </a:lstStyle>
          <a:p>
            <a:pPr lvl="0"/>
            <a:r>
              <a:rPr lang="en-US" dirty="0"/>
              <a:t>For internal use only.</a:t>
            </a:r>
          </a:p>
        </p:txBody>
      </p:sp>
      <p:grpSp>
        <p:nvGrpSpPr>
          <p:cNvPr id="23" name="Group 22"/>
          <p:cNvGrpSpPr/>
          <p:nvPr userDrawn="1"/>
        </p:nvGrpSpPr>
        <p:grpSpPr>
          <a:xfrm>
            <a:off x="-2120087" y="1725355"/>
            <a:ext cx="1879365" cy="2359171"/>
            <a:chOff x="-1663544" y="2872984"/>
            <a:chExt cx="1409524" cy="2359171"/>
          </a:xfrm>
        </p:grpSpPr>
        <p:pic>
          <p:nvPicPr>
            <p:cNvPr id="2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663544" y="4584536"/>
              <a:ext cx="1409524" cy="6476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TextBox 24"/>
            <p:cNvSpPr txBox="1"/>
            <p:nvPr/>
          </p:nvSpPr>
          <p:spPr>
            <a:xfrm>
              <a:off x="-1663544" y="2872984"/>
              <a:ext cx="1386540" cy="1384995"/>
            </a:xfrm>
            <a:prstGeom prst="rect">
              <a:avLst/>
            </a:prstGeom>
            <a:noFill/>
          </p:spPr>
          <p:txBody>
            <a:bodyPr wrap="square" rtlCol="0">
              <a:spAutoFit/>
            </a:bodyPr>
            <a:lstStyle/>
            <a:p>
              <a:r>
                <a:rPr lang="en-US" sz="1400" dirty="0"/>
                <a:t>To crop image or reposition image inside of frame, right click on the image and select the crop tool</a:t>
              </a:r>
            </a:p>
          </p:txBody>
        </p:sp>
      </p:grpSp>
    </p:spTree>
    <p:extLst>
      <p:ext uri="{BB962C8B-B14F-4D97-AF65-F5344CB8AC3E}">
        <p14:creationId xmlns:p14="http://schemas.microsoft.com/office/powerpoint/2010/main" val="352072742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anoramic image with text">
    <p:spTree>
      <p:nvGrpSpPr>
        <p:cNvPr id="1" name=""/>
        <p:cNvGrpSpPr/>
        <p:nvPr/>
      </p:nvGrpSpPr>
      <p:grpSpPr>
        <a:xfrm>
          <a:off x="0" y="0"/>
          <a:ext cx="0" cy="0"/>
          <a:chOff x="0" y="0"/>
          <a:chExt cx="0" cy="0"/>
        </a:xfrm>
      </p:grpSpPr>
      <p:sp>
        <p:nvSpPr>
          <p:cNvPr id="12" name="Rectangle 11"/>
          <p:cNvSpPr/>
          <p:nvPr userDrawn="1"/>
        </p:nvSpPr>
        <p:spPr>
          <a:xfrm>
            <a:off x="737514" y="4229107"/>
            <a:ext cx="10638060" cy="1836964"/>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0" name="Picture Placeholder 9"/>
          <p:cNvSpPr>
            <a:spLocks noGrp="1"/>
          </p:cNvSpPr>
          <p:nvPr>
            <p:ph type="pic" sz="quarter" idx="12" hasCustomPrompt="1"/>
          </p:nvPr>
        </p:nvSpPr>
        <p:spPr>
          <a:xfrm>
            <a:off x="611717" y="4101880"/>
            <a:ext cx="10972800" cy="2078491"/>
          </a:xfrm>
          <a:ln>
            <a:solidFill>
              <a:schemeClr val="tx1"/>
            </a:solidFill>
          </a:ln>
        </p:spPr>
        <p:txBody>
          <a:bodyPr tIns="1097280" bIns="274320" anchor="b" anchorCtr="0"/>
          <a:lstStyle>
            <a:lvl1pPr marL="0" indent="0" algn="ctr">
              <a:buNone/>
              <a:defRPr sz="1600" baseline="0"/>
            </a:lvl1pPr>
          </a:lstStyle>
          <a:p>
            <a:r>
              <a:rPr lang="en-US" dirty="0"/>
              <a:t>CLICK ▲ ICON                                                                                                                                                                                   to add photo</a:t>
            </a:r>
          </a:p>
        </p:txBody>
      </p:sp>
      <p:grpSp>
        <p:nvGrpSpPr>
          <p:cNvPr id="14" name="Group 13"/>
          <p:cNvGrpSpPr/>
          <p:nvPr userDrawn="1"/>
        </p:nvGrpSpPr>
        <p:grpSpPr>
          <a:xfrm>
            <a:off x="883131" y="4524386"/>
            <a:ext cx="2759955" cy="1386564"/>
            <a:chOff x="1751012" y="1069975"/>
            <a:chExt cx="2359025" cy="1143001"/>
          </a:xfrm>
          <a:solidFill>
            <a:schemeClr val="bg1">
              <a:lumMod val="50000"/>
            </a:schemeClr>
          </a:solidFill>
        </p:grpSpPr>
        <p:sp>
          <p:nvSpPr>
            <p:cNvPr id="15" name="Freeform 30"/>
            <p:cNvSpPr>
              <a:spLocks/>
            </p:cNvSpPr>
            <p:nvPr/>
          </p:nvSpPr>
          <p:spPr bwMode="auto">
            <a:xfrm>
              <a:off x="2827338" y="1069975"/>
              <a:ext cx="1068387" cy="752475"/>
            </a:xfrm>
            <a:custGeom>
              <a:avLst/>
              <a:gdLst>
                <a:gd name="T0" fmla="*/ 19 w 285"/>
                <a:gd name="T1" fmla="*/ 61 h 201"/>
                <a:gd name="T2" fmla="*/ 56 w 285"/>
                <a:gd name="T3" fmla="*/ 92 h 201"/>
                <a:gd name="T4" fmla="*/ 74 w 285"/>
                <a:gd name="T5" fmla="*/ 83 h 201"/>
                <a:gd name="T6" fmla="*/ 130 w 285"/>
                <a:gd name="T7" fmla="*/ 122 h 201"/>
                <a:gd name="T8" fmla="*/ 151 w 285"/>
                <a:gd name="T9" fmla="*/ 110 h 201"/>
                <a:gd name="T10" fmla="*/ 152 w 285"/>
                <a:gd name="T11" fmla="*/ 111 h 201"/>
                <a:gd name="T12" fmla="*/ 253 w 285"/>
                <a:gd name="T13" fmla="*/ 184 h 201"/>
                <a:gd name="T14" fmla="*/ 279 w 285"/>
                <a:gd name="T15" fmla="*/ 201 h 201"/>
                <a:gd name="T16" fmla="*/ 285 w 285"/>
                <a:gd name="T17" fmla="*/ 157 h 201"/>
                <a:gd name="T18" fmla="*/ 128 w 285"/>
                <a:gd name="T19" fmla="*/ 0 h 201"/>
                <a:gd name="T20" fmla="*/ 0 w 285"/>
                <a:gd name="T21" fmla="*/ 66 h 201"/>
                <a:gd name="T22" fmla="*/ 2 w 285"/>
                <a:gd name="T23" fmla="*/ 67 h 201"/>
                <a:gd name="T24" fmla="*/ 19 w 285"/>
                <a:gd name="T25" fmla="*/ 6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5" h="201">
                  <a:moveTo>
                    <a:pt x="19" y="61"/>
                  </a:moveTo>
                  <a:cubicBezTo>
                    <a:pt x="56" y="92"/>
                    <a:pt x="56" y="92"/>
                    <a:pt x="56" y="92"/>
                  </a:cubicBezTo>
                  <a:cubicBezTo>
                    <a:pt x="74" y="83"/>
                    <a:pt x="74" y="83"/>
                    <a:pt x="74" y="83"/>
                  </a:cubicBezTo>
                  <a:cubicBezTo>
                    <a:pt x="130" y="122"/>
                    <a:pt x="130" y="122"/>
                    <a:pt x="130" y="122"/>
                  </a:cubicBezTo>
                  <a:cubicBezTo>
                    <a:pt x="151" y="110"/>
                    <a:pt x="151" y="110"/>
                    <a:pt x="151" y="110"/>
                  </a:cubicBezTo>
                  <a:cubicBezTo>
                    <a:pt x="152" y="111"/>
                    <a:pt x="152" y="111"/>
                    <a:pt x="152" y="111"/>
                  </a:cubicBezTo>
                  <a:cubicBezTo>
                    <a:pt x="187" y="140"/>
                    <a:pt x="227" y="166"/>
                    <a:pt x="253" y="184"/>
                  </a:cubicBezTo>
                  <a:cubicBezTo>
                    <a:pt x="267" y="193"/>
                    <a:pt x="275" y="198"/>
                    <a:pt x="279" y="201"/>
                  </a:cubicBezTo>
                  <a:cubicBezTo>
                    <a:pt x="283" y="187"/>
                    <a:pt x="285" y="173"/>
                    <a:pt x="285" y="157"/>
                  </a:cubicBezTo>
                  <a:cubicBezTo>
                    <a:pt x="285" y="70"/>
                    <a:pt x="215" y="0"/>
                    <a:pt x="128" y="0"/>
                  </a:cubicBezTo>
                  <a:cubicBezTo>
                    <a:pt x="75" y="0"/>
                    <a:pt x="29" y="26"/>
                    <a:pt x="0" y="66"/>
                  </a:cubicBezTo>
                  <a:cubicBezTo>
                    <a:pt x="2" y="67"/>
                    <a:pt x="2" y="67"/>
                    <a:pt x="2" y="67"/>
                  </a:cubicBezTo>
                  <a:lnTo>
                    <a:pt x="19"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6" name="Freeform 31"/>
            <p:cNvSpPr>
              <a:spLocks noEditPoints="1"/>
            </p:cNvSpPr>
            <p:nvPr/>
          </p:nvSpPr>
          <p:spPr bwMode="auto">
            <a:xfrm>
              <a:off x="1751012" y="1208088"/>
              <a:ext cx="2359025" cy="1004888"/>
            </a:xfrm>
            <a:custGeom>
              <a:avLst/>
              <a:gdLst>
                <a:gd name="T0" fmla="*/ 540 w 629"/>
                <a:gd name="T1" fmla="*/ 154 h 268"/>
                <a:gd name="T2" fmla="*/ 438 w 629"/>
                <a:gd name="T3" fmla="*/ 80 h 268"/>
                <a:gd name="T4" fmla="*/ 361 w 629"/>
                <a:gd name="T5" fmla="*/ 54 h 268"/>
                <a:gd name="T6" fmla="*/ 306 w 629"/>
                <a:gd name="T7" fmla="*/ 31 h 268"/>
                <a:gd name="T8" fmla="*/ 233 w 629"/>
                <a:gd name="T9" fmla="*/ 0 h 268"/>
                <a:gd name="T10" fmla="*/ 190 w 629"/>
                <a:gd name="T11" fmla="*/ 29 h 268"/>
                <a:gd name="T12" fmla="*/ 44 w 629"/>
                <a:gd name="T13" fmla="*/ 163 h 268"/>
                <a:gd name="T14" fmla="*/ 92 w 629"/>
                <a:gd name="T15" fmla="*/ 149 h 268"/>
                <a:gd name="T16" fmla="*/ 110 w 629"/>
                <a:gd name="T17" fmla="*/ 116 h 268"/>
                <a:gd name="T18" fmla="*/ 100 w 629"/>
                <a:gd name="T19" fmla="*/ 111 h 268"/>
                <a:gd name="T20" fmla="*/ 118 w 629"/>
                <a:gd name="T21" fmla="*/ 83 h 268"/>
                <a:gd name="T22" fmla="*/ 190 w 629"/>
                <a:gd name="T23" fmla="*/ 40 h 268"/>
                <a:gd name="T24" fmla="*/ 250 w 629"/>
                <a:gd name="T25" fmla="*/ 49 h 268"/>
                <a:gd name="T26" fmla="*/ 282 w 629"/>
                <a:gd name="T27" fmla="*/ 64 h 268"/>
                <a:gd name="T28" fmla="*/ 303 w 629"/>
                <a:gd name="T29" fmla="*/ 65 h 268"/>
                <a:gd name="T30" fmla="*/ 308 w 629"/>
                <a:gd name="T31" fmla="*/ 39 h 268"/>
                <a:gd name="T32" fmla="*/ 348 w 629"/>
                <a:gd name="T33" fmla="*/ 67 h 268"/>
                <a:gd name="T34" fmla="*/ 408 w 629"/>
                <a:gd name="T35" fmla="*/ 132 h 268"/>
                <a:gd name="T36" fmla="*/ 442 w 629"/>
                <a:gd name="T37" fmla="*/ 139 h 268"/>
                <a:gd name="T38" fmla="*/ 463 w 629"/>
                <a:gd name="T39" fmla="*/ 132 h 268"/>
                <a:gd name="T40" fmla="*/ 519 w 629"/>
                <a:gd name="T41" fmla="*/ 150 h 268"/>
                <a:gd name="T42" fmla="*/ 376 w 629"/>
                <a:gd name="T43" fmla="*/ 185 h 268"/>
                <a:gd name="T44" fmla="*/ 81 w 629"/>
                <a:gd name="T45" fmla="*/ 268 h 268"/>
                <a:gd name="T46" fmla="*/ 108 w 629"/>
                <a:gd name="T47" fmla="*/ 217 h 268"/>
                <a:gd name="T48" fmla="*/ 163 w 629"/>
                <a:gd name="T49" fmla="*/ 219 h 268"/>
                <a:gd name="T50" fmla="*/ 390 w 629"/>
                <a:gd name="T51" fmla="*/ 268 h 268"/>
                <a:gd name="T52" fmla="*/ 613 w 629"/>
                <a:gd name="T53" fmla="*/ 212 h 268"/>
                <a:gd name="T54" fmla="*/ 41 w 629"/>
                <a:gd name="T55" fmla="*/ 205 h 268"/>
                <a:gd name="T56" fmla="*/ 34 w 629"/>
                <a:gd name="T57" fmla="*/ 202 h 268"/>
                <a:gd name="T58" fmla="*/ 41 w 629"/>
                <a:gd name="T59" fmla="*/ 205 h 268"/>
                <a:gd name="T60" fmla="*/ 521 w 629"/>
                <a:gd name="T61" fmla="*/ 212 h 268"/>
                <a:gd name="T62" fmla="*/ 581 w 629"/>
                <a:gd name="T63" fmla="*/ 17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29" h="268">
                  <a:moveTo>
                    <a:pt x="559" y="166"/>
                  </a:moveTo>
                  <a:cubicBezTo>
                    <a:pt x="554" y="163"/>
                    <a:pt x="547" y="159"/>
                    <a:pt x="540" y="154"/>
                  </a:cubicBezTo>
                  <a:cubicBezTo>
                    <a:pt x="514" y="137"/>
                    <a:pt x="474" y="110"/>
                    <a:pt x="439" y="81"/>
                  </a:cubicBezTo>
                  <a:cubicBezTo>
                    <a:pt x="438" y="80"/>
                    <a:pt x="438" y="80"/>
                    <a:pt x="438" y="80"/>
                  </a:cubicBezTo>
                  <a:cubicBezTo>
                    <a:pt x="417" y="93"/>
                    <a:pt x="417" y="93"/>
                    <a:pt x="417" y="93"/>
                  </a:cubicBezTo>
                  <a:cubicBezTo>
                    <a:pt x="361" y="54"/>
                    <a:pt x="361" y="54"/>
                    <a:pt x="361" y="54"/>
                  </a:cubicBezTo>
                  <a:cubicBezTo>
                    <a:pt x="343" y="62"/>
                    <a:pt x="343" y="62"/>
                    <a:pt x="343" y="62"/>
                  </a:cubicBezTo>
                  <a:cubicBezTo>
                    <a:pt x="306" y="31"/>
                    <a:pt x="306" y="31"/>
                    <a:pt x="306" y="31"/>
                  </a:cubicBezTo>
                  <a:cubicBezTo>
                    <a:pt x="289" y="38"/>
                    <a:pt x="289" y="38"/>
                    <a:pt x="289" y="38"/>
                  </a:cubicBezTo>
                  <a:cubicBezTo>
                    <a:pt x="233" y="0"/>
                    <a:pt x="233" y="0"/>
                    <a:pt x="233" y="0"/>
                  </a:cubicBezTo>
                  <a:cubicBezTo>
                    <a:pt x="231" y="2"/>
                    <a:pt x="231" y="2"/>
                    <a:pt x="231" y="2"/>
                  </a:cubicBezTo>
                  <a:cubicBezTo>
                    <a:pt x="224" y="9"/>
                    <a:pt x="197" y="29"/>
                    <a:pt x="190" y="29"/>
                  </a:cubicBezTo>
                  <a:cubicBezTo>
                    <a:pt x="184" y="25"/>
                    <a:pt x="174" y="13"/>
                    <a:pt x="174" y="13"/>
                  </a:cubicBezTo>
                  <a:cubicBezTo>
                    <a:pt x="174" y="13"/>
                    <a:pt x="82" y="112"/>
                    <a:pt x="44" y="163"/>
                  </a:cubicBezTo>
                  <a:cubicBezTo>
                    <a:pt x="97" y="121"/>
                    <a:pt x="97" y="121"/>
                    <a:pt x="97" y="121"/>
                  </a:cubicBezTo>
                  <a:cubicBezTo>
                    <a:pt x="92" y="149"/>
                    <a:pt x="92" y="149"/>
                    <a:pt x="92" y="149"/>
                  </a:cubicBezTo>
                  <a:cubicBezTo>
                    <a:pt x="149" y="79"/>
                    <a:pt x="149" y="79"/>
                    <a:pt x="149" y="79"/>
                  </a:cubicBezTo>
                  <a:cubicBezTo>
                    <a:pt x="110" y="116"/>
                    <a:pt x="110" y="116"/>
                    <a:pt x="110" y="116"/>
                  </a:cubicBezTo>
                  <a:cubicBezTo>
                    <a:pt x="156" y="53"/>
                    <a:pt x="156" y="53"/>
                    <a:pt x="156" y="53"/>
                  </a:cubicBezTo>
                  <a:cubicBezTo>
                    <a:pt x="100" y="111"/>
                    <a:pt x="100" y="111"/>
                    <a:pt x="100" y="111"/>
                  </a:cubicBezTo>
                  <a:cubicBezTo>
                    <a:pt x="118" y="83"/>
                    <a:pt x="118" y="83"/>
                    <a:pt x="118" y="83"/>
                  </a:cubicBezTo>
                  <a:cubicBezTo>
                    <a:pt x="118" y="83"/>
                    <a:pt x="118" y="83"/>
                    <a:pt x="118" y="83"/>
                  </a:cubicBezTo>
                  <a:cubicBezTo>
                    <a:pt x="151" y="49"/>
                    <a:pt x="174" y="27"/>
                    <a:pt x="174" y="27"/>
                  </a:cubicBezTo>
                  <a:cubicBezTo>
                    <a:pt x="174" y="27"/>
                    <a:pt x="183" y="38"/>
                    <a:pt x="190" y="40"/>
                  </a:cubicBezTo>
                  <a:cubicBezTo>
                    <a:pt x="199" y="35"/>
                    <a:pt x="222" y="20"/>
                    <a:pt x="222" y="20"/>
                  </a:cubicBezTo>
                  <a:cubicBezTo>
                    <a:pt x="250" y="49"/>
                    <a:pt x="250" y="49"/>
                    <a:pt x="250" y="49"/>
                  </a:cubicBezTo>
                  <a:cubicBezTo>
                    <a:pt x="240" y="21"/>
                    <a:pt x="240" y="21"/>
                    <a:pt x="240" y="21"/>
                  </a:cubicBezTo>
                  <a:cubicBezTo>
                    <a:pt x="282" y="64"/>
                    <a:pt x="282" y="64"/>
                    <a:pt x="282" y="64"/>
                  </a:cubicBezTo>
                  <a:cubicBezTo>
                    <a:pt x="274" y="43"/>
                    <a:pt x="274" y="43"/>
                    <a:pt x="274" y="43"/>
                  </a:cubicBezTo>
                  <a:cubicBezTo>
                    <a:pt x="303" y="65"/>
                    <a:pt x="303" y="65"/>
                    <a:pt x="303" y="65"/>
                  </a:cubicBezTo>
                  <a:cubicBezTo>
                    <a:pt x="296" y="47"/>
                    <a:pt x="296" y="47"/>
                    <a:pt x="296" y="47"/>
                  </a:cubicBezTo>
                  <a:cubicBezTo>
                    <a:pt x="308" y="39"/>
                    <a:pt x="308" y="39"/>
                    <a:pt x="308" y="39"/>
                  </a:cubicBezTo>
                  <a:cubicBezTo>
                    <a:pt x="353" y="89"/>
                    <a:pt x="353" y="89"/>
                    <a:pt x="353" y="89"/>
                  </a:cubicBezTo>
                  <a:cubicBezTo>
                    <a:pt x="348" y="67"/>
                    <a:pt x="348" y="67"/>
                    <a:pt x="348" y="67"/>
                  </a:cubicBezTo>
                  <a:cubicBezTo>
                    <a:pt x="415" y="155"/>
                    <a:pt x="415" y="155"/>
                    <a:pt x="415" y="155"/>
                  </a:cubicBezTo>
                  <a:cubicBezTo>
                    <a:pt x="408" y="132"/>
                    <a:pt x="408" y="132"/>
                    <a:pt x="408" y="132"/>
                  </a:cubicBezTo>
                  <a:cubicBezTo>
                    <a:pt x="457" y="167"/>
                    <a:pt x="457" y="167"/>
                    <a:pt x="457" y="167"/>
                  </a:cubicBezTo>
                  <a:cubicBezTo>
                    <a:pt x="456" y="162"/>
                    <a:pt x="442" y="139"/>
                    <a:pt x="442" y="139"/>
                  </a:cubicBezTo>
                  <a:cubicBezTo>
                    <a:pt x="489" y="169"/>
                    <a:pt x="489" y="169"/>
                    <a:pt x="489" y="169"/>
                  </a:cubicBezTo>
                  <a:cubicBezTo>
                    <a:pt x="463" y="132"/>
                    <a:pt x="463" y="132"/>
                    <a:pt x="463" y="132"/>
                  </a:cubicBezTo>
                  <a:cubicBezTo>
                    <a:pt x="545" y="167"/>
                    <a:pt x="545" y="167"/>
                    <a:pt x="545" y="167"/>
                  </a:cubicBezTo>
                  <a:cubicBezTo>
                    <a:pt x="540" y="164"/>
                    <a:pt x="530" y="157"/>
                    <a:pt x="519" y="150"/>
                  </a:cubicBezTo>
                  <a:cubicBezTo>
                    <a:pt x="543" y="163"/>
                    <a:pt x="562" y="170"/>
                    <a:pt x="569" y="174"/>
                  </a:cubicBezTo>
                  <a:cubicBezTo>
                    <a:pt x="600" y="197"/>
                    <a:pt x="510" y="211"/>
                    <a:pt x="376" y="185"/>
                  </a:cubicBezTo>
                  <a:cubicBezTo>
                    <a:pt x="300" y="170"/>
                    <a:pt x="133" y="134"/>
                    <a:pt x="43" y="172"/>
                  </a:cubicBezTo>
                  <a:cubicBezTo>
                    <a:pt x="1" y="191"/>
                    <a:pt x="0" y="239"/>
                    <a:pt x="81" y="268"/>
                  </a:cubicBezTo>
                  <a:cubicBezTo>
                    <a:pt x="86" y="268"/>
                    <a:pt x="169" y="268"/>
                    <a:pt x="172" y="268"/>
                  </a:cubicBezTo>
                  <a:cubicBezTo>
                    <a:pt x="150" y="256"/>
                    <a:pt x="125" y="239"/>
                    <a:pt x="108" y="217"/>
                  </a:cubicBezTo>
                  <a:cubicBezTo>
                    <a:pt x="82" y="183"/>
                    <a:pt x="143" y="169"/>
                    <a:pt x="243" y="177"/>
                  </a:cubicBezTo>
                  <a:cubicBezTo>
                    <a:pt x="179" y="174"/>
                    <a:pt x="115" y="182"/>
                    <a:pt x="163" y="219"/>
                  </a:cubicBezTo>
                  <a:cubicBezTo>
                    <a:pt x="189" y="240"/>
                    <a:pt x="230" y="256"/>
                    <a:pt x="273" y="268"/>
                  </a:cubicBezTo>
                  <a:cubicBezTo>
                    <a:pt x="282" y="268"/>
                    <a:pt x="388" y="268"/>
                    <a:pt x="390" y="268"/>
                  </a:cubicBezTo>
                  <a:cubicBezTo>
                    <a:pt x="298" y="251"/>
                    <a:pt x="195" y="227"/>
                    <a:pt x="209" y="206"/>
                  </a:cubicBezTo>
                  <a:cubicBezTo>
                    <a:pt x="238" y="159"/>
                    <a:pt x="572" y="263"/>
                    <a:pt x="613" y="212"/>
                  </a:cubicBezTo>
                  <a:cubicBezTo>
                    <a:pt x="629" y="191"/>
                    <a:pt x="584" y="174"/>
                    <a:pt x="559" y="166"/>
                  </a:cubicBezTo>
                  <a:close/>
                  <a:moveTo>
                    <a:pt x="41" y="205"/>
                  </a:moveTo>
                  <a:cubicBezTo>
                    <a:pt x="44" y="221"/>
                    <a:pt x="61" y="233"/>
                    <a:pt x="61" y="233"/>
                  </a:cubicBezTo>
                  <a:cubicBezTo>
                    <a:pt x="61" y="233"/>
                    <a:pt x="33" y="221"/>
                    <a:pt x="34" y="202"/>
                  </a:cubicBezTo>
                  <a:cubicBezTo>
                    <a:pt x="35" y="181"/>
                    <a:pt x="71" y="176"/>
                    <a:pt x="71" y="176"/>
                  </a:cubicBezTo>
                  <a:cubicBezTo>
                    <a:pt x="62" y="178"/>
                    <a:pt x="38" y="183"/>
                    <a:pt x="41" y="205"/>
                  </a:cubicBezTo>
                  <a:close/>
                  <a:moveTo>
                    <a:pt x="603" y="197"/>
                  </a:moveTo>
                  <a:cubicBezTo>
                    <a:pt x="597" y="217"/>
                    <a:pt x="539" y="214"/>
                    <a:pt x="521" y="212"/>
                  </a:cubicBezTo>
                  <a:cubicBezTo>
                    <a:pt x="529" y="212"/>
                    <a:pt x="591" y="213"/>
                    <a:pt x="597" y="197"/>
                  </a:cubicBezTo>
                  <a:cubicBezTo>
                    <a:pt x="602" y="186"/>
                    <a:pt x="585" y="179"/>
                    <a:pt x="581" y="177"/>
                  </a:cubicBezTo>
                  <a:cubicBezTo>
                    <a:pt x="585" y="178"/>
                    <a:pt x="605" y="189"/>
                    <a:pt x="603"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sp>
        <p:nvSpPr>
          <p:cNvPr id="2" name="Title 1"/>
          <p:cNvSpPr>
            <a:spLocks noGrp="1"/>
          </p:cNvSpPr>
          <p:nvPr userDrawn="1">
            <p:ph type="title" hasCustomPrompt="1"/>
          </p:nvPr>
        </p:nvSpPr>
        <p:spPr/>
        <p:txBody>
          <a:bodyPr/>
          <a:lstStyle>
            <a:lvl1pPr>
              <a:defRPr/>
            </a:lvl1pPr>
          </a:lstStyle>
          <a:p>
            <a:r>
              <a:rPr lang="en-US" dirty="0"/>
              <a:t>Panoramic image with text</a:t>
            </a:r>
          </a:p>
        </p:txBody>
      </p:sp>
      <p:sp>
        <p:nvSpPr>
          <p:cNvPr id="5" name="Text Placeholder 3"/>
          <p:cNvSpPr>
            <a:spLocks noGrp="1"/>
          </p:cNvSpPr>
          <p:nvPr userDrawn="1">
            <p:ph type="body" sz="quarter" idx="11" hasCustomPrompt="1"/>
          </p:nvPr>
        </p:nvSpPr>
        <p:spPr>
          <a:xfrm>
            <a:off x="611717" y="1538289"/>
            <a:ext cx="10972800" cy="2058407"/>
          </a:xfrm>
        </p:spPr>
        <p:txBody>
          <a:bodyPr/>
          <a:lstStyle>
            <a:lvl1pPr marL="0" indent="0" algn="l">
              <a:buNone/>
              <a:defRPr sz="2400"/>
            </a:lvl1pPr>
          </a:lstStyle>
          <a:p>
            <a:pPr lvl="0"/>
            <a:r>
              <a:rPr lang="en-US" dirty="0"/>
              <a:t>Enter your text here</a:t>
            </a:r>
          </a:p>
        </p:txBody>
      </p:sp>
      <p:cxnSp>
        <p:nvCxnSpPr>
          <p:cNvPr id="7" name="Straight Connector 6"/>
          <p:cNvCxnSpPr/>
          <p:nvPr userDrawn="1"/>
        </p:nvCxnSpPr>
        <p:spPr>
          <a:xfrm>
            <a:off x="611717" y="3860359"/>
            <a:ext cx="11580283"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21" name="Text Placeholder 4"/>
          <p:cNvSpPr>
            <a:spLocks noGrp="1"/>
          </p:cNvSpPr>
          <p:nvPr userDrawn="1">
            <p:ph type="body" sz="quarter" idx="14" hasCustomPrompt="1"/>
          </p:nvPr>
        </p:nvSpPr>
        <p:spPr>
          <a:xfrm>
            <a:off x="600428" y="881767"/>
            <a:ext cx="10972800" cy="366932"/>
          </a:xfrm>
        </p:spPr>
        <p:txBody>
          <a:bodyPr/>
          <a:lstStyle>
            <a:lvl1pPr marL="0" indent="0">
              <a:buNone/>
              <a:defRPr sz="2667" baseline="0"/>
            </a:lvl1pPr>
            <a:lvl2pPr marL="302675" indent="0">
              <a:buNone/>
              <a:defRPr/>
            </a:lvl2pPr>
          </a:lstStyle>
          <a:p>
            <a:pPr lvl="0"/>
            <a:r>
              <a:rPr lang="en-US" dirty="0"/>
              <a:t>Sub-header optional—delete if not needed</a:t>
            </a:r>
          </a:p>
        </p:txBody>
      </p:sp>
      <p:sp>
        <p:nvSpPr>
          <p:cNvPr id="22" name="Text Placeholder 5"/>
          <p:cNvSpPr>
            <a:spLocks noGrp="1"/>
          </p:cNvSpPr>
          <p:nvPr>
            <p:ph type="body" sz="quarter" idx="15" hasCustomPrompt="1"/>
          </p:nvPr>
        </p:nvSpPr>
        <p:spPr>
          <a:xfrm>
            <a:off x="3138793" y="6560363"/>
            <a:ext cx="5927388" cy="214955"/>
          </a:xfrm>
        </p:spPr>
        <p:txBody>
          <a:bodyPr/>
          <a:lstStyle>
            <a:lvl1pPr marL="0" indent="0" algn="ctr">
              <a:buNone/>
              <a:defRPr sz="933" baseline="0"/>
            </a:lvl1pPr>
          </a:lstStyle>
          <a:p>
            <a:pPr lvl="0"/>
            <a:r>
              <a:rPr lang="en-US" dirty="0"/>
              <a:t>For internal use only.</a:t>
            </a:r>
          </a:p>
        </p:txBody>
      </p:sp>
      <p:grpSp>
        <p:nvGrpSpPr>
          <p:cNvPr id="23" name="Group 22"/>
          <p:cNvGrpSpPr/>
          <p:nvPr userDrawn="1"/>
        </p:nvGrpSpPr>
        <p:grpSpPr>
          <a:xfrm>
            <a:off x="-2218059" y="3785723"/>
            <a:ext cx="1879365" cy="2322331"/>
            <a:chOff x="-1663544" y="2370068"/>
            <a:chExt cx="1409524" cy="2322330"/>
          </a:xfrm>
        </p:grpSpPr>
        <p:pic>
          <p:nvPicPr>
            <p:cNvPr id="2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663544" y="4044779"/>
              <a:ext cx="1409524" cy="6476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TextBox 24"/>
            <p:cNvSpPr txBox="1"/>
            <p:nvPr/>
          </p:nvSpPr>
          <p:spPr>
            <a:xfrm>
              <a:off x="-1663544" y="2370068"/>
              <a:ext cx="1386540" cy="1446934"/>
            </a:xfrm>
            <a:prstGeom prst="rect">
              <a:avLst/>
            </a:prstGeom>
            <a:noFill/>
          </p:spPr>
          <p:txBody>
            <a:bodyPr wrap="square" rtlCol="0">
              <a:spAutoFit/>
            </a:bodyPr>
            <a:lstStyle/>
            <a:p>
              <a:r>
                <a:rPr lang="en-US" sz="1467" dirty="0"/>
                <a:t>To crop image or reposition image inside of frame, right click on the image and select the crop tool</a:t>
              </a:r>
            </a:p>
          </p:txBody>
        </p:sp>
      </p:grpSp>
    </p:spTree>
    <p:extLst>
      <p:ext uri="{BB962C8B-B14F-4D97-AF65-F5344CB8AC3E}">
        <p14:creationId xmlns:p14="http://schemas.microsoft.com/office/powerpoint/2010/main" val="192971544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ULL PAGE IMAGE layout">
    <p:spTree>
      <p:nvGrpSpPr>
        <p:cNvPr id="1" name=""/>
        <p:cNvGrpSpPr/>
        <p:nvPr/>
      </p:nvGrpSpPr>
      <p:grpSpPr>
        <a:xfrm>
          <a:off x="0" y="0"/>
          <a:ext cx="0" cy="0"/>
          <a:chOff x="0" y="0"/>
          <a:chExt cx="0" cy="0"/>
        </a:xfrm>
      </p:grpSpPr>
      <p:grpSp>
        <p:nvGrpSpPr>
          <p:cNvPr id="3" name="Group 2"/>
          <p:cNvGrpSpPr/>
          <p:nvPr userDrawn="1"/>
        </p:nvGrpSpPr>
        <p:grpSpPr>
          <a:xfrm>
            <a:off x="737514" y="1632032"/>
            <a:ext cx="10638060" cy="4434041"/>
            <a:chOff x="553135" y="1224023"/>
            <a:chExt cx="7978545" cy="3325531"/>
          </a:xfrm>
        </p:grpSpPr>
        <p:sp>
          <p:nvSpPr>
            <p:cNvPr id="12" name="Rectangle 11"/>
            <p:cNvSpPr/>
            <p:nvPr userDrawn="1"/>
          </p:nvSpPr>
          <p:spPr>
            <a:xfrm>
              <a:off x="553135" y="1224023"/>
              <a:ext cx="7978545" cy="3325531"/>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nvGrpSpPr>
            <p:cNvPr id="17" name="Group 16"/>
            <p:cNvGrpSpPr/>
            <p:nvPr userDrawn="1"/>
          </p:nvGrpSpPr>
          <p:grpSpPr>
            <a:xfrm>
              <a:off x="2788971" y="1284609"/>
              <a:ext cx="3114995" cy="1564931"/>
              <a:chOff x="1751012" y="1069975"/>
              <a:chExt cx="2359025" cy="1143001"/>
            </a:xfrm>
            <a:solidFill>
              <a:schemeClr val="bg1">
                <a:lumMod val="50000"/>
              </a:schemeClr>
            </a:solidFill>
          </p:grpSpPr>
          <p:sp>
            <p:nvSpPr>
              <p:cNvPr id="18" name="Freeform 30"/>
              <p:cNvSpPr>
                <a:spLocks/>
              </p:cNvSpPr>
              <p:nvPr/>
            </p:nvSpPr>
            <p:spPr bwMode="auto">
              <a:xfrm>
                <a:off x="2827338" y="1069975"/>
                <a:ext cx="1068387" cy="752475"/>
              </a:xfrm>
              <a:custGeom>
                <a:avLst/>
                <a:gdLst>
                  <a:gd name="T0" fmla="*/ 19 w 285"/>
                  <a:gd name="T1" fmla="*/ 61 h 201"/>
                  <a:gd name="T2" fmla="*/ 56 w 285"/>
                  <a:gd name="T3" fmla="*/ 92 h 201"/>
                  <a:gd name="T4" fmla="*/ 74 w 285"/>
                  <a:gd name="T5" fmla="*/ 83 h 201"/>
                  <a:gd name="T6" fmla="*/ 130 w 285"/>
                  <a:gd name="T7" fmla="*/ 122 h 201"/>
                  <a:gd name="T8" fmla="*/ 151 w 285"/>
                  <a:gd name="T9" fmla="*/ 110 h 201"/>
                  <a:gd name="T10" fmla="*/ 152 w 285"/>
                  <a:gd name="T11" fmla="*/ 111 h 201"/>
                  <a:gd name="T12" fmla="*/ 253 w 285"/>
                  <a:gd name="T13" fmla="*/ 184 h 201"/>
                  <a:gd name="T14" fmla="*/ 279 w 285"/>
                  <a:gd name="T15" fmla="*/ 201 h 201"/>
                  <a:gd name="T16" fmla="*/ 285 w 285"/>
                  <a:gd name="T17" fmla="*/ 157 h 201"/>
                  <a:gd name="T18" fmla="*/ 128 w 285"/>
                  <a:gd name="T19" fmla="*/ 0 h 201"/>
                  <a:gd name="T20" fmla="*/ 0 w 285"/>
                  <a:gd name="T21" fmla="*/ 66 h 201"/>
                  <a:gd name="T22" fmla="*/ 2 w 285"/>
                  <a:gd name="T23" fmla="*/ 67 h 201"/>
                  <a:gd name="T24" fmla="*/ 19 w 285"/>
                  <a:gd name="T25" fmla="*/ 6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5" h="201">
                    <a:moveTo>
                      <a:pt x="19" y="61"/>
                    </a:moveTo>
                    <a:cubicBezTo>
                      <a:pt x="56" y="92"/>
                      <a:pt x="56" y="92"/>
                      <a:pt x="56" y="92"/>
                    </a:cubicBezTo>
                    <a:cubicBezTo>
                      <a:pt x="74" y="83"/>
                      <a:pt x="74" y="83"/>
                      <a:pt x="74" y="83"/>
                    </a:cubicBezTo>
                    <a:cubicBezTo>
                      <a:pt x="130" y="122"/>
                      <a:pt x="130" y="122"/>
                      <a:pt x="130" y="122"/>
                    </a:cubicBezTo>
                    <a:cubicBezTo>
                      <a:pt x="151" y="110"/>
                      <a:pt x="151" y="110"/>
                      <a:pt x="151" y="110"/>
                    </a:cubicBezTo>
                    <a:cubicBezTo>
                      <a:pt x="152" y="111"/>
                      <a:pt x="152" y="111"/>
                      <a:pt x="152" y="111"/>
                    </a:cubicBezTo>
                    <a:cubicBezTo>
                      <a:pt x="187" y="140"/>
                      <a:pt x="227" y="166"/>
                      <a:pt x="253" y="184"/>
                    </a:cubicBezTo>
                    <a:cubicBezTo>
                      <a:pt x="267" y="193"/>
                      <a:pt x="275" y="198"/>
                      <a:pt x="279" y="201"/>
                    </a:cubicBezTo>
                    <a:cubicBezTo>
                      <a:pt x="283" y="187"/>
                      <a:pt x="285" y="173"/>
                      <a:pt x="285" y="157"/>
                    </a:cubicBezTo>
                    <a:cubicBezTo>
                      <a:pt x="285" y="70"/>
                      <a:pt x="215" y="0"/>
                      <a:pt x="128" y="0"/>
                    </a:cubicBezTo>
                    <a:cubicBezTo>
                      <a:pt x="75" y="0"/>
                      <a:pt x="29" y="26"/>
                      <a:pt x="0" y="66"/>
                    </a:cubicBezTo>
                    <a:cubicBezTo>
                      <a:pt x="2" y="67"/>
                      <a:pt x="2" y="67"/>
                      <a:pt x="2" y="67"/>
                    </a:cubicBezTo>
                    <a:lnTo>
                      <a:pt x="19"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9" name="Freeform 31"/>
              <p:cNvSpPr>
                <a:spLocks noEditPoints="1"/>
              </p:cNvSpPr>
              <p:nvPr/>
            </p:nvSpPr>
            <p:spPr bwMode="auto">
              <a:xfrm>
                <a:off x="1751012" y="1208088"/>
                <a:ext cx="2359025" cy="1004888"/>
              </a:xfrm>
              <a:custGeom>
                <a:avLst/>
                <a:gdLst>
                  <a:gd name="T0" fmla="*/ 540 w 629"/>
                  <a:gd name="T1" fmla="*/ 154 h 268"/>
                  <a:gd name="T2" fmla="*/ 438 w 629"/>
                  <a:gd name="T3" fmla="*/ 80 h 268"/>
                  <a:gd name="T4" fmla="*/ 361 w 629"/>
                  <a:gd name="T5" fmla="*/ 54 h 268"/>
                  <a:gd name="T6" fmla="*/ 306 w 629"/>
                  <a:gd name="T7" fmla="*/ 31 h 268"/>
                  <a:gd name="T8" fmla="*/ 233 w 629"/>
                  <a:gd name="T9" fmla="*/ 0 h 268"/>
                  <a:gd name="T10" fmla="*/ 190 w 629"/>
                  <a:gd name="T11" fmla="*/ 29 h 268"/>
                  <a:gd name="T12" fmla="*/ 44 w 629"/>
                  <a:gd name="T13" fmla="*/ 163 h 268"/>
                  <a:gd name="T14" fmla="*/ 92 w 629"/>
                  <a:gd name="T15" fmla="*/ 149 h 268"/>
                  <a:gd name="T16" fmla="*/ 110 w 629"/>
                  <a:gd name="T17" fmla="*/ 116 h 268"/>
                  <a:gd name="T18" fmla="*/ 100 w 629"/>
                  <a:gd name="T19" fmla="*/ 111 h 268"/>
                  <a:gd name="T20" fmla="*/ 118 w 629"/>
                  <a:gd name="T21" fmla="*/ 83 h 268"/>
                  <a:gd name="T22" fmla="*/ 190 w 629"/>
                  <a:gd name="T23" fmla="*/ 40 h 268"/>
                  <a:gd name="T24" fmla="*/ 250 w 629"/>
                  <a:gd name="T25" fmla="*/ 49 h 268"/>
                  <a:gd name="T26" fmla="*/ 282 w 629"/>
                  <a:gd name="T27" fmla="*/ 64 h 268"/>
                  <a:gd name="T28" fmla="*/ 303 w 629"/>
                  <a:gd name="T29" fmla="*/ 65 h 268"/>
                  <a:gd name="T30" fmla="*/ 308 w 629"/>
                  <a:gd name="T31" fmla="*/ 39 h 268"/>
                  <a:gd name="T32" fmla="*/ 348 w 629"/>
                  <a:gd name="T33" fmla="*/ 67 h 268"/>
                  <a:gd name="T34" fmla="*/ 408 w 629"/>
                  <a:gd name="T35" fmla="*/ 132 h 268"/>
                  <a:gd name="T36" fmla="*/ 442 w 629"/>
                  <a:gd name="T37" fmla="*/ 139 h 268"/>
                  <a:gd name="T38" fmla="*/ 463 w 629"/>
                  <a:gd name="T39" fmla="*/ 132 h 268"/>
                  <a:gd name="T40" fmla="*/ 519 w 629"/>
                  <a:gd name="T41" fmla="*/ 150 h 268"/>
                  <a:gd name="T42" fmla="*/ 376 w 629"/>
                  <a:gd name="T43" fmla="*/ 185 h 268"/>
                  <a:gd name="T44" fmla="*/ 81 w 629"/>
                  <a:gd name="T45" fmla="*/ 268 h 268"/>
                  <a:gd name="T46" fmla="*/ 108 w 629"/>
                  <a:gd name="T47" fmla="*/ 217 h 268"/>
                  <a:gd name="T48" fmla="*/ 163 w 629"/>
                  <a:gd name="T49" fmla="*/ 219 h 268"/>
                  <a:gd name="T50" fmla="*/ 390 w 629"/>
                  <a:gd name="T51" fmla="*/ 268 h 268"/>
                  <a:gd name="T52" fmla="*/ 613 w 629"/>
                  <a:gd name="T53" fmla="*/ 212 h 268"/>
                  <a:gd name="T54" fmla="*/ 41 w 629"/>
                  <a:gd name="T55" fmla="*/ 205 h 268"/>
                  <a:gd name="T56" fmla="*/ 34 w 629"/>
                  <a:gd name="T57" fmla="*/ 202 h 268"/>
                  <a:gd name="T58" fmla="*/ 41 w 629"/>
                  <a:gd name="T59" fmla="*/ 205 h 268"/>
                  <a:gd name="T60" fmla="*/ 521 w 629"/>
                  <a:gd name="T61" fmla="*/ 212 h 268"/>
                  <a:gd name="T62" fmla="*/ 581 w 629"/>
                  <a:gd name="T63" fmla="*/ 17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29" h="268">
                    <a:moveTo>
                      <a:pt x="559" y="166"/>
                    </a:moveTo>
                    <a:cubicBezTo>
                      <a:pt x="554" y="163"/>
                      <a:pt x="547" y="159"/>
                      <a:pt x="540" y="154"/>
                    </a:cubicBezTo>
                    <a:cubicBezTo>
                      <a:pt x="514" y="137"/>
                      <a:pt x="474" y="110"/>
                      <a:pt x="439" y="81"/>
                    </a:cubicBezTo>
                    <a:cubicBezTo>
                      <a:pt x="438" y="80"/>
                      <a:pt x="438" y="80"/>
                      <a:pt x="438" y="80"/>
                    </a:cubicBezTo>
                    <a:cubicBezTo>
                      <a:pt x="417" y="93"/>
                      <a:pt x="417" y="93"/>
                      <a:pt x="417" y="93"/>
                    </a:cubicBezTo>
                    <a:cubicBezTo>
                      <a:pt x="361" y="54"/>
                      <a:pt x="361" y="54"/>
                      <a:pt x="361" y="54"/>
                    </a:cubicBezTo>
                    <a:cubicBezTo>
                      <a:pt x="343" y="62"/>
                      <a:pt x="343" y="62"/>
                      <a:pt x="343" y="62"/>
                    </a:cubicBezTo>
                    <a:cubicBezTo>
                      <a:pt x="306" y="31"/>
                      <a:pt x="306" y="31"/>
                      <a:pt x="306" y="31"/>
                    </a:cubicBezTo>
                    <a:cubicBezTo>
                      <a:pt x="289" y="38"/>
                      <a:pt x="289" y="38"/>
                      <a:pt x="289" y="38"/>
                    </a:cubicBezTo>
                    <a:cubicBezTo>
                      <a:pt x="233" y="0"/>
                      <a:pt x="233" y="0"/>
                      <a:pt x="233" y="0"/>
                    </a:cubicBezTo>
                    <a:cubicBezTo>
                      <a:pt x="231" y="2"/>
                      <a:pt x="231" y="2"/>
                      <a:pt x="231" y="2"/>
                    </a:cubicBezTo>
                    <a:cubicBezTo>
                      <a:pt x="224" y="9"/>
                      <a:pt x="197" y="29"/>
                      <a:pt x="190" y="29"/>
                    </a:cubicBezTo>
                    <a:cubicBezTo>
                      <a:pt x="184" y="25"/>
                      <a:pt x="174" y="13"/>
                      <a:pt x="174" y="13"/>
                    </a:cubicBezTo>
                    <a:cubicBezTo>
                      <a:pt x="174" y="13"/>
                      <a:pt x="82" y="112"/>
                      <a:pt x="44" y="163"/>
                    </a:cubicBezTo>
                    <a:cubicBezTo>
                      <a:pt x="97" y="121"/>
                      <a:pt x="97" y="121"/>
                      <a:pt x="97" y="121"/>
                    </a:cubicBezTo>
                    <a:cubicBezTo>
                      <a:pt x="92" y="149"/>
                      <a:pt x="92" y="149"/>
                      <a:pt x="92" y="149"/>
                    </a:cubicBezTo>
                    <a:cubicBezTo>
                      <a:pt x="149" y="79"/>
                      <a:pt x="149" y="79"/>
                      <a:pt x="149" y="79"/>
                    </a:cubicBezTo>
                    <a:cubicBezTo>
                      <a:pt x="110" y="116"/>
                      <a:pt x="110" y="116"/>
                      <a:pt x="110" y="116"/>
                    </a:cubicBezTo>
                    <a:cubicBezTo>
                      <a:pt x="156" y="53"/>
                      <a:pt x="156" y="53"/>
                      <a:pt x="156" y="53"/>
                    </a:cubicBezTo>
                    <a:cubicBezTo>
                      <a:pt x="100" y="111"/>
                      <a:pt x="100" y="111"/>
                      <a:pt x="100" y="111"/>
                    </a:cubicBezTo>
                    <a:cubicBezTo>
                      <a:pt x="118" y="83"/>
                      <a:pt x="118" y="83"/>
                      <a:pt x="118" y="83"/>
                    </a:cubicBezTo>
                    <a:cubicBezTo>
                      <a:pt x="118" y="83"/>
                      <a:pt x="118" y="83"/>
                      <a:pt x="118" y="83"/>
                    </a:cubicBezTo>
                    <a:cubicBezTo>
                      <a:pt x="151" y="49"/>
                      <a:pt x="174" y="27"/>
                      <a:pt x="174" y="27"/>
                    </a:cubicBezTo>
                    <a:cubicBezTo>
                      <a:pt x="174" y="27"/>
                      <a:pt x="183" y="38"/>
                      <a:pt x="190" y="40"/>
                    </a:cubicBezTo>
                    <a:cubicBezTo>
                      <a:pt x="199" y="35"/>
                      <a:pt x="222" y="20"/>
                      <a:pt x="222" y="20"/>
                    </a:cubicBezTo>
                    <a:cubicBezTo>
                      <a:pt x="250" y="49"/>
                      <a:pt x="250" y="49"/>
                      <a:pt x="250" y="49"/>
                    </a:cubicBezTo>
                    <a:cubicBezTo>
                      <a:pt x="240" y="21"/>
                      <a:pt x="240" y="21"/>
                      <a:pt x="240" y="21"/>
                    </a:cubicBezTo>
                    <a:cubicBezTo>
                      <a:pt x="282" y="64"/>
                      <a:pt x="282" y="64"/>
                      <a:pt x="282" y="64"/>
                    </a:cubicBezTo>
                    <a:cubicBezTo>
                      <a:pt x="274" y="43"/>
                      <a:pt x="274" y="43"/>
                      <a:pt x="274" y="43"/>
                    </a:cubicBezTo>
                    <a:cubicBezTo>
                      <a:pt x="303" y="65"/>
                      <a:pt x="303" y="65"/>
                      <a:pt x="303" y="65"/>
                    </a:cubicBezTo>
                    <a:cubicBezTo>
                      <a:pt x="296" y="47"/>
                      <a:pt x="296" y="47"/>
                      <a:pt x="296" y="47"/>
                    </a:cubicBezTo>
                    <a:cubicBezTo>
                      <a:pt x="308" y="39"/>
                      <a:pt x="308" y="39"/>
                      <a:pt x="308" y="39"/>
                    </a:cubicBezTo>
                    <a:cubicBezTo>
                      <a:pt x="353" y="89"/>
                      <a:pt x="353" y="89"/>
                      <a:pt x="353" y="89"/>
                    </a:cubicBezTo>
                    <a:cubicBezTo>
                      <a:pt x="348" y="67"/>
                      <a:pt x="348" y="67"/>
                      <a:pt x="348" y="67"/>
                    </a:cubicBezTo>
                    <a:cubicBezTo>
                      <a:pt x="415" y="155"/>
                      <a:pt x="415" y="155"/>
                      <a:pt x="415" y="155"/>
                    </a:cubicBezTo>
                    <a:cubicBezTo>
                      <a:pt x="408" y="132"/>
                      <a:pt x="408" y="132"/>
                      <a:pt x="408" y="132"/>
                    </a:cubicBezTo>
                    <a:cubicBezTo>
                      <a:pt x="457" y="167"/>
                      <a:pt x="457" y="167"/>
                      <a:pt x="457" y="167"/>
                    </a:cubicBezTo>
                    <a:cubicBezTo>
                      <a:pt x="456" y="162"/>
                      <a:pt x="442" y="139"/>
                      <a:pt x="442" y="139"/>
                    </a:cubicBezTo>
                    <a:cubicBezTo>
                      <a:pt x="489" y="169"/>
                      <a:pt x="489" y="169"/>
                      <a:pt x="489" y="169"/>
                    </a:cubicBezTo>
                    <a:cubicBezTo>
                      <a:pt x="463" y="132"/>
                      <a:pt x="463" y="132"/>
                      <a:pt x="463" y="132"/>
                    </a:cubicBezTo>
                    <a:cubicBezTo>
                      <a:pt x="545" y="167"/>
                      <a:pt x="545" y="167"/>
                      <a:pt x="545" y="167"/>
                    </a:cubicBezTo>
                    <a:cubicBezTo>
                      <a:pt x="540" y="164"/>
                      <a:pt x="530" y="157"/>
                      <a:pt x="519" y="150"/>
                    </a:cubicBezTo>
                    <a:cubicBezTo>
                      <a:pt x="543" y="163"/>
                      <a:pt x="562" y="170"/>
                      <a:pt x="569" y="174"/>
                    </a:cubicBezTo>
                    <a:cubicBezTo>
                      <a:pt x="600" y="197"/>
                      <a:pt x="510" y="211"/>
                      <a:pt x="376" y="185"/>
                    </a:cubicBezTo>
                    <a:cubicBezTo>
                      <a:pt x="300" y="170"/>
                      <a:pt x="133" y="134"/>
                      <a:pt x="43" y="172"/>
                    </a:cubicBezTo>
                    <a:cubicBezTo>
                      <a:pt x="1" y="191"/>
                      <a:pt x="0" y="239"/>
                      <a:pt x="81" y="268"/>
                    </a:cubicBezTo>
                    <a:cubicBezTo>
                      <a:pt x="86" y="268"/>
                      <a:pt x="169" y="268"/>
                      <a:pt x="172" y="268"/>
                    </a:cubicBezTo>
                    <a:cubicBezTo>
                      <a:pt x="150" y="256"/>
                      <a:pt x="125" y="239"/>
                      <a:pt x="108" y="217"/>
                    </a:cubicBezTo>
                    <a:cubicBezTo>
                      <a:pt x="82" y="183"/>
                      <a:pt x="143" y="169"/>
                      <a:pt x="243" y="177"/>
                    </a:cubicBezTo>
                    <a:cubicBezTo>
                      <a:pt x="179" y="174"/>
                      <a:pt x="115" y="182"/>
                      <a:pt x="163" y="219"/>
                    </a:cubicBezTo>
                    <a:cubicBezTo>
                      <a:pt x="189" y="240"/>
                      <a:pt x="230" y="256"/>
                      <a:pt x="273" y="268"/>
                    </a:cubicBezTo>
                    <a:cubicBezTo>
                      <a:pt x="282" y="268"/>
                      <a:pt x="388" y="268"/>
                      <a:pt x="390" y="268"/>
                    </a:cubicBezTo>
                    <a:cubicBezTo>
                      <a:pt x="298" y="251"/>
                      <a:pt x="195" y="227"/>
                      <a:pt x="209" y="206"/>
                    </a:cubicBezTo>
                    <a:cubicBezTo>
                      <a:pt x="238" y="159"/>
                      <a:pt x="572" y="263"/>
                      <a:pt x="613" y="212"/>
                    </a:cubicBezTo>
                    <a:cubicBezTo>
                      <a:pt x="629" y="191"/>
                      <a:pt x="584" y="174"/>
                      <a:pt x="559" y="166"/>
                    </a:cubicBezTo>
                    <a:close/>
                    <a:moveTo>
                      <a:pt x="41" y="205"/>
                    </a:moveTo>
                    <a:cubicBezTo>
                      <a:pt x="44" y="221"/>
                      <a:pt x="61" y="233"/>
                      <a:pt x="61" y="233"/>
                    </a:cubicBezTo>
                    <a:cubicBezTo>
                      <a:pt x="61" y="233"/>
                      <a:pt x="33" y="221"/>
                      <a:pt x="34" y="202"/>
                    </a:cubicBezTo>
                    <a:cubicBezTo>
                      <a:pt x="35" y="181"/>
                      <a:pt x="71" y="176"/>
                      <a:pt x="71" y="176"/>
                    </a:cubicBezTo>
                    <a:cubicBezTo>
                      <a:pt x="62" y="178"/>
                      <a:pt x="38" y="183"/>
                      <a:pt x="41" y="205"/>
                    </a:cubicBezTo>
                    <a:close/>
                    <a:moveTo>
                      <a:pt x="603" y="197"/>
                    </a:moveTo>
                    <a:cubicBezTo>
                      <a:pt x="597" y="217"/>
                      <a:pt x="539" y="214"/>
                      <a:pt x="521" y="212"/>
                    </a:cubicBezTo>
                    <a:cubicBezTo>
                      <a:pt x="529" y="212"/>
                      <a:pt x="591" y="213"/>
                      <a:pt x="597" y="197"/>
                    </a:cubicBezTo>
                    <a:cubicBezTo>
                      <a:pt x="602" y="186"/>
                      <a:pt x="585" y="179"/>
                      <a:pt x="581" y="177"/>
                    </a:cubicBezTo>
                    <a:cubicBezTo>
                      <a:pt x="585" y="178"/>
                      <a:pt x="605" y="189"/>
                      <a:pt x="603"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grpSp>
      <p:sp>
        <p:nvSpPr>
          <p:cNvPr id="10" name="Picture Placeholder 9"/>
          <p:cNvSpPr>
            <a:spLocks noGrp="1"/>
          </p:cNvSpPr>
          <p:nvPr>
            <p:ph type="pic" sz="quarter" idx="12" hasCustomPrompt="1"/>
          </p:nvPr>
        </p:nvSpPr>
        <p:spPr>
          <a:xfrm>
            <a:off x="611717" y="1538288"/>
            <a:ext cx="10972800" cy="4642083"/>
          </a:xfrm>
          <a:ln>
            <a:solidFill>
              <a:schemeClr val="tx1"/>
            </a:solidFill>
          </a:ln>
        </p:spPr>
        <p:txBody>
          <a:bodyPr tIns="731520" bIns="1188720" anchor="b" anchorCtr="0"/>
          <a:lstStyle>
            <a:lvl1pPr marL="0" indent="0" algn="ctr">
              <a:buNone/>
              <a:defRPr sz="1867" baseline="0"/>
            </a:lvl1pPr>
          </a:lstStyle>
          <a:p>
            <a:r>
              <a:rPr lang="en-US" dirty="0"/>
              <a:t>CLICK ▲ ICON                                                                                                                                                        to add photo</a:t>
            </a:r>
          </a:p>
        </p:txBody>
      </p:sp>
      <p:sp>
        <p:nvSpPr>
          <p:cNvPr id="2" name="Title 1"/>
          <p:cNvSpPr>
            <a:spLocks noGrp="1"/>
          </p:cNvSpPr>
          <p:nvPr userDrawn="1">
            <p:ph type="title" hasCustomPrompt="1"/>
          </p:nvPr>
        </p:nvSpPr>
        <p:spPr>
          <a:xfrm>
            <a:off x="598311" y="227013"/>
            <a:ext cx="10962219" cy="498475"/>
          </a:xfrm>
        </p:spPr>
        <p:txBody>
          <a:bodyPr/>
          <a:lstStyle>
            <a:lvl1pPr>
              <a:defRPr/>
            </a:lvl1pPr>
          </a:lstStyle>
          <a:p>
            <a:r>
              <a:rPr lang="en-US" dirty="0"/>
              <a:t>Comparing two items or features</a:t>
            </a:r>
          </a:p>
        </p:txBody>
      </p:sp>
      <p:sp>
        <p:nvSpPr>
          <p:cNvPr id="21" name="Text Placeholder 4"/>
          <p:cNvSpPr>
            <a:spLocks noGrp="1"/>
          </p:cNvSpPr>
          <p:nvPr userDrawn="1">
            <p:ph type="body" sz="quarter" idx="14" hasCustomPrompt="1"/>
          </p:nvPr>
        </p:nvSpPr>
        <p:spPr>
          <a:xfrm>
            <a:off x="600428" y="881767"/>
            <a:ext cx="10972800" cy="366932"/>
          </a:xfrm>
        </p:spPr>
        <p:txBody>
          <a:bodyPr/>
          <a:lstStyle>
            <a:lvl1pPr marL="0" indent="0">
              <a:buNone/>
              <a:defRPr sz="2667" baseline="0"/>
            </a:lvl1pPr>
            <a:lvl2pPr marL="302675" indent="0">
              <a:buNone/>
              <a:defRPr/>
            </a:lvl2pPr>
          </a:lstStyle>
          <a:p>
            <a:pPr lvl="0"/>
            <a:r>
              <a:rPr lang="en-US" dirty="0"/>
              <a:t>Sub-header optional—delete if not needed</a:t>
            </a:r>
          </a:p>
        </p:txBody>
      </p:sp>
      <p:sp>
        <p:nvSpPr>
          <p:cNvPr id="22" name="Text Placeholder 5"/>
          <p:cNvSpPr>
            <a:spLocks noGrp="1"/>
          </p:cNvSpPr>
          <p:nvPr>
            <p:ph type="body" sz="quarter" idx="15" hasCustomPrompt="1"/>
          </p:nvPr>
        </p:nvSpPr>
        <p:spPr>
          <a:xfrm>
            <a:off x="3138793" y="6560363"/>
            <a:ext cx="5927388" cy="214955"/>
          </a:xfrm>
        </p:spPr>
        <p:txBody>
          <a:bodyPr/>
          <a:lstStyle>
            <a:lvl1pPr marL="0" indent="0" algn="ctr">
              <a:buNone/>
              <a:defRPr sz="933" baseline="0"/>
            </a:lvl1pPr>
          </a:lstStyle>
          <a:p>
            <a:pPr lvl="0"/>
            <a:r>
              <a:rPr lang="en-US" dirty="0"/>
              <a:t>For internal use only.</a:t>
            </a:r>
          </a:p>
        </p:txBody>
      </p:sp>
      <p:grpSp>
        <p:nvGrpSpPr>
          <p:cNvPr id="23" name="Group 22"/>
          <p:cNvGrpSpPr/>
          <p:nvPr userDrawn="1"/>
        </p:nvGrpSpPr>
        <p:grpSpPr>
          <a:xfrm>
            <a:off x="-2218059" y="2387706"/>
            <a:ext cx="1879365" cy="2545668"/>
            <a:chOff x="-1663544" y="2146731"/>
            <a:chExt cx="1409524" cy="2545667"/>
          </a:xfrm>
        </p:grpSpPr>
        <p:pic>
          <p:nvPicPr>
            <p:cNvPr id="2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663544" y="4044779"/>
              <a:ext cx="1409524" cy="6476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TextBox 24"/>
            <p:cNvSpPr txBox="1"/>
            <p:nvPr/>
          </p:nvSpPr>
          <p:spPr>
            <a:xfrm>
              <a:off x="-1663544" y="2146731"/>
              <a:ext cx="1386540" cy="1446934"/>
            </a:xfrm>
            <a:prstGeom prst="rect">
              <a:avLst/>
            </a:prstGeom>
            <a:noFill/>
          </p:spPr>
          <p:txBody>
            <a:bodyPr wrap="square" rtlCol="0">
              <a:spAutoFit/>
            </a:bodyPr>
            <a:lstStyle/>
            <a:p>
              <a:r>
                <a:rPr lang="en-US" sz="1467" dirty="0"/>
                <a:t>To crop image or reposition image inside of frame, right click on the image and select the crop tool</a:t>
              </a:r>
            </a:p>
          </p:txBody>
        </p:sp>
      </p:grpSp>
    </p:spTree>
    <p:extLst>
      <p:ext uri="{BB962C8B-B14F-4D97-AF65-F5344CB8AC3E}">
        <p14:creationId xmlns:p14="http://schemas.microsoft.com/office/powerpoint/2010/main" val="6897276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Table layout </a:t>
            </a:r>
          </a:p>
        </p:txBody>
      </p:sp>
      <p:sp>
        <p:nvSpPr>
          <p:cNvPr id="4" name="Table Placeholder 3"/>
          <p:cNvSpPr>
            <a:spLocks noGrp="1"/>
          </p:cNvSpPr>
          <p:nvPr>
            <p:ph type="tbl" sz="quarter" idx="10" hasCustomPrompt="1"/>
          </p:nvPr>
        </p:nvSpPr>
        <p:spPr>
          <a:xfrm>
            <a:off x="618067" y="1530351"/>
            <a:ext cx="10966451" cy="4660900"/>
          </a:xfrm>
        </p:spPr>
        <p:txBody>
          <a:bodyPr tIns="1280160"/>
          <a:lstStyle>
            <a:lvl1pPr marL="0" marR="0" indent="0" algn="ctr" defTabSz="1219170" rtl="0" eaLnBrk="1" fontAlgn="auto" latinLnBrk="0" hangingPunct="1">
              <a:lnSpc>
                <a:spcPct val="90000"/>
              </a:lnSpc>
              <a:spcBef>
                <a:spcPts val="0"/>
              </a:spcBef>
              <a:spcAft>
                <a:spcPts val="0"/>
              </a:spcAft>
              <a:buClr>
                <a:srgbClr val="00A9E0"/>
              </a:buClr>
              <a:buSzPct val="100000"/>
              <a:buFont typeface="Arial" panose="020B0604020202020204" pitchFamily="34" charset="0"/>
              <a:buNone/>
              <a:tabLst/>
              <a:defRPr/>
            </a:lvl1pPr>
          </a:lstStyle>
          <a:p>
            <a:r>
              <a:rPr lang="en-US" dirty="0"/>
              <a:t>CLICK ▲ ICON              </a:t>
            </a:r>
          </a:p>
          <a:p>
            <a:r>
              <a:rPr lang="en-US" dirty="0"/>
              <a:t>  to add table</a:t>
            </a:r>
          </a:p>
          <a:p>
            <a:endParaRPr lang="en-US" dirty="0"/>
          </a:p>
        </p:txBody>
      </p:sp>
      <p:sp>
        <p:nvSpPr>
          <p:cNvPr id="6" name="Text Placeholder 4"/>
          <p:cNvSpPr>
            <a:spLocks noGrp="1"/>
          </p:cNvSpPr>
          <p:nvPr>
            <p:ph type="body" sz="quarter" idx="11" hasCustomPrompt="1"/>
          </p:nvPr>
        </p:nvSpPr>
        <p:spPr>
          <a:xfrm>
            <a:off x="600428" y="881767"/>
            <a:ext cx="10972800" cy="366932"/>
          </a:xfrm>
        </p:spPr>
        <p:txBody>
          <a:bodyPr/>
          <a:lstStyle>
            <a:lvl1pPr marL="0" indent="0">
              <a:buNone/>
              <a:defRPr sz="2667" baseline="0"/>
            </a:lvl1pPr>
            <a:lvl2pPr marL="302675" indent="0">
              <a:buNone/>
              <a:defRPr/>
            </a:lvl2pPr>
          </a:lstStyle>
          <a:p>
            <a:pPr lvl="0"/>
            <a:r>
              <a:rPr lang="en-US" dirty="0"/>
              <a:t>Sub-header optional—delete if not needed</a:t>
            </a:r>
          </a:p>
        </p:txBody>
      </p:sp>
      <p:sp>
        <p:nvSpPr>
          <p:cNvPr id="7" name="Text Placeholder 5"/>
          <p:cNvSpPr>
            <a:spLocks noGrp="1"/>
          </p:cNvSpPr>
          <p:nvPr>
            <p:ph type="body" sz="quarter" idx="14" hasCustomPrompt="1"/>
          </p:nvPr>
        </p:nvSpPr>
        <p:spPr>
          <a:xfrm>
            <a:off x="3138793" y="6560363"/>
            <a:ext cx="5927388" cy="214955"/>
          </a:xfrm>
        </p:spPr>
        <p:txBody>
          <a:bodyPr/>
          <a:lstStyle>
            <a:lvl1pPr marL="0" indent="0" algn="ctr">
              <a:buNone/>
              <a:defRPr sz="933" baseline="0"/>
            </a:lvl1pPr>
          </a:lstStyle>
          <a:p>
            <a:pPr lvl="0"/>
            <a:r>
              <a:rPr lang="en-US" dirty="0"/>
              <a:t>For internal use only.</a:t>
            </a:r>
          </a:p>
        </p:txBody>
      </p:sp>
    </p:spTree>
    <p:extLst>
      <p:ext uri="{BB962C8B-B14F-4D97-AF65-F5344CB8AC3E}">
        <p14:creationId xmlns:p14="http://schemas.microsoft.com/office/powerpoint/2010/main" val="20470635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with Image">
    <p:bg>
      <p:bgPr>
        <a:gradFill>
          <a:gsLst>
            <a:gs pos="0">
              <a:schemeClr val="tx2"/>
            </a:gs>
            <a:gs pos="100000">
              <a:schemeClr val="accent3"/>
            </a:gs>
          </a:gsLst>
          <a:lin ang="0" scaled="1"/>
        </a:gradFill>
        <a:effectLst/>
      </p:bgPr>
    </p:bg>
    <p:spTree>
      <p:nvGrpSpPr>
        <p:cNvPr id="1" name=""/>
        <p:cNvGrpSpPr/>
        <p:nvPr/>
      </p:nvGrpSpPr>
      <p:grpSpPr>
        <a:xfrm>
          <a:off x="0" y="0"/>
          <a:ext cx="0" cy="0"/>
          <a:chOff x="0" y="0"/>
          <a:chExt cx="0" cy="0"/>
        </a:xfrm>
      </p:grpSpPr>
      <p:sp>
        <p:nvSpPr>
          <p:cNvPr id="32" name="Picture Placeholder 31">
            <a:extLst>
              <a:ext uri="{FF2B5EF4-FFF2-40B4-BE49-F238E27FC236}">
                <a16:creationId xmlns:a16="http://schemas.microsoft.com/office/drawing/2014/main" id="{68BC60EE-FD14-6043-A886-F358115215CF}"/>
              </a:ext>
            </a:extLst>
          </p:cNvPr>
          <p:cNvSpPr>
            <a:spLocks noGrp="1"/>
          </p:cNvSpPr>
          <p:nvPr>
            <p:ph type="pic" sz="quarter" idx="10" hasCustomPrompt="1"/>
          </p:nvPr>
        </p:nvSpPr>
        <p:spPr>
          <a:xfrm>
            <a:off x="0" y="0"/>
            <a:ext cx="12188949" cy="6857999"/>
          </a:xfrm>
          <a:custGeom>
            <a:avLst/>
            <a:gdLst>
              <a:gd name="connsiteX0" fmla="*/ 1299014 w 12188949"/>
              <a:gd name="connsiteY0" fmla="*/ 665059 h 6857999"/>
              <a:gd name="connsiteX1" fmla="*/ 1333593 w 12188949"/>
              <a:gd name="connsiteY1" fmla="*/ 725062 h 6857999"/>
              <a:gd name="connsiteX2" fmla="*/ 1299014 w 12188949"/>
              <a:gd name="connsiteY2" fmla="*/ 785060 h 6857999"/>
              <a:gd name="connsiteX3" fmla="*/ 1264443 w 12188949"/>
              <a:gd name="connsiteY3" fmla="*/ 725062 h 6857999"/>
              <a:gd name="connsiteX4" fmla="*/ 1299014 w 12188949"/>
              <a:gd name="connsiteY4" fmla="*/ 665059 h 6857999"/>
              <a:gd name="connsiteX5" fmla="*/ 1608854 w 12188949"/>
              <a:gd name="connsiteY5" fmla="*/ 663379 h 6857999"/>
              <a:gd name="connsiteX6" fmla="*/ 1638055 w 12188949"/>
              <a:gd name="connsiteY6" fmla="*/ 703608 h 6857999"/>
              <a:gd name="connsiteX7" fmla="*/ 1638055 w 12188949"/>
              <a:gd name="connsiteY7" fmla="*/ 709304 h 6857999"/>
              <a:gd name="connsiteX8" fmla="*/ 1574948 w 12188949"/>
              <a:gd name="connsiteY8" fmla="*/ 709304 h 6857999"/>
              <a:gd name="connsiteX9" fmla="*/ 1608854 w 12188949"/>
              <a:gd name="connsiteY9" fmla="*/ 663379 h 6857999"/>
              <a:gd name="connsiteX10" fmla="*/ 2321156 w 12188949"/>
              <a:gd name="connsiteY10" fmla="*/ 663378 h 6857999"/>
              <a:gd name="connsiteX11" fmla="*/ 2350361 w 12188949"/>
              <a:gd name="connsiteY11" fmla="*/ 703607 h 6857999"/>
              <a:gd name="connsiteX12" fmla="*/ 2350361 w 12188949"/>
              <a:gd name="connsiteY12" fmla="*/ 709303 h 6857999"/>
              <a:gd name="connsiteX13" fmla="*/ 2287252 w 12188949"/>
              <a:gd name="connsiteY13" fmla="*/ 709303 h 6857999"/>
              <a:gd name="connsiteX14" fmla="*/ 2321156 w 12188949"/>
              <a:gd name="connsiteY14" fmla="*/ 663378 h 6857999"/>
              <a:gd name="connsiteX15" fmla="*/ 2071592 w 12188949"/>
              <a:gd name="connsiteY15" fmla="*/ 643268 h 6857999"/>
              <a:gd name="connsiteX16" fmla="*/ 2137724 w 12188949"/>
              <a:gd name="connsiteY16" fmla="*/ 806849 h 6857999"/>
              <a:gd name="connsiteX17" fmla="*/ 2170621 w 12188949"/>
              <a:gd name="connsiteY17" fmla="*/ 806849 h 6857999"/>
              <a:gd name="connsiteX18" fmla="*/ 2232721 w 12188949"/>
              <a:gd name="connsiteY18" fmla="*/ 643268 h 6857999"/>
              <a:gd name="connsiteX19" fmla="*/ 2202175 w 12188949"/>
              <a:gd name="connsiteY19" fmla="*/ 643268 h 6857999"/>
              <a:gd name="connsiteX20" fmla="*/ 2163234 w 12188949"/>
              <a:gd name="connsiteY20" fmla="*/ 754220 h 6857999"/>
              <a:gd name="connsiteX21" fmla="*/ 2123625 w 12188949"/>
              <a:gd name="connsiteY21" fmla="*/ 643268 h 6857999"/>
              <a:gd name="connsiteX22" fmla="*/ 2003325 w 12188949"/>
              <a:gd name="connsiteY22" fmla="*/ 643267 h 6857999"/>
              <a:gd name="connsiteX23" fmla="*/ 2003325 w 12188949"/>
              <a:gd name="connsiteY23" fmla="*/ 686340 h 6857999"/>
              <a:gd name="connsiteX24" fmla="*/ 2003325 w 12188949"/>
              <a:gd name="connsiteY24" fmla="*/ 806848 h 6857999"/>
              <a:gd name="connsiteX25" fmla="*/ 2051661 w 12188949"/>
              <a:gd name="connsiteY25" fmla="*/ 806848 h 6857999"/>
              <a:gd name="connsiteX26" fmla="*/ 2051661 w 12188949"/>
              <a:gd name="connsiteY26" fmla="*/ 643267 h 6857999"/>
              <a:gd name="connsiteX27" fmla="*/ 1183993 w 12188949"/>
              <a:gd name="connsiteY27" fmla="*/ 639248 h 6857999"/>
              <a:gd name="connsiteX28" fmla="*/ 1144048 w 12188949"/>
              <a:gd name="connsiteY28" fmla="*/ 658355 h 6857999"/>
              <a:gd name="connsiteX29" fmla="*/ 1139349 w 12188949"/>
              <a:gd name="connsiteY29" fmla="*/ 643269 h 6857999"/>
              <a:gd name="connsiteX30" fmla="*/ 1101413 w 12188949"/>
              <a:gd name="connsiteY30" fmla="*/ 643269 h 6857999"/>
              <a:gd name="connsiteX31" fmla="*/ 1101413 w 12188949"/>
              <a:gd name="connsiteY31" fmla="*/ 806850 h 6857999"/>
              <a:gd name="connsiteX32" fmla="*/ 1149752 w 12188949"/>
              <a:gd name="connsiteY32" fmla="*/ 806850 h 6857999"/>
              <a:gd name="connsiteX33" fmla="*/ 1149752 w 12188949"/>
              <a:gd name="connsiteY33" fmla="*/ 717351 h 6857999"/>
              <a:gd name="connsiteX34" fmla="*/ 1148412 w 12188949"/>
              <a:gd name="connsiteY34" fmla="*/ 683494 h 6857999"/>
              <a:gd name="connsiteX35" fmla="*/ 1179629 w 12188949"/>
              <a:gd name="connsiteY35" fmla="*/ 672098 h 6857999"/>
              <a:gd name="connsiteX36" fmla="*/ 1200105 w 12188949"/>
              <a:gd name="connsiteY36" fmla="*/ 676119 h 6857999"/>
              <a:gd name="connsiteX37" fmla="*/ 1204803 w 12188949"/>
              <a:gd name="connsiteY37" fmla="*/ 644944 h 6857999"/>
              <a:gd name="connsiteX38" fmla="*/ 1183993 w 12188949"/>
              <a:gd name="connsiteY38" fmla="*/ 639248 h 6857999"/>
              <a:gd name="connsiteX39" fmla="*/ 1299014 w 12188949"/>
              <a:gd name="connsiteY39" fmla="*/ 639248 h 6857999"/>
              <a:gd name="connsiteX40" fmla="*/ 1214762 w 12188949"/>
              <a:gd name="connsiteY40" fmla="*/ 725062 h 6857999"/>
              <a:gd name="connsiteX41" fmla="*/ 1299014 w 12188949"/>
              <a:gd name="connsiteY41" fmla="*/ 810877 h 6857999"/>
              <a:gd name="connsiteX42" fmla="*/ 1383271 w 12188949"/>
              <a:gd name="connsiteY42" fmla="*/ 725062 h 6857999"/>
              <a:gd name="connsiteX43" fmla="*/ 1299014 w 12188949"/>
              <a:gd name="connsiteY43" fmla="*/ 639248 h 6857999"/>
              <a:gd name="connsiteX44" fmla="*/ 1608518 w 12188949"/>
              <a:gd name="connsiteY44" fmla="*/ 639248 h 6857999"/>
              <a:gd name="connsiteX45" fmla="*/ 1525937 w 12188949"/>
              <a:gd name="connsiteY45" fmla="*/ 725062 h 6857999"/>
              <a:gd name="connsiteX46" fmla="*/ 1549434 w 12188949"/>
              <a:gd name="connsiteY46" fmla="*/ 788752 h 6857999"/>
              <a:gd name="connsiteX47" fmla="*/ 1612543 w 12188949"/>
              <a:gd name="connsiteY47" fmla="*/ 810877 h 6857999"/>
              <a:gd name="connsiteX48" fmla="*/ 1672631 w 12188949"/>
              <a:gd name="connsiteY48" fmla="*/ 793443 h 6857999"/>
              <a:gd name="connsiteX49" fmla="*/ 1667597 w 12188949"/>
              <a:gd name="connsiteY49" fmla="*/ 768636 h 6857999"/>
              <a:gd name="connsiteX50" fmla="*/ 1619592 w 12188949"/>
              <a:gd name="connsiteY50" fmla="*/ 782384 h 6857999"/>
              <a:gd name="connsiteX51" fmla="*/ 1575284 w 12188949"/>
              <a:gd name="connsiteY51" fmla="*/ 734447 h 6857999"/>
              <a:gd name="connsiteX52" fmla="*/ 1667597 w 12188949"/>
              <a:gd name="connsiteY52" fmla="*/ 734447 h 6857999"/>
              <a:gd name="connsiteX53" fmla="*/ 1681357 w 12188949"/>
              <a:gd name="connsiteY53" fmla="*/ 716008 h 6857999"/>
              <a:gd name="connsiteX54" fmla="*/ 1608518 w 12188949"/>
              <a:gd name="connsiteY54" fmla="*/ 639248 h 6857999"/>
              <a:gd name="connsiteX55" fmla="*/ 1788093 w 12188949"/>
              <a:gd name="connsiteY55" fmla="*/ 639248 h 6857999"/>
              <a:gd name="connsiteX56" fmla="*/ 1704842 w 12188949"/>
              <a:gd name="connsiteY56" fmla="*/ 725728 h 6857999"/>
              <a:gd name="connsiteX57" fmla="*/ 1787759 w 12188949"/>
              <a:gd name="connsiteY57" fmla="*/ 810877 h 6857999"/>
              <a:gd name="connsiteX58" fmla="*/ 1844825 w 12188949"/>
              <a:gd name="connsiteY58" fmla="*/ 795453 h 6857999"/>
              <a:gd name="connsiteX59" fmla="*/ 1840125 w 12188949"/>
              <a:gd name="connsiteY59" fmla="*/ 770646 h 6857999"/>
              <a:gd name="connsiteX60" fmla="*/ 1798163 w 12188949"/>
              <a:gd name="connsiteY60" fmla="*/ 782384 h 6857999"/>
              <a:gd name="connsiteX61" fmla="*/ 1754523 w 12188949"/>
              <a:gd name="connsiteY61" fmla="*/ 725393 h 6857999"/>
              <a:gd name="connsiteX62" fmla="*/ 1796487 w 12188949"/>
              <a:gd name="connsiteY62" fmla="*/ 667741 h 6857999"/>
              <a:gd name="connsiteX63" fmla="*/ 1838112 w 12188949"/>
              <a:gd name="connsiteY63" fmla="*/ 680140 h 6857999"/>
              <a:gd name="connsiteX64" fmla="*/ 1842476 w 12188949"/>
              <a:gd name="connsiteY64" fmla="*/ 655001 h 6857999"/>
              <a:gd name="connsiteX65" fmla="*/ 1788093 w 12188949"/>
              <a:gd name="connsiteY65" fmla="*/ 639248 h 6857999"/>
              <a:gd name="connsiteX66" fmla="*/ 2320820 w 12188949"/>
              <a:gd name="connsiteY66" fmla="*/ 639247 h 6857999"/>
              <a:gd name="connsiteX67" fmla="*/ 2238239 w 12188949"/>
              <a:gd name="connsiteY67" fmla="*/ 725061 h 6857999"/>
              <a:gd name="connsiteX68" fmla="*/ 2261740 w 12188949"/>
              <a:gd name="connsiteY68" fmla="*/ 788751 h 6857999"/>
              <a:gd name="connsiteX69" fmla="*/ 2324847 w 12188949"/>
              <a:gd name="connsiteY69" fmla="*/ 810876 h 6857999"/>
              <a:gd name="connsiteX70" fmla="*/ 2384935 w 12188949"/>
              <a:gd name="connsiteY70" fmla="*/ 793442 h 6857999"/>
              <a:gd name="connsiteX71" fmla="*/ 2379899 w 12188949"/>
              <a:gd name="connsiteY71" fmla="*/ 768635 h 6857999"/>
              <a:gd name="connsiteX72" fmla="*/ 2331897 w 12188949"/>
              <a:gd name="connsiteY72" fmla="*/ 782383 h 6857999"/>
              <a:gd name="connsiteX73" fmla="*/ 2287588 w 12188949"/>
              <a:gd name="connsiteY73" fmla="*/ 734446 h 6857999"/>
              <a:gd name="connsiteX74" fmla="*/ 2379899 w 12188949"/>
              <a:gd name="connsiteY74" fmla="*/ 734446 h 6857999"/>
              <a:gd name="connsiteX75" fmla="*/ 2393661 w 12188949"/>
              <a:gd name="connsiteY75" fmla="*/ 716007 h 6857999"/>
              <a:gd name="connsiteX76" fmla="*/ 2320820 w 12188949"/>
              <a:gd name="connsiteY76" fmla="*/ 639247 h 6857999"/>
              <a:gd name="connsiteX77" fmla="*/ 969267 w 12188949"/>
              <a:gd name="connsiteY77" fmla="*/ 607065 h 6857999"/>
              <a:gd name="connsiteX78" fmla="*/ 983702 w 12188949"/>
              <a:gd name="connsiteY78" fmla="*/ 607065 h 6857999"/>
              <a:gd name="connsiteX79" fmla="*/ 1024987 w 12188949"/>
              <a:gd name="connsiteY79" fmla="*/ 648965 h 6857999"/>
              <a:gd name="connsiteX80" fmla="*/ 983702 w 12188949"/>
              <a:gd name="connsiteY80" fmla="*/ 690869 h 6857999"/>
              <a:gd name="connsiteX81" fmla="*/ 969267 w 12188949"/>
              <a:gd name="connsiteY81" fmla="*/ 690869 h 6857999"/>
              <a:gd name="connsiteX82" fmla="*/ 2651255 w 12188949"/>
              <a:gd name="connsiteY82" fmla="*/ 598584 h 6857999"/>
              <a:gd name="connsiteX83" fmla="*/ 2509370 w 12188949"/>
              <a:gd name="connsiteY83" fmla="*/ 790841 h 6857999"/>
              <a:gd name="connsiteX84" fmla="*/ 2523979 w 12188949"/>
              <a:gd name="connsiteY84" fmla="*/ 806901 h 6857999"/>
              <a:gd name="connsiteX85" fmla="*/ 2559218 w 12188949"/>
              <a:gd name="connsiteY85" fmla="*/ 806901 h 6857999"/>
              <a:gd name="connsiteX86" fmla="*/ 2651255 w 12188949"/>
              <a:gd name="connsiteY86" fmla="*/ 622048 h 6857999"/>
              <a:gd name="connsiteX87" fmla="*/ 2725938 w 12188949"/>
              <a:gd name="connsiteY87" fmla="*/ 688236 h 6857999"/>
              <a:gd name="connsiteX88" fmla="*/ 2726315 w 12188949"/>
              <a:gd name="connsiteY88" fmla="*/ 690131 h 6857999"/>
              <a:gd name="connsiteX89" fmla="*/ 2709521 w 12188949"/>
              <a:gd name="connsiteY89" fmla="*/ 706348 h 6857999"/>
              <a:gd name="connsiteX90" fmla="*/ 2655888 w 12188949"/>
              <a:gd name="connsiteY90" fmla="*/ 881725 h 6857999"/>
              <a:gd name="connsiteX91" fmla="*/ 2670567 w 12188949"/>
              <a:gd name="connsiteY91" fmla="*/ 896041 h 6857999"/>
              <a:gd name="connsiteX92" fmla="*/ 2707630 w 12188949"/>
              <a:gd name="connsiteY92" fmla="*/ 896041 h 6857999"/>
              <a:gd name="connsiteX93" fmla="*/ 2713091 w 12188949"/>
              <a:gd name="connsiteY93" fmla="*/ 806755 h 6857999"/>
              <a:gd name="connsiteX94" fmla="*/ 2736841 w 12188949"/>
              <a:gd name="connsiteY94" fmla="*/ 743125 h 6857999"/>
              <a:gd name="connsiteX95" fmla="*/ 2740399 w 12188949"/>
              <a:gd name="connsiteY95" fmla="*/ 761035 h 6857999"/>
              <a:gd name="connsiteX96" fmla="*/ 2744417 w 12188949"/>
              <a:gd name="connsiteY96" fmla="*/ 851471 h 6857999"/>
              <a:gd name="connsiteX97" fmla="*/ 2780627 w 12188949"/>
              <a:gd name="connsiteY97" fmla="*/ 851471 h 6857999"/>
              <a:gd name="connsiteX98" fmla="*/ 2795299 w 12188949"/>
              <a:gd name="connsiteY98" fmla="*/ 836592 h 6857999"/>
              <a:gd name="connsiteX99" fmla="*/ 2785610 w 12188949"/>
              <a:gd name="connsiteY99" fmla="*/ 740175 h 6857999"/>
              <a:gd name="connsiteX100" fmla="*/ 2770572 w 12188949"/>
              <a:gd name="connsiteY100" fmla="*/ 696847 h 6857999"/>
              <a:gd name="connsiteX101" fmla="*/ 2789394 w 12188949"/>
              <a:gd name="connsiteY101" fmla="*/ 681363 h 6857999"/>
              <a:gd name="connsiteX102" fmla="*/ 2857083 w 12188949"/>
              <a:gd name="connsiteY102" fmla="*/ 662463 h 6857999"/>
              <a:gd name="connsiteX103" fmla="*/ 2927568 w 12188949"/>
              <a:gd name="connsiteY103" fmla="*/ 730919 h 6857999"/>
              <a:gd name="connsiteX104" fmla="*/ 2825340 w 12188949"/>
              <a:gd name="connsiteY104" fmla="*/ 806901 h 6857999"/>
              <a:gd name="connsiteX105" fmla="*/ 2826532 w 12188949"/>
              <a:gd name="connsiteY105" fmla="*/ 837606 h 6857999"/>
              <a:gd name="connsiteX106" fmla="*/ 2841873 w 12188949"/>
              <a:gd name="connsiteY106" fmla="*/ 851680 h 6857999"/>
              <a:gd name="connsiteX107" fmla="*/ 2975564 w 12188949"/>
              <a:gd name="connsiteY107" fmla="*/ 741166 h 6857999"/>
              <a:gd name="connsiteX108" fmla="*/ 2857083 w 12188949"/>
              <a:gd name="connsiteY108" fmla="*/ 638998 h 6857999"/>
              <a:gd name="connsiteX109" fmla="*/ 2773892 w 12188949"/>
              <a:gd name="connsiteY109" fmla="*/ 656669 h 6857999"/>
              <a:gd name="connsiteX110" fmla="*/ 2759634 w 12188949"/>
              <a:gd name="connsiteY110" fmla="*/ 665328 h 6857999"/>
              <a:gd name="connsiteX111" fmla="*/ 2759500 w 12188949"/>
              <a:gd name="connsiteY111" fmla="*/ 664941 h 6857999"/>
              <a:gd name="connsiteX112" fmla="*/ 2651255 w 12188949"/>
              <a:gd name="connsiteY112" fmla="*/ 598584 h 6857999"/>
              <a:gd name="connsiteX113" fmla="*/ 1468890 w 12188949"/>
              <a:gd name="connsiteY113" fmla="*/ 591647 h 6857999"/>
              <a:gd name="connsiteX114" fmla="*/ 1420556 w 12188949"/>
              <a:gd name="connsiteY114" fmla="*/ 597683 h 6857999"/>
              <a:gd name="connsiteX115" fmla="*/ 1420556 w 12188949"/>
              <a:gd name="connsiteY115" fmla="*/ 643269 h 6857999"/>
              <a:gd name="connsiteX116" fmla="*/ 1394344 w 12188949"/>
              <a:gd name="connsiteY116" fmla="*/ 643269 h 6857999"/>
              <a:gd name="connsiteX117" fmla="*/ 1394344 w 12188949"/>
              <a:gd name="connsiteY117" fmla="*/ 668742 h 6857999"/>
              <a:gd name="connsiteX118" fmla="*/ 1420556 w 12188949"/>
              <a:gd name="connsiteY118" fmla="*/ 668742 h 6857999"/>
              <a:gd name="connsiteX119" fmla="*/ 1420556 w 12188949"/>
              <a:gd name="connsiteY119" fmla="*/ 754783 h 6857999"/>
              <a:gd name="connsiteX120" fmla="*/ 1472396 w 12188949"/>
              <a:gd name="connsiteY120" fmla="*/ 810877 h 6857999"/>
              <a:gd name="connsiteX121" fmla="*/ 1512168 w 12188949"/>
              <a:gd name="connsiteY121" fmla="*/ 803497 h 6857999"/>
              <a:gd name="connsiteX122" fmla="*/ 1508992 w 12188949"/>
              <a:gd name="connsiteY122" fmla="*/ 778450 h 6857999"/>
              <a:gd name="connsiteX123" fmla="*/ 1487428 w 12188949"/>
              <a:gd name="connsiteY123" fmla="*/ 782382 h 6857999"/>
              <a:gd name="connsiteX124" fmla="*/ 1468890 w 12188949"/>
              <a:gd name="connsiteY124" fmla="*/ 755766 h 6857999"/>
              <a:gd name="connsiteX125" fmla="*/ 1468890 w 12188949"/>
              <a:gd name="connsiteY125" fmla="*/ 668742 h 6857999"/>
              <a:gd name="connsiteX126" fmla="*/ 1510819 w 12188949"/>
              <a:gd name="connsiteY126" fmla="*/ 668742 h 6857999"/>
              <a:gd name="connsiteX127" fmla="*/ 1510819 w 12188949"/>
              <a:gd name="connsiteY127" fmla="*/ 643269 h 6857999"/>
              <a:gd name="connsiteX128" fmla="*/ 1468890 w 12188949"/>
              <a:gd name="connsiteY128" fmla="*/ 643269 h 6857999"/>
              <a:gd name="connsiteX129" fmla="*/ 1934250 w 12188949"/>
              <a:gd name="connsiteY129" fmla="*/ 591647 h 6857999"/>
              <a:gd name="connsiteX130" fmla="*/ 1885917 w 12188949"/>
              <a:gd name="connsiteY130" fmla="*/ 597683 h 6857999"/>
              <a:gd name="connsiteX131" fmla="*/ 1885917 w 12188949"/>
              <a:gd name="connsiteY131" fmla="*/ 643268 h 6857999"/>
              <a:gd name="connsiteX132" fmla="*/ 1859702 w 12188949"/>
              <a:gd name="connsiteY132" fmla="*/ 643268 h 6857999"/>
              <a:gd name="connsiteX133" fmla="*/ 1859702 w 12188949"/>
              <a:gd name="connsiteY133" fmla="*/ 668742 h 6857999"/>
              <a:gd name="connsiteX134" fmla="*/ 1885917 w 12188949"/>
              <a:gd name="connsiteY134" fmla="*/ 668742 h 6857999"/>
              <a:gd name="connsiteX135" fmla="*/ 1885917 w 12188949"/>
              <a:gd name="connsiteY135" fmla="*/ 754782 h 6857999"/>
              <a:gd name="connsiteX136" fmla="*/ 1937754 w 12188949"/>
              <a:gd name="connsiteY136" fmla="*/ 810876 h 6857999"/>
              <a:gd name="connsiteX137" fmla="*/ 1977529 w 12188949"/>
              <a:gd name="connsiteY137" fmla="*/ 803496 h 6857999"/>
              <a:gd name="connsiteX138" fmla="*/ 1974352 w 12188949"/>
              <a:gd name="connsiteY138" fmla="*/ 778450 h 6857999"/>
              <a:gd name="connsiteX139" fmla="*/ 1952786 w 12188949"/>
              <a:gd name="connsiteY139" fmla="*/ 782382 h 6857999"/>
              <a:gd name="connsiteX140" fmla="*/ 1934250 w 12188949"/>
              <a:gd name="connsiteY140" fmla="*/ 755765 h 6857999"/>
              <a:gd name="connsiteX141" fmla="*/ 1934250 w 12188949"/>
              <a:gd name="connsiteY141" fmla="*/ 668742 h 6857999"/>
              <a:gd name="connsiteX142" fmla="*/ 1976179 w 12188949"/>
              <a:gd name="connsiteY142" fmla="*/ 668742 h 6857999"/>
              <a:gd name="connsiteX143" fmla="*/ 1976179 w 12188949"/>
              <a:gd name="connsiteY143" fmla="*/ 643268 h 6857999"/>
              <a:gd name="connsiteX144" fmla="*/ 1934250 w 12188949"/>
              <a:gd name="connsiteY144" fmla="*/ 643268 h 6857999"/>
              <a:gd name="connsiteX145" fmla="*/ 917574 w 12188949"/>
              <a:gd name="connsiteY145" fmla="*/ 575895 h 6857999"/>
              <a:gd name="connsiteX146" fmla="*/ 917574 w 12188949"/>
              <a:gd name="connsiteY146" fmla="*/ 806850 h 6857999"/>
              <a:gd name="connsiteX147" fmla="*/ 969267 w 12188949"/>
              <a:gd name="connsiteY147" fmla="*/ 806850 h 6857999"/>
              <a:gd name="connsiteX148" fmla="*/ 969267 w 12188949"/>
              <a:gd name="connsiteY148" fmla="*/ 721708 h 6857999"/>
              <a:gd name="connsiteX149" fmla="*/ 980012 w 12188949"/>
              <a:gd name="connsiteY149" fmla="*/ 721708 h 6857999"/>
              <a:gd name="connsiteX150" fmla="*/ 1057883 w 12188949"/>
              <a:gd name="connsiteY150" fmla="*/ 701262 h 6857999"/>
              <a:gd name="connsiteX151" fmla="*/ 1077017 w 12188949"/>
              <a:gd name="connsiteY151" fmla="*/ 646618 h 6857999"/>
              <a:gd name="connsiteX152" fmla="*/ 1061242 w 12188949"/>
              <a:gd name="connsiteY152" fmla="*/ 599695 h 6857999"/>
              <a:gd name="connsiteX153" fmla="*/ 973294 w 12188949"/>
              <a:gd name="connsiteY153" fmla="*/ 575895 h 6857999"/>
              <a:gd name="connsiteX154" fmla="*/ 2027494 w 12188949"/>
              <a:gd name="connsiteY154" fmla="*/ 574214 h 6857999"/>
              <a:gd name="connsiteX155" fmla="*/ 2001984 w 12188949"/>
              <a:gd name="connsiteY155" fmla="*/ 598350 h 6857999"/>
              <a:gd name="connsiteX156" fmla="*/ 2027494 w 12188949"/>
              <a:gd name="connsiteY156" fmla="*/ 622485 h 6857999"/>
              <a:gd name="connsiteX157" fmla="*/ 2053005 w 12188949"/>
              <a:gd name="connsiteY157" fmla="*/ 598350 h 6857999"/>
              <a:gd name="connsiteX158" fmla="*/ 2027494 w 12188949"/>
              <a:gd name="connsiteY158" fmla="*/ 574214 h 6857999"/>
              <a:gd name="connsiteX159" fmla="*/ 2857084 w 12188949"/>
              <a:gd name="connsiteY159" fmla="*/ 516940 h 6857999"/>
              <a:gd name="connsiteX160" fmla="*/ 2885433 w 12188949"/>
              <a:gd name="connsiteY160" fmla="*/ 559788 h 6857999"/>
              <a:gd name="connsiteX161" fmla="*/ 2857084 w 12188949"/>
              <a:gd name="connsiteY161" fmla="*/ 602636 h 6857999"/>
              <a:gd name="connsiteX162" fmla="*/ 2828731 w 12188949"/>
              <a:gd name="connsiteY162" fmla="*/ 559788 h 6857999"/>
              <a:gd name="connsiteX163" fmla="*/ 2857084 w 12188949"/>
              <a:gd name="connsiteY163" fmla="*/ 516940 h 6857999"/>
              <a:gd name="connsiteX164" fmla="*/ 2857084 w 12188949"/>
              <a:gd name="connsiteY164" fmla="*/ 497614 h 6857999"/>
              <a:gd name="connsiteX165" fmla="*/ 2796035 w 12188949"/>
              <a:gd name="connsiteY165" fmla="*/ 559788 h 6857999"/>
              <a:gd name="connsiteX166" fmla="*/ 2857084 w 12188949"/>
              <a:gd name="connsiteY166" fmla="*/ 621962 h 6857999"/>
              <a:gd name="connsiteX167" fmla="*/ 2918132 w 12188949"/>
              <a:gd name="connsiteY167" fmla="*/ 559788 h 6857999"/>
              <a:gd name="connsiteX168" fmla="*/ 2857084 w 12188949"/>
              <a:gd name="connsiteY168" fmla="*/ 497614 h 6857999"/>
              <a:gd name="connsiteX169" fmla="*/ 2651255 w 12188949"/>
              <a:gd name="connsiteY169" fmla="*/ 476526 h 6857999"/>
              <a:gd name="connsiteX170" fmla="*/ 2679604 w 12188949"/>
              <a:gd name="connsiteY170" fmla="*/ 519374 h 6857999"/>
              <a:gd name="connsiteX171" fmla="*/ 2651255 w 12188949"/>
              <a:gd name="connsiteY171" fmla="*/ 562222 h 6857999"/>
              <a:gd name="connsiteX172" fmla="*/ 2622902 w 12188949"/>
              <a:gd name="connsiteY172" fmla="*/ 519374 h 6857999"/>
              <a:gd name="connsiteX173" fmla="*/ 2651255 w 12188949"/>
              <a:gd name="connsiteY173" fmla="*/ 476526 h 6857999"/>
              <a:gd name="connsiteX174" fmla="*/ 2651255 w 12188949"/>
              <a:gd name="connsiteY174" fmla="*/ 457200 h 6857999"/>
              <a:gd name="connsiteX175" fmla="*/ 2590205 w 12188949"/>
              <a:gd name="connsiteY175" fmla="*/ 519374 h 6857999"/>
              <a:gd name="connsiteX176" fmla="*/ 2651255 w 12188949"/>
              <a:gd name="connsiteY176" fmla="*/ 581548 h 6857999"/>
              <a:gd name="connsiteX177" fmla="*/ 2712304 w 12188949"/>
              <a:gd name="connsiteY177" fmla="*/ 519374 h 6857999"/>
              <a:gd name="connsiteX178" fmla="*/ 2651255 w 12188949"/>
              <a:gd name="connsiteY178" fmla="*/ 457200 h 6857999"/>
              <a:gd name="connsiteX179" fmla="*/ 0 w 12188949"/>
              <a:gd name="connsiteY179" fmla="*/ 0 h 6857999"/>
              <a:gd name="connsiteX180" fmla="*/ 12188949 w 12188949"/>
              <a:gd name="connsiteY180" fmla="*/ 0 h 6857999"/>
              <a:gd name="connsiteX181" fmla="*/ 12188949 w 12188949"/>
              <a:gd name="connsiteY181" fmla="*/ 6857999 h 6857999"/>
              <a:gd name="connsiteX182" fmla="*/ 8185437 w 12188949"/>
              <a:gd name="connsiteY182" fmla="*/ 6857999 h 6857999"/>
              <a:gd name="connsiteX183" fmla="*/ 8667864 w 12188949"/>
              <a:gd name="connsiteY183" fmla="*/ 6703983 h 6857999"/>
              <a:gd name="connsiteX184" fmla="*/ 12099563 w 12188949"/>
              <a:gd name="connsiteY184" fmla="*/ 5152052 h 6857999"/>
              <a:gd name="connsiteX185" fmla="*/ 12185901 w 12188949"/>
              <a:gd name="connsiteY185" fmla="*/ 5101378 h 6857999"/>
              <a:gd name="connsiteX186" fmla="*/ 12185901 w 12188949"/>
              <a:gd name="connsiteY186" fmla="*/ 1169823 h 6857999"/>
              <a:gd name="connsiteX187" fmla="*/ 10459514 w 12188949"/>
              <a:gd name="connsiteY187" fmla="*/ 2317719 h 6857999"/>
              <a:gd name="connsiteX188" fmla="*/ 10459513 w 12188949"/>
              <a:gd name="connsiteY188" fmla="*/ 2317719 h 6857999"/>
              <a:gd name="connsiteX189" fmla="*/ 6596378 w 12188949"/>
              <a:gd name="connsiteY189" fmla="*/ 3903060 h 6857999"/>
              <a:gd name="connsiteX190" fmla="*/ 3021844 w 12188949"/>
              <a:gd name="connsiteY190" fmla="*/ 4269815 h 6857999"/>
              <a:gd name="connsiteX191" fmla="*/ 242001 w 12188949"/>
              <a:gd name="connsiteY191" fmla="*/ 3555182 h 6857999"/>
              <a:gd name="connsiteX192" fmla="*/ 761 w 12188949"/>
              <a:gd name="connsiteY192" fmla="*/ 3420135 h 6857999"/>
              <a:gd name="connsiteX193" fmla="*/ 761 w 12188949"/>
              <a:gd name="connsiteY193" fmla="*/ 6857999 h 6857999"/>
              <a:gd name="connsiteX194" fmla="*/ 0 w 12188949"/>
              <a:gd name="connsiteY194"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12188949" h="6857999">
                <a:moveTo>
                  <a:pt x="1299014" y="665059"/>
                </a:moveTo>
                <a:cubicBezTo>
                  <a:pt x="1320835" y="665059"/>
                  <a:pt x="1333593" y="681483"/>
                  <a:pt x="1333593" y="725062"/>
                </a:cubicBezTo>
                <a:cubicBezTo>
                  <a:pt x="1333593" y="768636"/>
                  <a:pt x="1320835" y="785060"/>
                  <a:pt x="1299014" y="785060"/>
                </a:cubicBezTo>
                <a:cubicBezTo>
                  <a:pt x="1277199" y="785060"/>
                  <a:pt x="1264443" y="768636"/>
                  <a:pt x="1264443" y="725062"/>
                </a:cubicBezTo>
                <a:cubicBezTo>
                  <a:pt x="1264443" y="681483"/>
                  <a:pt x="1277199" y="665059"/>
                  <a:pt x="1299014" y="665059"/>
                </a:cubicBezTo>
                <a:close/>
                <a:moveTo>
                  <a:pt x="1608854" y="663379"/>
                </a:moveTo>
                <a:cubicBezTo>
                  <a:pt x="1625633" y="663379"/>
                  <a:pt x="1638055" y="676119"/>
                  <a:pt x="1638055" y="703608"/>
                </a:cubicBezTo>
                <a:lnTo>
                  <a:pt x="1638055" y="709304"/>
                </a:lnTo>
                <a:lnTo>
                  <a:pt x="1574948" y="709304"/>
                </a:lnTo>
                <a:cubicBezTo>
                  <a:pt x="1574948" y="675447"/>
                  <a:pt x="1589046" y="663379"/>
                  <a:pt x="1608854" y="663379"/>
                </a:cubicBezTo>
                <a:close/>
                <a:moveTo>
                  <a:pt x="2321156" y="663378"/>
                </a:moveTo>
                <a:cubicBezTo>
                  <a:pt x="2337942" y="663378"/>
                  <a:pt x="2350361" y="676118"/>
                  <a:pt x="2350361" y="703607"/>
                </a:cubicBezTo>
                <a:lnTo>
                  <a:pt x="2350361" y="709303"/>
                </a:lnTo>
                <a:lnTo>
                  <a:pt x="2287252" y="709303"/>
                </a:lnTo>
                <a:cubicBezTo>
                  <a:pt x="2287252" y="675446"/>
                  <a:pt x="2301351" y="663378"/>
                  <a:pt x="2321156" y="663378"/>
                </a:cubicBezTo>
                <a:close/>
                <a:moveTo>
                  <a:pt x="2071592" y="643268"/>
                </a:moveTo>
                <a:lnTo>
                  <a:pt x="2137724" y="806849"/>
                </a:lnTo>
                <a:lnTo>
                  <a:pt x="2170621" y="806849"/>
                </a:lnTo>
                <a:lnTo>
                  <a:pt x="2232721" y="643268"/>
                </a:lnTo>
                <a:lnTo>
                  <a:pt x="2202175" y="643268"/>
                </a:lnTo>
                <a:lnTo>
                  <a:pt x="2163234" y="754220"/>
                </a:lnTo>
                <a:lnTo>
                  <a:pt x="2123625" y="643268"/>
                </a:lnTo>
                <a:close/>
                <a:moveTo>
                  <a:pt x="2003325" y="643267"/>
                </a:moveTo>
                <a:lnTo>
                  <a:pt x="2003325" y="686340"/>
                </a:lnTo>
                <a:lnTo>
                  <a:pt x="2003325" y="806848"/>
                </a:lnTo>
                <a:lnTo>
                  <a:pt x="2051661" y="806848"/>
                </a:lnTo>
                <a:lnTo>
                  <a:pt x="2051661" y="643267"/>
                </a:lnTo>
                <a:close/>
                <a:moveTo>
                  <a:pt x="1183993" y="639248"/>
                </a:moveTo>
                <a:cubicBezTo>
                  <a:pt x="1169223" y="639248"/>
                  <a:pt x="1155461" y="645280"/>
                  <a:pt x="1144048" y="658355"/>
                </a:cubicBezTo>
                <a:cubicBezTo>
                  <a:pt x="1142703" y="652991"/>
                  <a:pt x="1141026" y="647962"/>
                  <a:pt x="1139349" y="643269"/>
                </a:cubicBezTo>
                <a:lnTo>
                  <a:pt x="1101413" y="643269"/>
                </a:lnTo>
                <a:lnTo>
                  <a:pt x="1101413" y="806850"/>
                </a:lnTo>
                <a:lnTo>
                  <a:pt x="1149752" y="806850"/>
                </a:lnTo>
                <a:lnTo>
                  <a:pt x="1149752" y="717351"/>
                </a:lnTo>
                <a:cubicBezTo>
                  <a:pt x="1149752" y="704275"/>
                  <a:pt x="1149416" y="692880"/>
                  <a:pt x="1148412" y="683494"/>
                </a:cubicBezTo>
                <a:cubicBezTo>
                  <a:pt x="1157810" y="675783"/>
                  <a:pt x="1168551" y="672098"/>
                  <a:pt x="1179629" y="672098"/>
                </a:cubicBezTo>
                <a:cubicBezTo>
                  <a:pt x="1186679" y="672098"/>
                  <a:pt x="1193392" y="673437"/>
                  <a:pt x="1200105" y="676119"/>
                </a:cubicBezTo>
                <a:lnTo>
                  <a:pt x="1204803" y="644944"/>
                </a:lnTo>
                <a:cubicBezTo>
                  <a:pt x="1198428" y="641259"/>
                  <a:pt x="1191379" y="639248"/>
                  <a:pt x="1183993" y="639248"/>
                </a:cubicBezTo>
                <a:close/>
                <a:moveTo>
                  <a:pt x="1299014" y="639248"/>
                </a:moveTo>
                <a:cubicBezTo>
                  <a:pt x="1245644" y="639248"/>
                  <a:pt x="1214762" y="673437"/>
                  <a:pt x="1214762" y="725062"/>
                </a:cubicBezTo>
                <a:cubicBezTo>
                  <a:pt x="1214762" y="776683"/>
                  <a:pt x="1245644" y="810877"/>
                  <a:pt x="1299014" y="810877"/>
                </a:cubicBezTo>
                <a:cubicBezTo>
                  <a:pt x="1352389" y="810877"/>
                  <a:pt x="1383271" y="776683"/>
                  <a:pt x="1383271" y="725062"/>
                </a:cubicBezTo>
                <a:cubicBezTo>
                  <a:pt x="1383271" y="673437"/>
                  <a:pt x="1352389" y="639248"/>
                  <a:pt x="1299014" y="639248"/>
                </a:cubicBezTo>
                <a:close/>
                <a:moveTo>
                  <a:pt x="1608518" y="639248"/>
                </a:moveTo>
                <a:cubicBezTo>
                  <a:pt x="1559841" y="639248"/>
                  <a:pt x="1525937" y="671090"/>
                  <a:pt x="1525937" y="725062"/>
                </a:cubicBezTo>
                <a:cubicBezTo>
                  <a:pt x="1525937" y="752883"/>
                  <a:pt x="1534331" y="774337"/>
                  <a:pt x="1549434" y="788752"/>
                </a:cubicBezTo>
                <a:cubicBezTo>
                  <a:pt x="1564541" y="803502"/>
                  <a:pt x="1587701" y="810877"/>
                  <a:pt x="1612543" y="810877"/>
                </a:cubicBezTo>
                <a:cubicBezTo>
                  <a:pt x="1633691" y="810877"/>
                  <a:pt x="1655511" y="805512"/>
                  <a:pt x="1672631" y="793443"/>
                </a:cubicBezTo>
                <a:lnTo>
                  <a:pt x="1667597" y="768636"/>
                </a:lnTo>
                <a:cubicBezTo>
                  <a:pt x="1650138" y="778357"/>
                  <a:pt x="1633691" y="782715"/>
                  <a:pt x="1619592" y="782384"/>
                </a:cubicBezTo>
                <a:cubicBezTo>
                  <a:pt x="1589383" y="781712"/>
                  <a:pt x="1575284" y="763276"/>
                  <a:pt x="1575284" y="734447"/>
                </a:cubicBezTo>
                <a:lnTo>
                  <a:pt x="1667597" y="734447"/>
                </a:lnTo>
                <a:cubicBezTo>
                  <a:pt x="1679008" y="734447"/>
                  <a:pt x="1681357" y="732432"/>
                  <a:pt x="1681357" y="716008"/>
                </a:cubicBezTo>
                <a:cubicBezTo>
                  <a:pt x="1681357" y="665059"/>
                  <a:pt x="1651147" y="639248"/>
                  <a:pt x="1608518" y="639248"/>
                </a:cubicBezTo>
                <a:close/>
                <a:moveTo>
                  <a:pt x="1788093" y="639248"/>
                </a:moveTo>
                <a:cubicBezTo>
                  <a:pt x="1738748" y="639248"/>
                  <a:pt x="1704842" y="671426"/>
                  <a:pt x="1704842" y="725728"/>
                </a:cubicBezTo>
                <a:cubicBezTo>
                  <a:pt x="1704842" y="776347"/>
                  <a:pt x="1734048" y="810877"/>
                  <a:pt x="1787759" y="810877"/>
                </a:cubicBezTo>
                <a:cubicBezTo>
                  <a:pt x="1807230" y="810877"/>
                  <a:pt x="1827369" y="806183"/>
                  <a:pt x="1844825" y="795453"/>
                </a:cubicBezTo>
                <a:lnTo>
                  <a:pt x="1840125" y="770646"/>
                </a:lnTo>
                <a:cubicBezTo>
                  <a:pt x="1825018" y="778693"/>
                  <a:pt x="1810247" y="782384"/>
                  <a:pt x="1798163" y="782384"/>
                </a:cubicBezTo>
                <a:cubicBezTo>
                  <a:pt x="1767954" y="782384"/>
                  <a:pt x="1754523" y="765286"/>
                  <a:pt x="1754523" y="725393"/>
                </a:cubicBezTo>
                <a:cubicBezTo>
                  <a:pt x="1754523" y="685169"/>
                  <a:pt x="1770975" y="667741"/>
                  <a:pt x="1796487" y="667741"/>
                </a:cubicBezTo>
                <a:cubicBezTo>
                  <a:pt x="1810247" y="667741"/>
                  <a:pt x="1825354" y="671762"/>
                  <a:pt x="1838112" y="680140"/>
                </a:cubicBezTo>
                <a:lnTo>
                  <a:pt x="1842476" y="655001"/>
                </a:lnTo>
                <a:cubicBezTo>
                  <a:pt x="1827705" y="644608"/>
                  <a:pt x="1808234" y="639248"/>
                  <a:pt x="1788093" y="639248"/>
                </a:cubicBezTo>
                <a:close/>
                <a:moveTo>
                  <a:pt x="2320820" y="639247"/>
                </a:moveTo>
                <a:cubicBezTo>
                  <a:pt x="2272145" y="639247"/>
                  <a:pt x="2238239" y="671089"/>
                  <a:pt x="2238239" y="725061"/>
                </a:cubicBezTo>
                <a:cubicBezTo>
                  <a:pt x="2238239" y="752882"/>
                  <a:pt x="2246633" y="774336"/>
                  <a:pt x="2261740" y="788751"/>
                </a:cubicBezTo>
                <a:cubicBezTo>
                  <a:pt x="2276845" y="803501"/>
                  <a:pt x="2300010" y="810876"/>
                  <a:pt x="2324847" y="810876"/>
                </a:cubicBezTo>
                <a:cubicBezTo>
                  <a:pt x="2345995" y="810876"/>
                  <a:pt x="2367815" y="805511"/>
                  <a:pt x="2384935" y="793442"/>
                </a:cubicBezTo>
                <a:lnTo>
                  <a:pt x="2379899" y="768635"/>
                </a:lnTo>
                <a:cubicBezTo>
                  <a:pt x="2362442" y="778356"/>
                  <a:pt x="2345995" y="782714"/>
                  <a:pt x="2331897" y="782383"/>
                </a:cubicBezTo>
                <a:cubicBezTo>
                  <a:pt x="2301687" y="781711"/>
                  <a:pt x="2287588" y="763275"/>
                  <a:pt x="2287588" y="734446"/>
                </a:cubicBezTo>
                <a:lnTo>
                  <a:pt x="2379899" y="734446"/>
                </a:lnTo>
                <a:cubicBezTo>
                  <a:pt x="2391312" y="734446"/>
                  <a:pt x="2393661" y="732431"/>
                  <a:pt x="2393661" y="716007"/>
                </a:cubicBezTo>
                <a:cubicBezTo>
                  <a:pt x="2393661" y="665058"/>
                  <a:pt x="2363451" y="639247"/>
                  <a:pt x="2320820" y="639247"/>
                </a:cubicBezTo>
                <a:close/>
                <a:moveTo>
                  <a:pt x="969267" y="607065"/>
                </a:moveTo>
                <a:lnTo>
                  <a:pt x="983702" y="607065"/>
                </a:lnTo>
                <a:cubicBezTo>
                  <a:pt x="1014248" y="607065"/>
                  <a:pt x="1024987" y="617794"/>
                  <a:pt x="1024987" y="648965"/>
                </a:cubicBezTo>
                <a:cubicBezTo>
                  <a:pt x="1024987" y="682155"/>
                  <a:pt x="1012571" y="690869"/>
                  <a:pt x="983702" y="690869"/>
                </a:cubicBezTo>
                <a:lnTo>
                  <a:pt x="969267" y="690869"/>
                </a:lnTo>
                <a:close/>
                <a:moveTo>
                  <a:pt x="2651255" y="598584"/>
                </a:moveTo>
                <a:cubicBezTo>
                  <a:pt x="2563130" y="598584"/>
                  <a:pt x="2519871" y="675444"/>
                  <a:pt x="2509370" y="790841"/>
                </a:cubicBezTo>
                <a:cubicBezTo>
                  <a:pt x="2508587" y="799451"/>
                  <a:pt x="2515319" y="806901"/>
                  <a:pt x="2523979" y="806901"/>
                </a:cubicBezTo>
                <a:lnTo>
                  <a:pt x="2559218" y="806901"/>
                </a:lnTo>
                <a:cubicBezTo>
                  <a:pt x="2563493" y="699686"/>
                  <a:pt x="2585176" y="622048"/>
                  <a:pt x="2651255" y="622048"/>
                </a:cubicBezTo>
                <a:cubicBezTo>
                  <a:pt x="2688724" y="622048"/>
                  <a:pt x="2712015" y="647055"/>
                  <a:pt x="2725938" y="688236"/>
                </a:cubicBezTo>
                <a:lnTo>
                  <a:pt x="2726315" y="690131"/>
                </a:lnTo>
                <a:lnTo>
                  <a:pt x="2709521" y="706348"/>
                </a:lnTo>
                <a:cubicBezTo>
                  <a:pt x="2673917" y="749025"/>
                  <a:pt x="2653967" y="809707"/>
                  <a:pt x="2655888" y="881725"/>
                </a:cubicBezTo>
                <a:cubicBezTo>
                  <a:pt x="2656100" y="889680"/>
                  <a:pt x="2662599" y="896041"/>
                  <a:pt x="2670567" y="896041"/>
                </a:cubicBezTo>
                <a:lnTo>
                  <a:pt x="2707630" y="896041"/>
                </a:lnTo>
                <a:cubicBezTo>
                  <a:pt x="2705555" y="864758"/>
                  <a:pt x="2707463" y="834518"/>
                  <a:pt x="2713091" y="806755"/>
                </a:cubicBezTo>
                <a:lnTo>
                  <a:pt x="2736841" y="743125"/>
                </a:lnTo>
                <a:lnTo>
                  <a:pt x="2740399" y="761035"/>
                </a:lnTo>
                <a:cubicBezTo>
                  <a:pt x="2743278" y="788609"/>
                  <a:pt x="2744417" y="819122"/>
                  <a:pt x="2744417" y="851471"/>
                </a:cubicBezTo>
                <a:lnTo>
                  <a:pt x="2780627" y="851471"/>
                </a:lnTo>
                <a:cubicBezTo>
                  <a:pt x="2788817" y="851471"/>
                  <a:pt x="2795459" y="844770"/>
                  <a:pt x="2795299" y="836592"/>
                </a:cubicBezTo>
                <a:cubicBezTo>
                  <a:pt x="2794618" y="801494"/>
                  <a:pt x="2791482" y="769069"/>
                  <a:pt x="2785610" y="740175"/>
                </a:cubicBezTo>
                <a:lnTo>
                  <a:pt x="2770572" y="696847"/>
                </a:lnTo>
                <a:lnTo>
                  <a:pt x="2789394" y="681363"/>
                </a:lnTo>
                <a:cubicBezTo>
                  <a:pt x="2808851" y="669241"/>
                  <a:pt x="2831501" y="662463"/>
                  <a:pt x="2857083" y="662463"/>
                </a:cubicBezTo>
                <a:cubicBezTo>
                  <a:pt x="2902887" y="662463"/>
                  <a:pt x="2927568" y="692797"/>
                  <a:pt x="2927568" y="730919"/>
                </a:cubicBezTo>
                <a:cubicBezTo>
                  <a:pt x="2927568" y="769041"/>
                  <a:pt x="2901563" y="806901"/>
                  <a:pt x="2825340" y="806901"/>
                </a:cubicBezTo>
                <a:lnTo>
                  <a:pt x="2826532" y="837606"/>
                </a:lnTo>
                <a:cubicBezTo>
                  <a:pt x="2826847" y="845730"/>
                  <a:pt x="2833739" y="852100"/>
                  <a:pt x="2841873" y="851680"/>
                </a:cubicBezTo>
                <a:cubicBezTo>
                  <a:pt x="2932692" y="846991"/>
                  <a:pt x="2975564" y="796983"/>
                  <a:pt x="2975564" y="741166"/>
                </a:cubicBezTo>
                <a:cubicBezTo>
                  <a:pt x="2975564" y="682649"/>
                  <a:pt x="2927655" y="638998"/>
                  <a:pt x="2857083" y="638998"/>
                </a:cubicBezTo>
                <a:cubicBezTo>
                  <a:pt x="2826734" y="638998"/>
                  <a:pt x="2798745" y="645166"/>
                  <a:pt x="2773892" y="656669"/>
                </a:cubicBezTo>
                <a:lnTo>
                  <a:pt x="2759634" y="665328"/>
                </a:lnTo>
                <a:lnTo>
                  <a:pt x="2759500" y="664941"/>
                </a:lnTo>
                <a:cubicBezTo>
                  <a:pt x="2736244" y="622988"/>
                  <a:pt x="2700913" y="598584"/>
                  <a:pt x="2651255" y="598584"/>
                </a:cubicBezTo>
                <a:close/>
                <a:moveTo>
                  <a:pt x="1468890" y="591647"/>
                </a:moveTo>
                <a:lnTo>
                  <a:pt x="1420556" y="597683"/>
                </a:lnTo>
                <a:lnTo>
                  <a:pt x="1420556" y="643269"/>
                </a:lnTo>
                <a:lnTo>
                  <a:pt x="1394344" y="643269"/>
                </a:lnTo>
                <a:lnTo>
                  <a:pt x="1394344" y="668742"/>
                </a:lnTo>
                <a:lnTo>
                  <a:pt x="1420556" y="668742"/>
                </a:lnTo>
                <a:lnTo>
                  <a:pt x="1420556" y="754783"/>
                </a:lnTo>
                <a:cubicBezTo>
                  <a:pt x="1420556" y="787791"/>
                  <a:pt x="1434554" y="810877"/>
                  <a:pt x="1472396" y="810877"/>
                </a:cubicBezTo>
                <a:cubicBezTo>
                  <a:pt x="1486334" y="810877"/>
                  <a:pt x="1499838" y="808028"/>
                  <a:pt x="1512168" y="803497"/>
                </a:cubicBezTo>
                <a:lnTo>
                  <a:pt x="1508992" y="778450"/>
                </a:lnTo>
                <a:cubicBezTo>
                  <a:pt x="1501747" y="781056"/>
                  <a:pt x="1494442" y="782382"/>
                  <a:pt x="1487428" y="782382"/>
                </a:cubicBezTo>
                <a:cubicBezTo>
                  <a:pt x="1473595" y="782382"/>
                  <a:pt x="1468890" y="774529"/>
                  <a:pt x="1468890" y="755766"/>
                </a:cubicBezTo>
                <a:lnTo>
                  <a:pt x="1468890" y="668742"/>
                </a:lnTo>
                <a:lnTo>
                  <a:pt x="1510819" y="668742"/>
                </a:lnTo>
                <a:lnTo>
                  <a:pt x="1510819" y="643269"/>
                </a:lnTo>
                <a:lnTo>
                  <a:pt x="1468890" y="643269"/>
                </a:lnTo>
                <a:close/>
                <a:moveTo>
                  <a:pt x="1934250" y="591647"/>
                </a:moveTo>
                <a:lnTo>
                  <a:pt x="1885917" y="597683"/>
                </a:lnTo>
                <a:lnTo>
                  <a:pt x="1885917" y="643268"/>
                </a:lnTo>
                <a:lnTo>
                  <a:pt x="1859702" y="643268"/>
                </a:lnTo>
                <a:lnTo>
                  <a:pt x="1859702" y="668742"/>
                </a:lnTo>
                <a:lnTo>
                  <a:pt x="1885917" y="668742"/>
                </a:lnTo>
                <a:lnTo>
                  <a:pt x="1885917" y="754782"/>
                </a:lnTo>
                <a:cubicBezTo>
                  <a:pt x="1885917" y="787790"/>
                  <a:pt x="1899912" y="810876"/>
                  <a:pt x="1937754" y="810876"/>
                </a:cubicBezTo>
                <a:cubicBezTo>
                  <a:pt x="1951695" y="810876"/>
                  <a:pt x="1965198" y="808027"/>
                  <a:pt x="1977529" y="803496"/>
                </a:cubicBezTo>
                <a:lnTo>
                  <a:pt x="1974352" y="778450"/>
                </a:lnTo>
                <a:cubicBezTo>
                  <a:pt x="1967108" y="781056"/>
                  <a:pt x="1959802" y="782382"/>
                  <a:pt x="1952786" y="782382"/>
                </a:cubicBezTo>
                <a:cubicBezTo>
                  <a:pt x="1938953" y="782382"/>
                  <a:pt x="1934250" y="774528"/>
                  <a:pt x="1934250" y="755765"/>
                </a:cubicBezTo>
                <a:lnTo>
                  <a:pt x="1934250" y="668742"/>
                </a:lnTo>
                <a:lnTo>
                  <a:pt x="1976179" y="668742"/>
                </a:lnTo>
                <a:lnTo>
                  <a:pt x="1976179" y="643268"/>
                </a:lnTo>
                <a:lnTo>
                  <a:pt x="1934250" y="643268"/>
                </a:lnTo>
                <a:close/>
                <a:moveTo>
                  <a:pt x="917574" y="575895"/>
                </a:moveTo>
                <a:lnTo>
                  <a:pt x="917574" y="806850"/>
                </a:lnTo>
                <a:lnTo>
                  <a:pt x="969267" y="806850"/>
                </a:lnTo>
                <a:lnTo>
                  <a:pt x="969267" y="721708"/>
                </a:lnTo>
                <a:lnTo>
                  <a:pt x="980012" y="721708"/>
                </a:lnTo>
                <a:cubicBezTo>
                  <a:pt x="1019284" y="721708"/>
                  <a:pt x="1042444" y="715341"/>
                  <a:pt x="1057883" y="701262"/>
                </a:cubicBezTo>
                <a:cubicBezTo>
                  <a:pt x="1070977" y="689194"/>
                  <a:pt x="1077017" y="671090"/>
                  <a:pt x="1077017" y="646618"/>
                </a:cubicBezTo>
                <a:cubicBezTo>
                  <a:pt x="1077017" y="626172"/>
                  <a:pt x="1071650" y="610755"/>
                  <a:pt x="1061242" y="599695"/>
                </a:cubicBezTo>
                <a:cubicBezTo>
                  <a:pt x="1046135" y="583601"/>
                  <a:pt x="1019952" y="575895"/>
                  <a:pt x="973294" y="575895"/>
                </a:cubicBezTo>
                <a:close/>
                <a:moveTo>
                  <a:pt x="2027494" y="574214"/>
                </a:moveTo>
                <a:cubicBezTo>
                  <a:pt x="2012391" y="574214"/>
                  <a:pt x="2001984" y="584271"/>
                  <a:pt x="2001984" y="598350"/>
                </a:cubicBezTo>
                <a:cubicBezTo>
                  <a:pt x="2001984" y="612428"/>
                  <a:pt x="2012391" y="622485"/>
                  <a:pt x="2027494" y="622485"/>
                </a:cubicBezTo>
                <a:cubicBezTo>
                  <a:pt x="2042596" y="622485"/>
                  <a:pt x="2053005" y="612428"/>
                  <a:pt x="2053005" y="598350"/>
                </a:cubicBezTo>
                <a:cubicBezTo>
                  <a:pt x="2053005" y="584271"/>
                  <a:pt x="2042596" y="574214"/>
                  <a:pt x="2027494" y="574214"/>
                </a:cubicBezTo>
                <a:close/>
                <a:moveTo>
                  <a:pt x="2857084" y="516940"/>
                </a:moveTo>
                <a:cubicBezTo>
                  <a:pt x="2873881" y="516940"/>
                  <a:pt x="2885433" y="531034"/>
                  <a:pt x="2885433" y="559788"/>
                </a:cubicBezTo>
                <a:cubicBezTo>
                  <a:pt x="2885433" y="588541"/>
                  <a:pt x="2873881" y="602636"/>
                  <a:pt x="2857084" y="602636"/>
                </a:cubicBezTo>
                <a:cubicBezTo>
                  <a:pt x="2840283" y="602636"/>
                  <a:pt x="2828731" y="588541"/>
                  <a:pt x="2828731" y="559788"/>
                </a:cubicBezTo>
                <a:cubicBezTo>
                  <a:pt x="2828731" y="531034"/>
                  <a:pt x="2840283" y="516940"/>
                  <a:pt x="2857084" y="516940"/>
                </a:cubicBezTo>
                <a:close/>
                <a:moveTo>
                  <a:pt x="2857084" y="497614"/>
                </a:moveTo>
                <a:cubicBezTo>
                  <a:pt x="2821807" y="497614"/>
                  <a:pt x="2796035" y="523895"/>
                  <a:pt x="2796035" y="559788"/>
                </a:cubicBezTo>
                <a:cubicBezTo>
                  <a:pt x="2796035" y="595681"/>
                  <a:pt x="2821807" y="621962"/>
                  <a:pt x="2857084" y="621962"/>
                </a:cubicBezTo>
                <a:cubicBezTo>
                  <a:pt x="2892358" y="621962"/>
                  <a:pt x="2918132" y="595681"/>
                  <a:pt x="2918132" y="559788"/>
                </a:cubicBezTo>
                <a:cubicBezTo>
                  <a:pt x="2918132" y="523895"/>
                  <a:pt x="2892358" y="497614"/>
                  <a:pt x="2857084" y="497614"/>
                </a:cubicBezTo>
                <a:close/>
                <a:moveTo>
                  <a:pt x="2651255" y="476526"/>
                </a:moveTo>
                <a:cubicBezTo>
                  <a:pt x="2668052" y="476526"/>
                  <a:pt x="2679604" y="490620"/>
                  <a:pt x="2679604" y="519374"/>
                </a:cubicBezTo>
                <a:cubicBezTo>
                  <a:pt x="2679604" y="548127"/>
                  <a:pt x="2668052" y="562222"/>
                  <a:pt x="2651255" y="562222"/>
                </a:cubicBezTo>
                <a:cubicBezTo>
                  <a:pt x="2634457" y="562222"/>
                  <a:pt x="2622902" y="548127"/>
                  <a:pt x="2622902" y="519374"/>
                </a:cubicBezTo>
                <a:cubicBezTo>
                  <a:pt x="2622902" y="490620"/>
                  <a:pt x="2634457" y="476526"/>
                  <a:pt x="2651255" y="476526"/>
                </a:cubicBezTo>
                <a:close/>
                <a:moveTo>
                  <a:pt x="2651255" y="457200"/>
                </a:moveTo>
                <a:cubicBezTo>
                  <a:pt x="2615980" y="457200"/>
                  <a:pt x="2590205" y="483481"/>
                  <a:pt x="2590205" y="519374"/>
                </a:cubicBezTo>
                <a:cubicBezTo>
                  <a:pt x="2590205" y="555267"/>
                  <a:pt x="2615980" y="581548"/>
                  <a:pt x="2651255" y="581548"/>
                </a:cubicBezTo>
                <a:cubicBezTo>
                  <a:pt x="2686529" y="581548"/>
                  <a:pt x="2712304" y="555267"/>
                  <a:pt x="2712304" y="519374"/>
                </a:cubicBezTo>
                <a:cubicBezTo>
                  <a:pt x="2712304" y="483481"/>
                  <a:pt x="2686529" y="457200"/>
                  <a:pt x="2651255" y="457200"/>
                </a:cubicBezTo>
                <a:close/>
                <a:moveTo>
                  <a:pt x="0" y="0"/>
                </a:moveTo>
                <a:lnTo>
                  <a:pt x="12188949" y="0"/>
                </a:lnTo>
                <a:lnTo>
                  <a:pt x="12188949" y="6857999"/>
                </a:lnTo>
                <a:lnTo>
                  <a:pt x="8185437" y="6857999"/>
                </a:lnTo>
                <a:lnTo>
                  <a:pt x="8667864" y="6703983"/>
                </a:lnTo>
                <a:cubicBezTo>
                  <a:pt x="9832097" y="6313371"/>
                  <a:pt x="10986147" y="5793430"/>
                  <a:pt x="12099563" y="5152052"/>
                </a:cubicBezTo>
                <a:cubicBezTo>
                  <a:pt x="12128384" y="5135457"/>
                  <a:pt x="12157206" y="5118608"/>
                  <a:pt x="12185901" y="5101378"/>
                </a:cubicBezTo>
                <a:lnTo>
                  <a:pt x="12185901" y="1169823"/>
                </a:lnTo>
                <a:cubicBezTo>
                  <a:pt x="11636026" y="1589447"/>
                  <a:pt x="11059343" y="1972890"/>
                  <a:pt x="10459514" y="2317719"/>
                </a:cubicBezTo>
                <a:lnTo>
                  <a:pt x="10459513" y="2317719"/>
                </a:lnTo>
                <a:cubicBezTo>
                  <a:pt x="9212686" y="3036026"/>
                  <a:pt x="7912911" y="3569371"/>
                  <a:pt x="6596378" y="3903060"/>
                </a:cubicBezTo>
                <a:cubicBezTo>
                  <a:pt x="5350440" y="4218887"/>
                  <a:pt x="4147798" y="4342279"/>
                  <a:pt x="3021844" y="4269815"/>
                </a:cubicBezTo>
                <a:cubicBezTo>
                  <a:pt x="1954420" y="4201025"/>
                  <a:pt x="1019172" y="3960702"/>
                  <a:pt x="242001" y="3555182"/>
                </a:cubicBezTo>
                <a:cubicBezTo>
                  <a:pt x="159048" y="3512024"/>
                  <a:pt x="78635" y="3467009"/>
                  <a:pt x="761" y="3420135"/>
                </a:cubicBezTo>
                <a:lnTo>
                  <a:pt x="761" y="6857999"/>
                </a:lnTo>
                <a:lnTo>
                  <a:pt x="0" y="6857999"/>
                </a:lnTo>
                <a:close/>
              </a:path>
            </a:pathLst>
          </a:custGeom>
          <a:solidFill>
            <a:schemeClr val="bg1">
              <a:lumMod val="95000"/>
            </a:schemeClr>
          </a:solidFill>
        </p:spPr>
        <p:txBody>
          <a:bodyPr wrap="square">
            <a:noAutofit/>
          </a:bodyPr>
          <a:lstStyle>
            <a:lvl1pPr>
              <a:defRPr sz="1400">
                <a:solidFill>
                  <a:schemeClr val="accent5"/>
                </a:solidFill>
              </a:defRPr>
            </a:lvl1pPr>
          </a:lstStyle>
          <a:p>
            <a:r>
              <a:rPr lang="en-US" dirty="0"/>
              <a:t>Click on icon to insert picture. Reset slide to make sure the logo appears and image is behind text.</a:t>
            </a:r>
          </a:p>
        </p:txBody>
      </p:sp>
      <p:sp>
        <p:nvSpPr>
          <p:cNvPr id="35" name="Graphic 33">
            <a:extLst>
              <a:ext uri="{FF2B5EF4-FFF2-40B4-BE49-F238E27FC236}">
                <a16:creationId xmlns:a16="http://schemas.microsoft.com/office/drawing/2014/main" id="{977D6BF7-E3AE-0541-A048-4AF4E0FC4465}"/>
              </a:ext>
            </a:extLst>
          </p:cNvPr>
          <p:cNvSpPr/>
          <p:nvPr/>
        </p:nvSpPr>
        <p:spPr>
          <a:xfrm>
            <a:off x="761" y="1169822"/>
            <a:ext cx="12185143" cy="5693625"/>
          </a:xfrm>
          <a:custGeom>
            <a:avLst/>
            <a:gdLst>
              <a:gd name="connsiteX0" fmla="*/ 10458755 w 12185143"/>
              <a:gd name="connsiteY0" fmla="*/ 1147897 h 5693625"/>
              <a:gd name="connsiteX1" fmla="*/ 6595620 w 12185143"/>
              <a:gd name="connsiteY1" fmla="*/ 2733239 h 5693625"/>
              <a:gd name="connsiteX2" fmla="*/ 3021083 w 12185143"/>
              <a:gd name="connsiteY2" fmla="*/ 3099994 h 5693625"/>
              <a:gd name="connsiteX3" fmla="*/ 241240 w 12185143"/>
              <a:gd name="connsiteY3" fmla="*/ 2385361 h 5693625"/>
              <a:gd name="connsiteX4" fmla="*/ 0 w 12185143"/>
              <a:gd name="connsiteY4" fmla="*/ 2250314 h 5693625"/>
              <a:gd name="connsiteX5" fmla="*/ 0 w 12185143"/>
              <a:gd name="connsiteY5" fmla="*/ 5693626 h 5693625"/>
              <a:gd name="connsiteX6" fmla="*/ 8167614 w 12185143"/>
              <a:gd name="connsiteY6" fmla="*/ 5693626 h 5693625"/>
              <a:gd name="connsiteX7" fmla="*/ 12098805 w 12185143"/>
              <a:gd name="connsiteY7" fmla="*/ 3982231 h 5693625"/>
              <a:gd name="connsiteX8" fmla="*/ 12185143 w 12185143"/>
              <a:gd name="connsiteY8" fmla="*/ 3931557 h 5693625"/>
              <a:gd name="connsiteX9" fmla="*/ 12185143 w 12185143"/>
              <a:gd name="connsiteY9" fmla="*/ 0 h 5693625"/>
              <a:gd name="connsiteX10" fmla="*/ 10458756 w 12185143"/>
              <a:gd name="connsiteY10" fmla="*/ 1147897 h 5693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85143" h="5693625">
                <a:moveTo>
                  <a:pt x="10458755" y="1147897"/>
                </a:moveTo>
                <a:cubicBezTo>
                  <a:pt x="9211928" y="1866204"/>
                  <a:pt x="7912153" y="2399550"/>
                  <a:pt x="6595620" y="2733239"/>
                </a:cubicBezTo>
                <a:cubicBezTo>
                  <a:pt x="5349680" y="3049066"/>
                  <a:pt x="4147037" y="3172458"/>
                  <a:pt x="3021083" y="3099994"/>
                </a:cubicBezTo>
                <a:cubicBezTo>
                  <a:pt x="1953660" y="3031204"/>
                  <a:pt x="1018412" y="2790881"/>
                  <a:pt x="241240" y="2385361"/>
                </a:cubicBezTo>
                <a:cubicBezTo>
                  <a:pt x="158287" y="2342203"/>
                  <a:pt x="77874" y="2297188"/>
                  <a:pt x="0" y="2250314"/>
                </a:cubicBezTo>
                <a:lnTo>
                  <a:pt x="0" y="5693626"/>
                </a:lnTo>
                <a:lnTo>
                  <a:pt x="8167614" y="5693626"/>
                </a:lnTo>
                <a:cubicBezTo>
                  <a:pt x="9500781" y="5289626"/>
                  <a:pt x="10826329" y="4715234"/>
                  <a:pt x="12098805" y="3982231"/>
                </a:cubicBezTo>
                <a:cubicBezTo>
                  <a:pt x="12127626" y="3965636"/>
                  <a:pt x="12156448" y="3948787"/>
                  <a:pt x="12185143" y="3931557"/>
                </a:cubicBezTo>
                <a:lnTo>
                  <a:pt x="12185143" y="0"/>
                </a:lnTo>
                <a:cubicBezTo>
                  <a:pt x="11635268" y="419624"/>
                  <a:pt x="11058585" y="803067"/>
                  <a:pt x="10458756" y="1147897"/>
                </a:cubicBezTo>
                <a:close/>
              </a:path>
            </a:pathLst>
          </a:custGeom>
          <a:gradFill>
            <a:gsLst>
              <a:gs pos="0">
                <a:schemeClr val="tx2"/>
              </a:gs>
              <a:gs pos="100000">
                <a:schemeClr val="accent3"/>
              </a:gs>
            </a:gsLst>
            <a:lin ang="0" scaled="1"/>
          </a:gradFill>
          <a:ln w="12690" cap="flat">
            <a:noFill/>
            <a:prstDash val="solid"/>
            <a:miter/>
          </a:ln>
        </p:spPr>
        <p:txBody>
          <a:bodyPr rtlCol="0" anchor="ctr"/>
          <a:lstStyle/>
          <a:p>
            <a:endParaRPr lang="en-US" dirty="0"/>
          </a:p>
        </p:txBody>
      </p:sp>
      <p:graphicFrame>
        <p:nvGraphicFramePr>
          <p:cNvPr id="8" name="Object 7" hidden="1">
            <a:extLst>
              <a:ext uri="{FF2B5EF4-FFF2-40B4-BE49-F238E27FC236}">
                <a16:creationId xmlns:a16="http://schemas.microsoft.com/office/drawing/2014/main" id="{96E5EC05-B70E-0449-BE8C-62E577850024}"/>
              </a:ext>
            </a:extLst>
          </p:cNvPr>
          <p:cNvGraphicFramePr>
            <a:graphicFrameLocks noChangeAspect="1"/>
          </p:cNvGraphicFramePr>
          <p:nvPr>
            <p:custDataLst>
              <p:tags r:id="rId2"/>
            </p:custDataLst>
            <p:extLst>
              <p:ext uri="{D42A27DB-BD31-4B8C-83A1-F6EECF244321}">
                <p14:modId xmlns:p14="http://schemas.microsoft.com/office/powerpoint/2010/main" val="576389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9481"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96E5EC05-B70E-0449-BE8C-62E57785002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Text Placeholder 3">
            <a:extLst>
              <a:ext uri="{FF2B5EF4-FFF2-40B4-BE49-F238E27FC236}">
                <a16:creationId xmlns:a16="http://schemas.microsoft.com/office/drawing/2014/main" id="{5740C42A-E075-6949-900C-E63BE9FB862C}"/>
              </a:ext>
            </a:extLst>
          </p:cNvPr>
          <p:cNvSpPr>
            <a:spLocks noGrp="1"/>
          </p:cNvSpPr>
          <p:nvPr>
            <p:ph type="body" sz="half" idx="2" hasCustomPrompt="1"/>
          </p:nvPr>
        </p:nvSpPr>
        <p:spPr>
          <a:xfrm>
            <a:off x="914399" y="6169025"/>
            <a:ext cx="3706285" cy="462819"/>
          </a:xfrm>
        </p:spPr>
        <p:txBody>
          <a:bodyPr anchor="b"/>
          <a:lstStyle>
            <a:lvl1pPr marL="0" indent="0">
              <a:buNone/>
              <a:defRPr sz="1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date</a:t>
            </a:r>
          </a:p>
        </p:txBody>
      </p:sp>
      <p:sp>
        <p:nvSpPr>
          <p:cNvPr id="9" name="TextBox 8">
            <a:extLst>
              <a:ext uri="{FF2B5EF4-FFF2-40B4-BE49-F238E27FC236}">
                <a16:creationId xmlns:a16="http://schemas.microsoft.com/office/drawing/2014/main" id="{733C8FB4-9A4D-AF4D-A6E6-B12D36795417}"/>
              </a:ext>
            </a:extLst>
          </p:cNvPr>
          <p:cNvSpPr txBox="1"/>
          <p:nvPr/>
        </p:nvSpPr>
        <p:spPr>
          <a:xfrm>
            <a:off x="9282514" y="6368176"/>
            <a:ext cx="2223686" cy="246221"/>
          </a:xfrm>
          <a:prstGeom prst="rect">
            <a:avLst/>
          </a:prstGeom>
          <a:noFill/>
        </p:spPr>
        <p:txBody>
          <a:bodyPr wrap="none" lIns="0" tIns="0" rIns="0" bIns="0" rtlCol="0" anchor="b">
            <a:noAutofit/>
          </a:bodyPr>
          <a:lstStyle/>
          <a:p>
            <a:pPr algn="r"/>
            <a:r>
              <a:rPr lang="en-US" sz="1000" dirty="0">
                <a:solidFill>
                  <a:schemeClr val="bg1"/>
                </a:solidFill>
              </a:rPr>
              <a:t>Confidential—do not copy or distribute</a:t>
            </a:r>
          </a:p>
        </p:txBody>
      </p:sp>
      <p:sp>
        <p:nvSpPr>
          <p:cNvPr id="3" name="Subtitle 2"/>
          <p:cNvSpPr>
            <a:spLocks noGrp="1"/>
          </p:cNvSpPr>
          <p:nvPr>
            <p:ph type="subTitle" idx="1" hasCustomPrompt="1"/>
          </p:nvPr>
        </p:nvSpPr>
        <p:spPr>
          <a:xfrm>
            <a:off x="914400" y="5088795"/>
            <a:ext cx="9448800" cy="599383"/>
          </a:xfrm>
        </p:spPr>
        <p:txBody>
          <a:bodyPr/>
          <a:lstStyle>
            <a:lvl1pPr marL="0" indent="0" algn="l">
              <a:buNone/>
              <a:defRPr sz="32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or subtitle</a:t>
            </a:r>
          </a:p>
        </p:txBody>
      </p:sp>
      <p:sp>
        <p:nvSpPr>
          <p:cNvPr id="2" name="Title 1"/>
          <p:cNvSpPr>
            <a:spLocks noGrp="1"/>
          </p:cNvSpPr>
          <p:nvPr>
            <p:ph type="ctrTitle"/>
          </p:nvPr>
        </p:nvSpPr>
        <p:spPr>
          <a:xfrm>
            <a:off x="914400" y="4343400"/>
            <a:ext cx="10363200" cy="806939"/>
          </a:xfrm>
        </p:spPr>
        <p:txBody>
          <a:bodyPr vert="horz" anchor="b"/>
          <a:lstStyle>
            <a:lvl1pPr>
              <a:defRPr sz="4800">
                <a:solidFill>
                  <a:schemeClr val="bg1"/>
                </a:solidFill>
              </a:defRPr>
            </a:lvl1pPr>
          </a:lstStyle>
          <a:p>
            <a:r>
              <a:rPr lang="en-US"/>
              <a:t>Click to edit Master title style</a:t>
            </a:r>
          </a:p>
        </p:txBody>
      </p:sp>
    </p:spTree>
    <p:extLst>
      <p:ext uri="{BB962C8B-B14F-4D97-AF65-F5344CB8AC3E}">
        <p14:creationId xmlns:p14="http://schemas.microsoft.com/office/powerpoint/2010/main" val="1476498684"/>
      </p:ext>
    </p:extLst>
  </p:cSld>
  <p:clrMapOvr>
    <a:masterClrMapping/>
  </p:clrMapOvr>
  <p:extLst>
    <p:ext uri="{DCECCB84-F9BA-43D5-87BE-67443E8EF086}">
      <p15:sldGuideLst xmlns:p15="http://schemas.microsoft.com/office/powerpoint/2012/main">
        <p15:guide id="1" pos="57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128176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Blank Slide with title (customiz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Blank Slide (Customize)</a:t>
            </a:r>
          </a:p>
        </p:txBody>
      </p:sp>
    </p:spTree>
    <p:extLst>
      <p:ext uri="{BB962C8B-B14F-4D97-AF65-F5344CB8AC3E}">
        <p14:creationId xmlns:p14="http://schemas.microsoft.com/office/powerpoint/2010/main" val="1639385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_TWO images and text">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p:txBody>
          <a:bodyPr/>
          <a:lstStyle>
            <a:lvl1pPr>
              <a:defRPr sz="3200"/>
            </a:lvl1pPr>
          </a:lstStyle>
          <a:p>
            <a:r>
              <a:rPr lang="en-US" dirty="0"/>
              <a:t>Comparing two items or features</a:t>
            </a:r>
          </a:p>
        </p:txBody>
      </p:sp>
      <p:sp>
        <p:nvSpPr>
          <p:cNvPr id="4" name="Text Placeholder 3"/>
          <p:cNvSpPr>
            <a:spLocks noGrp="1"/>
          </p:cNvSpPr>
          <p:nvPr userDrawn="1">
            <p:ph type="body" sz="quarter" idx="10" hasCustomPrompt="1"/>
          </p:nvPr>
        </p:nvSpPr>
        <p:spPr>
          <a:xfrm>
            <a:off x="3676357" y="1535378"/>
            <a:ext cx="7908160" cy="2103396"/>
          </a:xfrm>
        </p:spPr>
        <p:txBody>
          <a:bodyPr/>
          <a:lstStyle>
            <a:lvl1pPr marL="0" indent="0">
              <a:buNone/>
              <a:defRPr sz="2133" baseline="0"/>
            </a:lvl1pPr>
          </a:lstStyle>
          <a:p>
            <a:pPr lvl="0"/>
            <a:r>
              <a:rPr lang="en-US" dirty="0"/>
              <a:t>Enter your text here</a:t>
            </a:r>
          </a:p>
        </p:txBody>
      </p:sp>
      <p:sp>
        <p:nvSpPr>
          <p:cNvPr id="5" name="Text Placeholder 3"/>
          <p:cNvSpPr>
            <a:spLocks noGrp="1"/>
          </p:cNvSpPr>
          <p:nvPr userDrawn="1">
            <p:ph type="body" sz="quarter" idx="11" hasCustomPrompt="1"/>
          </p:nvPr>
        </p:nvSpPr>
        <p:spPr>
          <a:xfrm>
            <a:off x="3676357" y="4128454"/>
            <a:ext cx="7908160" cy="2058407"/>
          </a:xfrm>
        </p:spPr>
        <p:txBody>
          <a:bodyPr/>
          <a:lstStyle>
            <a:lvl1pPr marL="0" indent="0">
              <a:buNone/>
              <a:defRPr sz="2133"/>
            </a:lvl1pPr>
          </a:lstStyle>
          <a:p>
            <a:pPr lvl="0"/>
            <a:r>
              <a:rPr lang="en-US" dirty="0"/>
              <a:t>Enter your text here</a:t>
            </a:r>
          </a:p>
        </p:txBody>
      </p:sp>
      <p:cxnSp>
        <p:nvCxnSpPr>
          <p:cNvPr id="7" name="Straight Connector 6"/>
          <p:cNvCxnSpPr/>
          <p:nvPr userDrawn="1"/>
        </p:nvCxnSpPr>
        <p:spPr>
          <a:xfrm>
            <a:off x="611717" y="3860359"/>
            <a:ext cx="11580283"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21" name="Text Placeholder 4"/>
          <p:cNvSpPr>
            <a:spLocks noGrp="1"/>
          </p:cNvSpPr>
          <p:nvPr userDrawn="1">
            <p:ph type="body" sz="quarter" idx="14" hasCustomPrompt="1"/>
          </p:nvPr>
        </p:nvSpPr>
        <p:spPr>
          <a:xfrm>
            <a:off x="589139" y="881767"/>
            <a:ext cx="10972800" cy="366932"/>
          </a:xfrm>
        </p:spPr>
        <p:txBody>
          <a:bodyPr/>
          <a:lstStyle>
            <a:lvl1pPr marL="0" indent="0">
              <a:buNone/>
              <a:defRPr sz="2667" baseline="0"/>
            </a:lvl1pPr>
            <a:lvl2pPr marL="302675" indent="0">
              <a:buNone/>
              <a:defRPr/>
            </a:lvl2pPr>
          </a:lstStyle>
          <a:p>
            <a:pPr lvl="0"/>
            <a:r>
              <a:rPr lang="en-US" dirty="0"/>
              <a:t>Sub-header optional—delete if not needed</a:t>
            </a:r>
          </a:p>
        </p:txBody>
      </p:sp>
      <p:sp>
        <p:nvSpPr>
          <p:cNvPr id="22" name="Text Placeholder 5"/>
          <p:cNvSpPr>
            <a:spLocks noGrp="1"/>
          </p:cNvSpPr>
          <p:nvPr userDrawn="1">
            <p:ph type="body" sz="quarter" idx="15" hasCustomPrompt="1"/>
          </p:nvPr>
        </p:nvSpPr>
        <p:spPr>
          <a:xfrm>
            <a:off x="3138793" y="6560363"/>
            <a:ext cx="5927388" cy="214955"/>
          </a:xfrm>
        </p:spPr>
        <p:txBody>
          <a:bodyPr/>
          <a:lstStyle>
            <a:lvl1pPr marL="0" indent="0" algn="ctr">
              <a:buNone/>
              <a:defRPr sz="933" baseline="0"/>
            </a:lvl1pPr>
          </a:lstStyle>
          <a:p>
            <a:pPr lvl="0"/>
            <a:r>
              <a:rPr lang="en-US" dirty="0"/>
              <a:t>For internal use only.</a:t>
            </a:r>
          </a:p>
        </p:txBody>
      </p:sp>
      <p:grpSp>
        <p:nvGrpSpPr>
          <p:cNvPr id="23" name="Group 22"/>
          <p:cNvGrpSpPr/>
          <p:nvPr userDrawn="1"/>
        </p:nvGrpSpPr>
        <p:grpSpPr>
          <a:xfrm>
            <a:off x="-2120087" y="1725355"/>
            <a:ext cx="1879365" cy="2359171"/>
            <a:chOff x="-1663544" y="2872984"/>
            <a:chExt cx="1409524" cy="2359171"/>
          </a:xfrm>
        </p:grpSpPr>
        <p:pic>
          <p:nvPicPr>
            <p:cNvPr id="2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663544" y="4584536"/>
              <a:ext cx="1409524" cy="6476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TextBox 24"/>
            <p:cNvSpPr txBox="1"/>
            <p:nvPr/>
          </p:nvSpPr>
          <p:spPr>
            <a:xfrm>
              <a:off x="-1663544" y="2872984"/>
              <a:ext cx="1386540" cy="1384995"/>
            </a:xfrm>
            <a:prstGeom prst="rect">
              <a:avLst/>
            </a:prstGeom>
            <a:noFill/>
          </p:spPr>
          <p:txBody>
            <a:bodyPr wrap="square" rtlCol="0">
              <a:spAutoFit/>
            </a:bodyPr>
            <a:lstStyle/>
            <a:p>
              <a:r>
                <a:rPr lang="en-US" sz="1400" dirty="0"/>
                <a:t>To crop image or reposition image inside of frame, right click on the image and select the crop tool</a:t>
              </a:r>
            </a:p>
          </p:txBody>
        </p:sp>
      </p:grpSp>
    </p:spTree>
    <p:extLst>
      <p:ext uri="{BB962C8B-B14F-4D97-AF65-F5344CB8AC3E}">
        <p14:creationId xmlns:p14="http://schemas.microsoft.com/office/powerpoint/2010/main" val="386543779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9" name="Content Placeholder 2"/>
          <p:cNvSpPr>
            <a:spLocks noGrp="1"/>
          </p:cNvSpPr>
          <p:nvPr>
            <p:ph idx="1"/>
          </p:nvPr>
        </p:nvSpPr>
        <p:spPr>
          <a:xfrm>
            <a:off x="609600" y="1223674"/>
            <a:ext cx="10972800" cy="2655085"/>
          </a:xfrm>
          <a:prstGeom prst="rect">
            <a:avLst/>
          </a:prstGeom>
        </p:spPr>
        <p:txBody>
          <a:bodyPr>
            <a:spAutoFit/>
          </a:bodyPr>
          <a:lstStyle>
            <a:lvl1pPr marL="306895" indent="-306895">
              <a:spcBef>
                <a:spcPts val="0"/>
              </a:spcBef>
              <a:spcAft>
                <a:spcPts val="1600"/>
              </a:spcAft>
              <a:buClr>
                <a:srgbClr val="F26B31"/>
              </a:buClr>
              <a:buSzPct val="85000"/>
              <a:buFont typeface="Wingdings 3" panose="05040102010807070707" pitchFamily="18" charset="2"/>
              <a:buChar char=""/>
              <a:defRPr sz="2667">
                <a:latin typeface="Arial" panose="020B0604020202020204" pitchFamily="34" charset="0"/>
                <a:cs typeface="Arial" panose="020B0604020202020204" pitchFamily="34" charset="0"/>
              </a:defRPr>
            </a:lvl1pPr>
            <a:lvl2pPr marL="990526" indent="-380972">
              <a:spcBef>
                <a:spcPts val="0"/>
              </a:spcBef>
              <a:spcAft>
                <a:spcPts val="1600"/>
              </a:spcAft>
              <a:buClr>
                <a:srgbClr val="F26B31"/>
              </a:buClr>
              <a:buSzPct val="85000"/>
              <a:buFont typeface="Arial" panose="020B0604020202020204" pitchFamily="34" charset="0"/>
              <a:buChar char="–"/>
              <a:defRPr sz="2400">
                <a:latin typeface="Arial" panose="020B0604020202020204" pitchFamily="34" charset="0"/>
                <a:cs typeface="Arial" panose="020B0604020202020204" pitchFamily="34" charset="0"/>
              </a:defRPr>
            </a:lvl2pPr>
            <a:lvl3pPr>
              <a:spcBef>
                <a:spcPts val="0"/>
              </a:spcBef>
              <a:spcAft>
                <a:spcPts val="1600"/>
              </a:spcAft>
              <a:buClr>
                <a:srgbClr val="F26B31"/>
              </a:buClr>
              <a:buSzPct val="100000"/>
              <a:buFont typeface="Wingdings" pitchFamily="2" charset="2"/>
              <a:buChar char="§"/>
              <a:defRPr sz="2133">
                <a:latin typeface="Arial" panose="020B0604020202020204" pitchFamily="34" charset="0"/>
                <a:cs typeface="Arial" panose="020B0604020202020204" pitchFamily="34" charset="0"/>
              </a:defRPr>
            </a:lvl3pPr>
            <a:lvl4pPr marL="2133440" indent="-304776">
              <a:spcBef>
                <a:spcPts val="0"/>
              </a:spcBef>
              <a:spcAft>
                <a:spcPts val="1600"/>
              </a:spcAft>
              <a:buClr>
                <a:srgbClr val="F26B31"/>
              </a:buClr>
              <a:buSzPct val="100000"/>
              <a:buFont typeface="Arial" pitchFamily="34" charset="0"/>
              <a:buChar char="•"/>
              <a:defRPr sz="2133">
                <a:latin typeface="Arial" panose="020B0604020202020204" pitchFamily="34" charset="0"/>
                <a:cs typeface="Arial" panose="020B0604020202020204" pitchFamily="34" charset="0"/>
              </a:defRPr>
            </a:lvl4pPr>
            <a:lvl5pPr marL="2742994" indent="-304776">
              <a:spcBef>
                <a:spcPts val="0"/>
              </a:spcBef>
              <a:spcAft>
                <a:spcPts val="1600"/>
              </a:spcAft>
              <a:buClr>
                <a:srgbClr val="F26B31"/>
              </a:buClr>
              <a:buSzPct val="100000"/>
              <a:buFont typeface="Arial" pitchFamily="34" charset="0"/>
              <a:buChar char="•"/>
              <a:defRPr sz="2133">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p:cNvSpPr>
            <a:spLocks noGrp="1"/>
          </p:cNvSpPr>
          <p:nvPr>
            <p:ph type="body" sz="quarter" idx="10" hasCustomPrompt="1"/>
          </p:nvPr>
        </p:nvSpPr>
        <p:spPr>
          <a:xfrm>
            <a:off x="609600" y="6248400"/>
            <a:ext cx="9144000" cy="457200"/>
          </a:xfrm>
          <a:prstGeom prst="rect">
            <a:avLst/>
          </a:prstGeom>
        </p:spPr>
        <p:txBody>
          <a:bodyPr/>
          <a:lstStyle>
            <a:lvl1pPr marL="0" indent="0">
              <a:lnSpc>
                <a:spcPts val="2000"/>
              </a:lnSpc>
              <a:spcBef>
                <a:spcPts val="0"/>
              </a:spcBef>
              <a:buNone/>
              <a:defRPr sz="1867"/>
            </a:lvl1pPr>
            <a:lvl2pPr marL="609555" indent="0">
              <a:buNone/>
              <a:defRPr sz="1867"/>
            </a:lvl2pPr>
            <a:lvl3pPr marL="1219110" indent="0">
              <a:buNone/>
              <a:defRPr sz="1867"/>
            </a:lvl3pPr>
            <a:lvl4pPr marL="1828664" indent="0">
              <a:buNone/>
              <a:defRPr sz="1867"/>
            </a:lvl4pPr>
            <a:lvl5pPr marL="2438218" indent="0">
              <a:buNone/>
              <a:defRPr sz="1867"/>
            </a:lvl5pPr>
          </a:lstStyle>
          <a:p>
            <a:pPr lvl="0"/>
            <a:r>
              <a:rPr lang="en-US" dirty="0"/>
              <a:t>Click to add footnote</a:t>
            </a:r>
          </a:p>
        </p:txBody>
      </p:sp>
      <p:sp>
        <p:nvSpPr>
          <p:cNvPr id="5" name="Slide Number Placeholder 3"/>
          <p:cNvSpPr>
            <a:spLocks noGrp="1"/>
          </p:cNvSpPr>
          <p:nvPr>
            <p:ph type="sldNum" sz="quarter" idx="4"/>
          </p:nvPr>
        </p:nvSpPr>
        <p:spPr>
          <a:xfrm>
            <a:off x="9987279" y="6332452"/>
            <a:ext cx="508000" cy="373149"/>
          </a:xfrm>
          <a:prstGeom prst="rect">
            <a:avLst/>
          </a:prstGeom>
        </p:spPr>
        <p:txBody>
          <a:bodyPr vert="horz" lIns="91440" tIns="45720" rIns="91440" bIns="45720" rtlCol="0" anchor="ctr"/>
          <a:lstStyle>
            <a:lvl1pPr algn="ctr">
              <a:defRPr sz="1333">
                <a:solidFill>
                  <a:schemeClr val="tx1">
                    <a:tint val="75000"/>
                  </a:schemeClr>
                </a:solidFill>
              </a:defRPr>
            </a:lvl1pPr>
          </a:lstStyle>
          <a:p>
            <a:fld id="{25225481-AED8-4991-B6A9-80D3714A3A06}"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77682121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Color background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BA933EB-78B0-4294-804D-85CD9D4C5182}"/>
              </a:ext>
            </a:extLst>
          </p:cNvPr>
          <p:cNvSpPr/>
          <p:nvPr userDrawn="1"/>
        </p:nvSpPr>
        <p:spPr>
          <a:xfrm>
            <a:off x="0" y="16044"/>
            <a:ext cx="12192000" cy="60478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 name="Rectangle 3">
            <a:extLst>
              <a:ext uri="{FF2B5EF4-FFF2-40B4-BE49-F238E27FC236}">
                <a16:creationId xmlns:a16="http://schemas.microsoft.com/office/drawing/2014/main" id="{B3180F2B-0AE1-42A9-B852-A8BA848E96E3}"/>
              </a:ext>
            </a:extLst>
          </p:cNvPr>
          <p:cNvSpPr/>
          <p:nvPr userDrawn="1"/>
        </p:nvSpPr>
        <p:spPr>
          <a:xfrm rot="10800000">
            <a:off x="-1" y="1"/>
            <a:ext cx="12192000" cy="147479"/>
          </a:xfrm>
          <a:prstGeom prst="rect">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13C22BB3-6183-4636-8A68-7BB953874512}"/>
              </a:ext>
            </a:extLst>
          </p:cNvPr>
          <p:cNvSpPr>
            <a:spLocks noGrp="1"/>
          </p:cNvSpPr>
          <p:nvPr>
            <p:ph type="title" hasCustomPrompt="1"/>
          </p:nvPr>
        </p:nvSpPr>
        <p:spPr>
          <a:xfrm>
            <a:off x="572878" y="794084"/>
            <a:ext cx="4184477" cy="4802485"/>
          </a:xfrm>
        </p:spPr>
        <p:txBody>
          <a:bodyPr/>
          <a:lstStyle>
            <a:lvl1pPr algn="l">
              <a:defRPr sz="2667">
                <a:solidFill>
                  <a:schemeClr val="bg1"/>
                </a:solidFill>
              </a:defRPr>
            </a:lvl1pPr>
          </a:lstStyle>
          <a:p>
            <a:r>
              <a:rPr lang="en-US" dirty="0"/>
              <a:t>Color background layout</a:t>
            </a:r>
          </a:p>
        </p:txBody>
      </p:sp>
    </p:spTree>
    <p:extLst>
      <p:ext uri="{BB962C8B-B14F-4D97-AF65-F5344CB8AC3E}">
        <p14:creationId xmlns:p14="http://schemas.microsoft.com/office/powerpoint/2010/main" val="35033975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FC268D-C71D-4FAE-8AF9-329990B03E19}"/>
              </a:ext>
            </a:extLst>
          </p:cNvPr>
          <p:cNvSpPr>
            <a:spLocks noGrp="1"/>
          </p:cNvSpPr>
          <p:nvPr>
            <p:ph type="title"/>
          </p:nvPr>
        </p:nvSpPr>
        <p:spPr/>
        <p:txBody>
          <a:bodyPr/>
          <a:lstStyle/>
          <a:p>
            <a:r>
              <a:rPr lang="en-US" dirty="0"/>
              <a:t>Click to edit Master title style</a:t>
            </a:r>
          </a:p>
        </p:txBody>
      </p:sp>
      <p:sp>
        <p:nvSpPr>
          <p:cNvPr id="7" name="Text Placeholder 5">
            <a:extLst>
              <a:ext uri="{FF2B5EF4-FFF2-40B4-BE49-F238E27FC236}">
                <a16:creationId xmlns:a16="http://schemas.microsoft.com/office/drawing/2014/main" id="{3C70E476-31A6-4784-867A-A845F7BE4A55}"/>
              </a:ext>
            </a:extLst>
          </p:cNvPr>
          <p:cNvSpPr>
            <a:spLocks noGrp="1"/>
          </p:cNvSpPr>
          <p:nvPr>
            <p:ph type="body" sz="quarter" idx="10" hasCustomPrompt="1"/>
          </p:nvPr>
        </p:nvSpPr>
        <p:spPr>
          <a:xfrm>
            <a:off x="478702" y="5078421"/>
            <a:ext cx="11063700" cy="760907"/>
          </a:xfrm>
        </p:spPr>
        <p:txBody>
          <a:bodyPr anchor="b" anchorCtr="0"/>
          <a:lstStyle>
            <a:lvl1pPr marL="0" indent="0">
              <a:spcBef>
                <a:spcPts val="0"/>
              </a:spcBef>
              <a:buNone/>
              <a:defRPr sz="1200">
                <a:solidFill>
                  <a:schemeClr val="bg1">
                    <a:lumMod val="50000"/>
                  </a:schemeClr>
                </a:solidFill>
              </a:defRPr>
            </a:lvl1pPr>
          </a:lstStyle>
          <a:p>
            <a:pPr lvl="0"/>
            <a:r>
              <a:rPr lang="en-US" dirty="0"/>
              <a:t>1 Footnote – click to modify</a:t>
            </a:r>
          </a:p>
        </p:txBody>
      </p:sp>
    </p:spTree>
    <p:extLst>
      <p:ext uri="{BB962C8B-B14F-4D97-AF65-F5344CB8AC3E}">
        <p14:creationId xmlns:p14="http://schemas.microsoft.com/office/powerpoint/2010/main" val="1349913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6E5EC05-B70E-0449-BE8C-62E577850024}"/>
              </a:ext>
            </a:extLst>
          </p:cNvPr>
          <p:cNvGraphicFramePr>
            <a:graphicFrameLocks noChangeAspect="1"/>
          </p:cNvGraphicFramePr>
          <p:nvPr>
            <p:custDataLst>
              <p:tags r:id="rId2"/>
            </p:custDataLst>
            <p:extLst>
              <p:ext uri="{D42A27DB-BD31-4B8C-83A1-F6EECF244321}">
                <p14:modId xmlns:p14="http://schemas.microsoft.com/office/powerpoint/2010/main" val="11017629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8153"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96E5EC05-B70E-0449-BE8C-62E57785002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Subtitle 2"/>
          <p:cNvSpPr>
            <a:spLocks noGrp="1"/>
          </p:cNvSpPr>
          <p:nvPr>
            <p:ph type="subTitle" idx="1" hasCustomPrompt="1"/>
          </p:nvPr>
        </p:nvSpPr>
        <p:spPr>
          <a:xfrm>
            <a:off x="914400" y="3538907"/>
            <a:ext cx="9448800" cy="1147393"/>
          </a:xfrm>
        </p:spPr>
        <p:txBody>
          <a:bodyPr/>
          <a:lstStyle>
            <a:lvl1pPr marL="0" indent="0" algn="l">
              <a:buNone/>
              <a:defRPr sz="3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or subtitle</a:t>
            </a:r>
          </a:p>
        </p:txBody>
      </p:sp>
      <p:sp>
        <p:nvSpPr>
          <p:cNvPr id="2" name="Title 1"/>
          <p:cNvSpPr>
            <a:spLocks noGrp="1"/>
          </p:cNvSpPr>
          <p:nvPr>
            <p:ph type="ctrTitle"/>
          </p:nvPr>
        </p:nvSpPr>
        <p:spPr>
          <a:xfrm>
            <a:off x="914400" y="1600200"/>
            <a:ext cx="10363200" cy="2000251"/>
          </a:xfrm>
        </p:spPr>
        <p:txBody>
          <a:bodyPr vert="horz" anchor="b"/>
          <a:lstStyle>
            <a:lvl1pPr>
              <a:defRPr sz="4800">
                <a:solidFill>
                  <a:schemeClr val="tx2"/>
                </a:solidFill>
              </a:defRPr>
            </a:lvl1pPr>
          </a:lstStyle>
          <a:p>
            <a:r>
              <a:rPr lang="en-US"/>
              <a:t>Click to edit Master title style</a:t>
            </a:r>
          </a:p>
        </p:txBody>
      </p:sp>
      <p:sp>
        <p:nvSpPr>
          <p:cNvPr id="7" name="Text Placeholder 3">
            <a:extLst>
              <a:ext uri="{FF2B5EF4-FFF2-40B4-BE49-F238E27FC236}">
                <a16:creationId xmlns:a16="http://schemas.microsoft.com/office/drawing/2014/main" id="{5740C42A-E075-6949-900C-E63BE9FB862C}"/>
              </a:ext>
            </a:extLst>
          </p:cNvPr>
          <p:cNvSpPr>
            <a:spLocks noGrp="1"/>
          </p:cNvSpPr>
          <p:nvPr>
            <p:ph type="body" sz="half" idx="2" hasCustomPrompt="1"/>
          </p:nvPr>
        </p:nvSpPr>
        <p:spPr>
          <a:xfrm>
            <a:off x="914399" y="6169025"/>
            <a:ext cx="3706285" cy="462819"/>
          </a:xfrm>
        </p:spPr>
        <p:txBody>
          <a:bodyPr anchor="b"/>
          <a:lstStyle>
            <a:lvl1pPr marL="0" indent="0">
              <a:buNone/>
              <a:defRPr sz="180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date</a:t>
            </a:r>
          </a:p>
        </p:txBody>
      </p:sp>
      <p:sp>
        <p:nvSpPr>
          <p:cNvPr id="9" name="TextBox 8">
            <a:extLst>
              <a:ext uri="{FF2B5EF4-FFF2-40B4-BE49-F238E27FC236}">
                <a16:creationId xmlns:a16="http://schemas.microsoft.com/office/drawing/2014/main" id="{733C8FB4-9A4D-AF4D-A6E6-B12D36795417}"/>
              </a:ext>
            </a:extLst>
          </p:cNvPr>
          <p:cNvSpPr txBox="1"/>
          <p:nvPr/>
        </p:nvSpPr>
        <p:spPr>
          <a:xfrm>
            <a:off x="9282514" y="6368176"/>
            <a:ext cx="2223686" cy="246221"/>
          </a:xfrm>
          <a:prstGeom prst="rect">
            <a:avLst/>
          </a:prstGeom>
          <a:noFill/>
        </p:spPr>
        <p:txBody>
          <a:bodyPr wrap="none" lIns="0" tIns="0" rIns="0" bIns="0" rtlCol="0" anchor="b">
            <a:noAutofit/>
          </a:bodyPr>
          <a:lstStyle/>
          <a:p>
            <a:pPr algn="r"/>
            <a:r>
              <a:rPr lang="en-US" sz="1100" b="1" dirty="0">
                <a:solidFill>
                  <a:schemeClr val="tx2"/>
                </a:solidFill>
              </a:rPr>
              <a:t>For Internal Use Only, Not for Use with the Public</a:t>
            </a:r>
          </a:p>
        </p:txBody>
      </p:sp>
      <p:pic>
        <p:nvPicPr>
          <p:cNvPr id="10" name="Graphic 9">
            <a:extLst>
              <a:ext uri="{FF2B5EF4-FFF2-40B4-BE49-F238E27FC236}">
                <a16:creationId xmlns:a16="http://schemas.microsoft.com/office/drawing/2014/main" id="{38E64605-F0BA-FB47-BA44-1B4718D042C3}"/>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917576" y="457200"/>
            <a:ext cx="2057398" cy="439079"/>
          </a:xfrm>
          <a:prstGeom prst="rect">
            <a:avLst/>
          </a:prstGeom>
        </p:spPr>
      </p:pic>
      <p:sp>
        <p:nvSpPr>
          <p:cNvPr id="17" name="Graphic 15">
            <a:extLst>
              <a:ext uri="{FF2B5EF4-FFF2-40B4-BE49-F238E27FC236}">
                <a16:creationId xmlns:a16="http://schemas.microsoft.com/office/drawing/2014/main" id="{C3993FF1-66A1-8047-94FB-57CAB5A2A53C}"/>
              </a:ext>
            </a:extLst>
          </p:cNvPr>
          <p:cNvSpPr/>
          <p:nvPr/>
        </p:nvSpPr>
        <p:spPr>
          <a:xfrm>
            <a:off x="0" y="0"/>
            <a:ext cx="11495956" cy="6858000"/>
          </a:xfrm>
          <a:custGeom>
            <a:avLst/>
            <a:gdLst>
              <a:gd name="connsiteX0" fmla="*/ 913727 w 11495956"/>
              <a:gd name="connsiteY0" fmla="*/ 5845175 h 6858000"/>
              <a:gd name="connsiteX1" fmla="*/ 0 w 11495956"/>
              <a:gd name="connsiteY1" fmla="*/ 5707507 h 6858000"/>
              <a:gd name="connsiteX2" fmla="*/ 0 w 11495956"/>
              <a:gd name="connsiteY2" fmla="*/ 5674868 h 6858000"/>
              <a:gd name="connsiteX3" fmla="*/ 915631 w 11495956"/>
              <a:gd name="connsiteY3" fmla="*/ 5813425 h 6858000"/>
              <a:gd name="connsiteX4" fmla="*/ 1314117 w 11495956"/>
              <a:gd name="connsiteY4" fmla="*/ 5826125 h 6858000"/>
              <a:gd name="connsiteX5" fmla="*/ 3163400 w 11495956"/>
              <a:gd name="connsiteY5" fmla="*/ 5582158 h 6858000"/>
              <a:gd name="connsiteX6" fmla="*/ 5592518 w 11495956"/>
              <a:gd name="connsiteY6" fmla="*/ 4582414 h 6858000"/>
              <a:gd name="connsiteX7" fmla="*/ 7672262 w 11495956"/>
              <a:gd name="connsiteY7" fmla="*/ 2977007 h 6858000"/>
              <a:gd name="connsiteX8" fmla="*/ 8996405 w 11495956"/>
              <a:gd name="connsiteY8" fmla="*/ 1144651 h 6858000"/>
              <a:gd name="connsiteX9" fmla="*/ 9404536 w 11495956"/>
              <a:gd name="connsiteY9" fmla="*/ 0 h 6858000"/>
              <a:gd name="connsiteX10" fmla="*/ 9436897 w 11495956"/>
              <a:gd name="connsiteY10" fmla="*/ 0 h 6858000"/>
              <a:gd name="connsiteX11" fmla="*/ 9024832 w 11495956"/>
              <a:gd name="connsiteY11" fmla="*/ 1158621 h 6858000"/>
              <a:gd name="connsiteX12" fmla="*/ 7695105 w 11495956"/>
              <a:gd name="connsiteY12" fmla="*/ 2999232 h 6858000"/>
              <a:gd name="connsiteX13" fmla="*/ 5608381 w 11495956"/>
              <a:gd name="connsiteY13" fmla="*/ 4609846 h 6858000"/>
              <a:gd name="connsiteX14" fmla="*/ 3171775 w 11495956"/>
              <a:gd name="connsiteY14" fmla="*/ 5613146 h 6858000"/>
              <a:gd name="connsiteX15" fmla="*/ 1314752 w 11495956"/>
              <a:gd name="connsiteY15" fmla="*/ 5858002 h 6858000"/>
              <a:gd name="connsiteX16" fmla="*/ 913727 w 11495956"/>
              <a:gd name="connsiteY16" fmla="*/ 5845175 h 6858000"/>
              <a:gd name="connsiteX17" fmla="*/ 10845433 w 11495956"/>
              <a:gd name="connsiteY17" fmla="*/ 2059432 h 6858000"/>
              <a:gd name="connsiteX18" fmla="*/ 11495956 w 11495956"/>
              <a:gd name="connsiteY18" fmla="*/ 0 h 6858000"/>
              <a:gd name="connsiteX19" fmla="*/ 11463849 w 11495956"/>
              <a:gd name="connsiteY19" fmla="*/ 0 h 6858000"/>
              <a:gd name="connsiteX20" fmla="*/ 10816626 w 11495956"/>
              <a:gd name="connsiteY20" fmla="*/ 2045335 h 6858000"/>
              <a:gd name="connsiteX21" fmla="*/ 6607897 w 11495956"/>
              <a:gd name="connsiteY21" fmla="*/ 6342380 h 6858000"/>
              <a:gd name="connsiteX22" fmla="*/ 5612950 w 11495956"/>
              <a:gd name="connsiteY22" fmla="*/ 6858000 h 6858000"/>
              <a:gd name="connsiteX23" fmla="*/ 5688332 w 11495956"/>
              <a:gd name="connsiteY23" fmla="*/ 6858000 h 6858000"/>
              <a:gd name="connsiteX24" fmla="*/ 6623761 w 11495956"/>
              <a:gd name="connsiteY24" fmla="*/ 6369939 h 6858000"/>
              <a:gd name="connsiteX25" fmla="*/ 10845307 w 11495956"/>
              <a:gd name="connsiteY25" fmla="*/ 205943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495956" h="6858000">
                <a:moveTo>
                  <a:pt x="913727" y="5845175"/>
                </a:moveTo>
                <a:cubicBezTo>
                  <a:pt x="605664" y="5826592"/>
                  <a:pt x="299874" y="5780520"/>
                  <a:pt x="0" y="5707507"/>
                </a:cubicBezTo>
                <a:lnTo>
                  <a:pt x="0" y="5674868"/>
                </a:lnTo>
                <a:cubicBezTo>
                  <a:pt x="300420" y="5748543"/>
                  <a:pt x="606875" y="5794917"/>
                  <a:pt x="915631" y="5813425"/>
                </a:cubicBezTo>
                <a:cubicBezTo>
                  <a:pt x="1046852" y="5821892"/>
                  <a:pt x="1179681" y="5826125"/>
                  <a:pt x="1314117" y="5826125"/>
                </a:cubicBezTo>
                <a:cubicBezTo>
                  <a:pt x="1904994" y="5826125"/>
                  <a:pt x="2525060" y="5744464"/>
                  <a:pt x="3163400" y="5582158"/>
                </a:cubicBezTo>
                <a:cubicBezTo>
                  <a:pt x="3991211" y="5372100"/>
                  <a:pt x="4808489" y="5035296"/>
                  <a:pt x="5592518" y="4582414"/>
                </a:cubicBezTo>
                <a:cubicBezTo>
                  <a:pt x="6376546" y="4129532"/>
                  <a:pt x="7076309" y="3589274"/>
                  <a:pt x="7672262" y="2977007"/>
                </a:cubicBezTo>
                <a:cubicBezTo>
                  <a:pt x="8236235" y="2397633"/>
                  <a:pt x="8681931" y="1781048"/>
                  <a:pt x="8996405" y="1144651"/>
                </a:cubicBezTo>
                <a:cubicBezTo>
                  <a:pt x="9190064" y="752475"/>
                  <a:pt x="9326235" y="368300"/>
                  <a:pt x="9404536" y="0"/>
                </a:cubicBezTo>
                <a:lnTo>
                  <a:pt x="9436897" y="0"/>
                </a:lnTo>
                <a:cubicBezTo>
                  <a:pt x="9358342" y="373126"/>
                  <a:pt x="9221156" y="762000"/>
                  <a:pt x="9024832" y="1158621"/>
                </a:cubicBezTo>
                <a:cubicBezTo>
                  <a:pt x="8708835" y="1798066"/>
                  <a:pt x="8261489" y="2417318"/>
                  <a:pt x="7695105" y="2999232"/>
                </a:cubicBezTo>
                <a:cubicBezTo>
                  <a:pt x="7096995" y="3613531"/>
                  <a:pt x="6394948" y="4154932"/>
                  <a:pt x="5608381" y="4609846"/>
                </a:cubicBezTo>
                <a:cubicBezTo>
                  <a:pt x="4821815" y="5064760"/>
                  <a:pt x="4001871" y="5401818"/>
                  <a:pt x="3171775" y="5613146"/>
                </a:cubicBezTo>
                <a:cubicBezTo>
                  <a:pt x="2532420" y="5775579"/>
                  <a:pt x="1907532" y="5858002"/>
                  <a:pt x="1314752" y="5858002"/>
                </a:cubicBezTo>
                <a:cubicBezTo>
                  <a:pt x="1180231" y="5857875"/>
                  <a:pt x="1044822" y="5853684"/>
                  <a:pt x="913727" y="5845175"/>
                </a:cubicBezTo>
                <a:close/>
                <a:moveTo>
                  <a:pt x="10845433" y="2059432"/>
                </a:moveTo>
                <a:cubicBezTo>
                  <a:pt x="11186305" y="1369441"/>
                  <a:pt x="11403822" y="678942"/>
                  <a:pt x="11495956" y="0"/>
                </a:cubicBezTo>
                <a:lnTo>
                  <a:pt x="11463849" y="0"/>
                </a:lnTo>
                <a:cubicBezTo>
                  <a:pt x="11372222" y="674116"/>
                  <a:pt x="11155593" y="1359916"/>
                  <a:pt x="10816626" y="2045335"/>
                </a:cubicBezTo>
                <a:cubicBezTo>
                  <a:pt x="9985134" y="3728720"/>
                  <a:pt x="8490048" y="5254752"/>
                  <a:pt x="6607897" y="6342380"/>
                </a:cubicBezTo>
                <a:cubicBezTo>
                  <a:pt x="6281747" y="6530848"/>
                  <a:pt x="5950098" y="6702721"/>
                  <a:pt x="5612950" y="6858000"/>
                </a:cubicBezTo>
                <a:lnTo>
                  <a:pt x="5688332" y="6858000"/>
                </a:lnTo>
                <a:cubicBezTo>
                  <a:pt x="6003991" y="6710342"/>
                  <a:pt x="6315801" y="6547655"/>
                  <a:pt x="6623761" y="6369939"/>
                </a:cubicBezTo>
                <a:cubicBezTo>
                  <a:pt x="8511622" y="5279263"/>
                  <a:pt x="10010769" y="3748405"/>
                  <a:pt x="10845307" y="2059432"/>
                </a:cubicBezTo>
                <a:close/>
              </a:path>
            </a:pathLst>
          </a:custGeom>
          <a:solidFill>
            <a:srgbClr val="CBBBE9"/>
          </a:solidFill>
          <a:ln w="12689" cap="flat">
            <a:noFill/>
            <a:prstDash val="solid"/>
            <a:miter/>
          </a:ln>
        </p:spPr>
        <p:txBody>
          <a:bodyPr rtlCol="0" anchor="ctr"/>
          <a:lstStyle/>
          <a:p>
            <a:endParaRPr lang="en-US" dirty="0"/>
          </a:p>
        </p:txBody>
      </p:sp>
    </p:spTree>
    <p:extLst>
      <p:ext uri="{BB962C8B-B14F-4D97-AF65-F5344CB8AC3E}">
        <p14:creationId xmlns:p14="http://schemas.microsoft.com/office/powerpoint/2010/main" val="2671706991"/>
      </p:ext>
    </p:extLst>
  </p:cSld>
  <p:clrMapOvr>
    <a:masterClrMapping/>
  </p:clrMapOvr>
  <p:extLst>
    <p:ext uri="{DCECCB84-F9BA-43D5-87BE-67443E8EF086}">
      <p15:sldGuideLst xmlns:p15="http://schemas.microsoft.com/office/powerpoint/2012/main">
        <p15:guide id="1" pos="576">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Title Slide Purple">
    <p:bg>
      <p:bgPr>
        <a:solidFill>
          <a:schemeClr val="tx2"/>
        </a:solidFill>
        <a:effectLst/>
      </p:bgPr>
    </p:bg>
    <p:spTree>
      <p:nvGrpSpPr>
        <p:cNvPr id="1" name=""/>
        <p:cNvGrpSpPr/>
        <p:nvPr/>
      </p:nvGrpSpPr>
      <p:grpSpPr>
        <a:xfrm>
          <a:off x="0" y="0"/>
          <a:ext cx="0" cy="0"/>
          <a:chOff x="0" y="0"/>
          <a:chExt cx="0" cy="0"/>
        </a:xfrm>
      </p:grpSpPr>
      <p:sp>
        <p:nvSpPr>
          <p:cNvPr id="14" name="Graphic 12">
            <a:extLst>
              <a:ext uri="{FF2B5EF4-FFF2-40B4-BE49-F238E27FC236}">
                <a16:creationId xmlns:a16="http://schemas.microsoft.com/office/drawing/2014/main" id="{01473B2E-6EC3-144A-8754-5C4AED598FFE}"/>
              </a:ext>
            </a:extLst>
          </p:cNvPr>
          <p:cNvSpPr/>
          <p:nvPr/>
        </p:nvSpPr>
        <p:spPr>
          <a:xfrm>
            <a:off x="0" y="0"/>
            <a:ext cx="11495829" cy="6858000"/>
          </a:xfrm>
          <a:custGeom>
            <a:avLst/>
            <a:gdLst>
              <a:gd name="connsiteX0" fmla="*/ 10845307 w 11495829"/>
              <a:gd name="connsiteY0" fmla="*/ 2059432 h 6858000"/>
              <a:gd name="connsiteX1" fmla="*/ 11495829 w 11495829"/>
              <a:gd name="connsiteY1" fmla="*/ 0 h 6858000"/>
              <a:gd name="connsiteX2" fmla="*/ 9404536 w 11495829"/>
              <a:gd name="connsiteY2" fmla="*/ 0 h 6858000"/>
              <a:gd name="connsiteX3" fmla="*/ 8996405 w 11495829"/>
              <a:gd name="connsiteY3" fmla="*/ 1144651 h 6858000"/>
              <a:gd name="connsiteX4" fmla="*/ 7672262 w 11495829"/>
              <a:gd name="connsiteY4" fmla="*/ 2977007 h 6858000"/>
              <a:gd name="connsiteX5" fmla="*/ 5592518 w 11495829"/>
              <a:gd name="connsiteY5" fmla="*/ 4582414 h 6858000"/>
              <a:gd name="connsiteX6" fmla="*/ 3163400 w 11495829"/>
              <a:gd name="connsiteY6" fmla="*/ 5582158 h 6858000"/>
              <a:gd name="connsiteX7" fmla="*/ 915631 w 11495829"/>
              <a:gd name="connsiteY7" fmla="*/ 5813425 h 6858000"/>
              <a:gd name="connsiteX8" fmla="*/ 0 w 11495829"/>
              <a:gd name="connsiteY8" fmla="*/ 5674868 h 6858000"/>
              <a:gd name="connsiteX9" fmla="*/ 0 w 11495829"/>
              <a:gd name="connsiteY9" fmla="*/ 6858000 h 6858000"/>
              <a:gd name="connsiteX10" fmla="*/ 5688332 w 11495829"/>
              <a:gd name="connsiteY10" fmla="*/ 6858000 h 6858000"/>
              <a:gd name="connsiteX11" fmla="*/ 6623761 w 11495829"/>
              <a:gd name="connsiteY11" fmla="*/ 6369939 h 6858000"/>
              <a:gd name="connsiteX12" fmla="*/ 10845307 w 11495829"/>
              <a:gd name="connsiteY12" fmla="*/ 205943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95829" h="6858000">
                <a:moveTo>
                  <a:pt x="10845307" y="2059432"/>
                </a:moveTo>
                <a:cubicBezTo>
                  <a:pt x="11186178" y="1369441"/>
                  <a:pt x="11403696" y="678942"/>
                  <a:pt x="11495829" y="0"/>
                </a:cubicBezTo>
                <a:lnTo>
                  <a:pt x="9404536" y="0"/>
                </a:lnTo>
                <a:cubicBezTo>
                  <a:pt x="9326235" y="368300"/>
                  <a:pt x="9190064" y="752475"/>
                  <a:pt x="8996405" y="1144651"/>
                </a:cubicBezTo>
                <a:cubicBezTo>
                  <a:pt x="8681931" y="1781048"/>
                  <a:pt x="8236235" y="2397633"/>
                  <a:pt x="7672262" y="2977007"/>
                </a:cubicBezTo>
                <a:cubicBezTo>
                  <a:pt x="7075802" y="3589274"/>
                  <a:pt x="6376546" y="4129405"/>
                  <a:pt x="5592518" y="4582414"/>
                </a:cubicBezTo>
                <a:cubicBezTo>
                  <a:pt x="4808489" y="5035423"/>
                  <a:pt x="3991211" y="5372100"/>
                  <a:pt x="3163400" y="5582158"/>
                </a:cubicBezTo>
                <a:cubicBezTo>
                  <a:pt x="2379879" y="5781421"/>
                  <a:pt x="1623642" y="5859145"/>
                  <a:pt x="915631" y="5813425"/>
                </a:cubicBezTo>
                <a:cubicBezTo>
                  <a:pt x="606875" y="5794917"/>
                  <a:pt x="300420" y="5748543"/>
                  <a:pt x="0" y="5674868"/>
                </a:cubicBezTo>
                <a:lnTo>
                  <a:pt x="0" y="6858000"/>
                </a:lnTo>
                <a:lnTo>
                  <a:pt x="5688332" y="6858000"/>
                </a:lnTo>
                <a:cubicBezTo>
                  <a:pt x="6003991" y="6710342"/>
                  <a:pt x="6315801" y="6547655"/>
                  <a:pt x="6623761" y="6369939"/>
                </a:cubicBezTo>
                <a:cubicBezTo>
                  <a:pt x="8511622" y="5279263"/>
                  <a:pt x="10010769" y="3748405"/>
                  <a:pt x="10845307" y="2059432"/>
                </a:cubicBezTo>
                <a:close/>
              </a:path>
            </a:pathLst>
          </a:custGeom>
          <a:gradFill>
            <a:gsLst>
              <a:gs pos="0">
                <a:schemeClr val="accent3">
                  <a:alpha val="20000"/>
                </a:schemeClr>
              </a:gs>
              <a:gs pos="100000">
                <a:schemeClr val="accent3"/>
              </a:gs>
            </a:gsLst>
            <a:lin ang="0" scaled="1"/>
          </a:gradFill>
          <a:ln w="12689" cap="flat">
            <a:noFill/>
            <a:prstDash val="solid"/>
            <a:miter/>
          </a:ln>
        </p:spPr>
        <p:txBody>
          <a:bodyPr rtlCol="0" anchor="ctr"/>
          <a:lstStyle/>
          <a:p>
            <a:endParaRPr lang="en-US" dirty="0"/>
          </a:p>
        </p:txBody>
      </p:sp>
      <p:graphicFrame>
        <p:nvGraphicFramePr>
          <p:cNvPr id="8" name="Object 7" hidden="1">
            <a:extLst>
              <a:ext uri="{FF2B5EF4-FFF2-40B4-BE49-F238E27FC236}">
                <a16:creationId xmlns:a16="http://schemas.microsoft.com/office/drawing/2014/main" id="{96E5EC05-B70E-0449-BE8C-62E577850024}"/>
              </a:ext>
            </a:extLst>
          </p:cNvPr>
          <p:cNvGraphicFramePr>
            <a:graphicFrameLocks noChangeAspect="1"/>
          </p:cNvGraphicFramePr>
          <p:nvPr>
            <p:custDataLst>
              <p:tags r:id="rId2"/>
            </p:custDataLst>
            <p:extLst>
              <p:ext uri="{D42A27DB-BD31-4B8C-83A1-F6EECF244321}">
                <p14:modId xmlns:p14="http://schemas.microsoft.com/office/powerpoint/2010/main" val="12346822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9177"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96E5EC05-B70E-0449-BE8C-62E57785002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Subtitle 2"/>
          <p:cNvSpPr>
            <a:spLocks noGrp="1"/>
          </p:cNvSpPr>
          <p:nvPr>
            <p:ph type="subTitle" idx="1" hasCustomPrompt="1"/>
          </p:nvPr>
        </p:nvSpPr>
        <p:spPr>
          <a:xfrm>
            <a:off x="914400" y="3538907"/>
            <a:ext cx="9448800" cy="1147393"/>
          </a:xfrm>
        </p:spPr>
        <p:txBody>
          <a:bodyPr/>
          <a:lstStyle>
            <a:lvl1pPr marL="0" indent="0" algn="l">
              <a:buNone/>
              <a:defRPr sz="32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or subtitle</a:t>
            </a:r>
          </a:p>
        </p:txBody>
      </p:sp>
      <p:sp>
        <p:nvSpPr>
          <p:cNvPr id="2" name="Title 1"/>
          <p:cNvSpPr>
            <a:spLocks noGrp="1"/>
          </p:cNvSpPr>
          <p:nvPr>
            <p:ph type="ctrTitle"/>
          </p:nvPr>
        </p:nvSpPr>
        <p:spPr>
          <a:xfrm>
            <a:off x="914400" y="1600200"/>
            <a:ext cx="10363200" cy="2000251"/>
          </a:xfrm>
        </p:spPr>
        <p:txBody>
          <a:bodyPr vert="horz" anchor="b"/>
          <a:lstStyle>
            <a:lvl1pPr>
              <a:defRPr sz="4800">
                <a:solidFill>
                  <a:schemeClr val="bg1"/>
                </a:solidFill>
              </a:defRPr>
            </a:lvl1pPr>
          </a:lstStyle>
          <a:p>
            <a:r>
              <a:rPr lang="en-US"/>
              <a:t>Click to edit Master title style</a:t>
            </a:r>
          </a:p>
        </p:txBody>
      </p:sp>
      <p:sp>
        <p:nvSpPr>
          <p:cNvPr id="7" name="Text Placeholder 3">
            <a:extLst>
              <a:ext uri="{FF2B5EF4-FFF2-40B4-BE49-F238E27FC236}">
                <a16:creationId xmlns:a16="http://schemas.microsoft.com/office/drawing/2014/main" id="{5740C42A-E075-6949-900C-E63BE9FB862C}"/>
              </a:ext>
            </a:extLst>
          </p:cNvPr>
          <p:cNvSpPr>
            <a:spLocks noGrp="1"/>
          </p:cNvSpPr>
          <p:nvPr>
            <p:ph type="body" sz="half" idx="2" hasCustomPrompt="1"/>
          </p:nvPr>
        </p:nvSpPr>
        <p:spPr>
          <a:xfrm>
            <a:off x="914399" y="6169025"/>
            <a:ext cx="3706285" cy="462819"/>
          </a:xfrm>
        </p:spPr>
        <p:txBody>
          <a:bodyPr anchor="b"/>
          <a:lstStyle>
            <a:lvl1pPr marL="0" indent="0">
              <a:buNone/>
              <a:defRPr sz="1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date</a:t>
            </a:r>
          </a:p>
        </p:txBody>
      </p:sp>
      <p:sp>
        <p:nvSpPr>
          <p:cNvPr id="9" name="TextBox 8">
            <a:extLst>
              <a:ext uri="{FF2B5EF4-FFF2-40B4-BE49-F238E27FC236}">
                <a16:creationId xmlns:a16="http://schemas.microsoft.com/office/drawing/2014/main" id="{733C8FB4-9A4D-AF4D-A6E6-B12D36795417}"/>
              </a:ext>
            </a:extLst>
          </p:cNvPr>
          <p:cNvSpPr txBox="1"/>
          <p:nvPr/>
        </p:nvSpPr>
        <p:spPr>
          <a:xfrm>
            <a:off x="9282514" y="6368176"/>
            <a:ext cx="2223686" cy="246221"/>
          </a:xfrm>
          <a:prstGeom prst="rect">
            <a:avLst/>
          </a:prstGeom>
          <a:noFill/>
        </p:spPr>
        <p:txBody>
          <a:bodyPr wrap="none" lIns="0" tIns="0" rIns="0" bIns="0" rtlCol="0" anchor="b">
            <a:noAutofit/>
          </a:bodyPr>
          <a:lstStyle/>
          <a:p>
            <a:pPr algn="r"/>
            <a:r>
              <a:rPr lang="en-US" sz="1000" dirty="0">
                <a:solidFill>
                  <a:schemeClr val="bg1"/>
                </a:solidFill>
              </a:rPr>
              <a:t>Confidential—do not copy or distribute</a:t>
            </a:r>
          </a:p>
        </p:txBody>
      </p:sp>
      <p:pic>
        <p:nvPicPr>
          <p:cNvPr id="10" name="Graphic 9">
            <a:extLst>
              <a:ext uri="{FF2B5EF4-FFF2-40B4-BE49-F238E27FC236}">
                <a16:creationId xmlns:a16="http://schemas.microsoft.com/office/drawing/2014/main" id="{38E64605-F0BA-FB47-BA44-1B4718D042C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5362" y="226156"/>
            <a:ext cx="2057400" cy="439079"/>
          </a:xfrm>
          <a:prstGeom prst="rect">
            <a:avLst/>
          </a:prstGeom>
        </p:spPr>
      </p:pic>
      <p:pic>
        <p:nvPicPr>
          <p:cNvPr id="4" name="Picture 3">
            <a:extLst>
              <a:ext uri="{FF2B5EF4-FFF2-40B4-BE49-F238E27FC236}">
                <a16:creationId xmlns:a16="http://schemas.microsoft.com/office/drawing/2014/main" id="{023AA180-925A-42F6-86D2-B7A06119C565}"/>
              </a:ext>
            </a:extLst>
          </p:cNvPr>
          <p:cNvPicPr>
            <a:picLocks noChangeAspect="1"/>
          </p:cNvPicPr>
          <p:nvPr userDrawn="1"/>
        </p:nvPicPr>
        <p:blipFill>
          <a:blip r:embed="rId8"/>
          <a:stretch>
            <a:fillRect/>
          </a:stretch>
        </p:blipFill>
        <p:spPr>
          <a:xfrm>
            <a:off x="74507" y="730171"/>
            <a:ext cx="12192000" cy="2565133"/>
          </a:xfrm>
          <a:prstGeom prst="rect">
            <a:avLst/>
          </a:prstGeom>
        </p:spPr>
      </p:pic>
    </p:spTree>
    <p:extLst>
      <p:ext uri="{BB962C8B-B14F-4D97-AF65-F5344CB8AC3E}">
        <p14:creationId xmlns:p14="http://schemas.microsoft.com/office/powerpoint/2010/main" val="3053213610"/>
      </p:ext>
    </p:extLst>
  </p:cSld>
  <p:clrMapOvr>
    <a:masterClrMapping/>
  </p:clrMapOvr>
  <p:extLst>
    <p:ext uri="{DCECCB84-F9BA-43D5-87BE-67443E8EF086}">
      <p15:sldGuideLst xmlns:p15="http://schemas.microsoft.com/office/powerpoint/2012/main">
        <p15:guide id="1" pos="576">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Title Slide with Image">
    <p:bg>
      <p:bgPr>
        <a:gradFill>
          <a:gsLst>
            <a:gs pos="0">
              <a:schemeClr val="tx2"/>
            </a:gs>
            <a:gs pos="100000">
              <a:schemeClr val="accent3"/>
            </a:gs>
          </a:gsLst>
          <a:lin ang="0" scaled="1"/>
        </a:gradFill>
        <a:effectLst/>
      </p:bgPr>
    </p:bg>
    <p:spTree>
      <p:nvGrpSpPr>
        <p:cNvPr id="1" name=""/>
        <p:cNvGrpSpPr/>
        <p:nvPr/>
      </p:nvGrpSpPr>
      <p:grpSpPr>
        <a:xfrm>
          <a:off x="0" y="0"/>
          <a:ext cx="0" cy="0"/>
          <a:chOff x="0" y="0"/>
          <a:chExt cx="0" cy="0"/>
        </a:xfrm>
      </p:grpSpPr>
      <p:sp>
        <p:nvSpPr>
          <p:cNvPr id="32" name="Picture Placeholder 31">
            <a:extLst>
              <a:ext uri="{FF2B5EF4-FFF2-40B4-BE49-F238E27FC236}">
                <a16:creationId xmlns:a16="http://schemas.microsoft.com/office/drawing/2014/main" id="{68BC60EE-FD14-6043-A886-F358115215CF}"/>
              </a:ext>
            </a:extLst>
          </p:cNvPr>
          <p:cNvSpPr>
            <a:spLocks noGrp="1"/>
          </p:cNvSpPr>
          <p:nvPr>
            <p:ph type="pic" sz="quarter" idx="10" hasCustomPrompt="1"/>
          </p:nvPr>
        </p:nvSpPr>
        <p:spPr>
          <a:xfrm>
            <a:off x="0" y="0"/>
            <a:ext cx="12188949" cy="6857999"/>
          </a:xfrm>
          <a:custGeom>
            <a:avLst/>
            <a:gdLst>
              <a:gd name="connsiteX0" fmla="*/ 1299014 w 12188949"/>
              <a:gd name="connsiteY0" fmla="*/ 665059 h 6857999"/>
              <a:gd name="connsiteX1" fmla="*/ 1333593 w 12188949"/>
              <a:gd name="connsiteY1" fmla="*/ 725062 h 6857999"/>
              <a:gd name="connsiteX2" fmla="*/ 1299014 w 12188949"/>
              <a:gd name="connsiteY2" fmla="*/ 785060 h 6857999"/>
              <a:gd name="connsiteX3" fmla="*/ 1264443 w 12188949"/>
              <a:gd name="connsiteY3" fmla="*/ 725062 h 6857999"/>
              <a:gd name="connsiteX4" fmla="*/ 1299014 w 12188949"/>
              <a:gd name="connsiteY4" fmla="*/ 665059 h 6857999"/>
              <a:gd name="connsiteX5" fmla="*/ 1608854 w 12188949"/>
              <a:gd name="connsiteY5" fmla="*/ 663379 h 6857999"/>
              <a:gd name="connsiteX6" fmla="*/ 1638055 w 12188949"/>
              <a:gd name="connsiteY6" fmla="*/ 703608 h 6857999"/>
              <a:gd name="connsiteX7" fmla="*/ 1638055 w 12188949"/>
              <a:gd name="connsiteY7" fmla="*/ 709304 h 6857999"/>
              <a:gd name="connsiteX8" fmla="*/ 1574948 w 12188949"/>
              <a:gd name="connsiteY8" fmla="*/ 709304 h 6857999"/>
              <a:gd name="connsiteX9" fmla="*/ 1608854 w 12188949"/>
              <a:gd name="connsiteY9" fmla="*/ 663379 h 6857999"/>
              <a:gd name="connsiteX10" fmla="*/ 2321156 w 12188949"/>
              <a:gd name="connsiteY10" fmla="*/ 663378 h 6857999"/>
              <a:gd name="connsiteX11" fmla="*/ 2350361 w 12188949"/>
              <a:gd name="connsiteY11" fmla="*/ 703607 h 6857999"/>
              <a:gd name="connsiteX12" fmla="*/ 2350361 w 12188949"/>
              <a:gd name="connsiteY12" fmla="*/ 709303 h 6857999"/>
              <a:gd name="connsiteX13" fmla="*/ 2287252 w 12188949"/>
              <a:gd name="connsiteY13" fmla="*/ 709303 h 6857999"/>
              <a:gd name="connsiteX14" fmla="*/ 2321156 w 12188949"/>
              <a:gd name="connsiteY14" fmla="*/ 663378 h 6857999"/>
              <a:gd name="connsiteX15" fmla="*/ 2071592 w 12188949"/>
              <a:gd name="connsiteY15" fmla="*/ 643268 h 6857999"/>
              <a:gd name="connsiteX16" fmla="*/ 2137724 w 12188949"/>
              <a:gd name="connsiteY16" fmla="*/ 806849 h 6857999"/>
              <a:gd name="connsiteX17" fmla="*/ 2170621 w 12188949"/>
              <a:gd name="connsiteY17" fmla="*/ 806849 h 6857999"/>
              <a:gd name="connsiteX18" fmla="*/ 2232721 w 12188949"/>
              <a:gd name="connsiteY18" fmla="*/ 643268 h 6857999"/>
              <a:gd name="connsiteX19" fmla="*/ 2202175 w 12188949"/>
              <a:gd name="connsiteY19" fmla="*/ 643268 h 6857999"/>
              <a:gd name="connsiteX20" fmla="*/ 2163234 w 12188949"/>
              <a:gd name="connsiteY20" fmla="*/ 754220 h 6857999"/>
              <a:gd name="connsiteX21" fmla="*/ 2123625 w 12188949"/>
              <a:gd name="connsiteY21" fmla="*/ 643268 h 6857999"/>
              <a:gd name="connsiteX22" fmla="*/ 2003325 w 12188949"/>
              <a:gd name="connsiteY22" fmla="*/ 643267 h 6857999"/>
              <a:gd name="connsiteX23" fmla="*/ 2003325 w 12188949"/>
              <a:gd name="connsiteY23" fmla="*/ 686340 h 6857999"/>
              <a:gd name="connsiteX24" fmla="*/ 2003325 w 12188949"/>
              <a:gd name="connsiteY24" fmla="*/ 806848 h 6857999"/>
              <a:gd name="connsiteX25" fmla="*/ 2051661 w 12188949"/>
              <a:gd name="connsiteY25" fmla="*/ 806848 h 6857999"/>
              <a:gd name="connsiteX26" fmla="*/ 2051661 w 12188949"/>
              <a:gd name="connsiteY26" fmla="*/ 643267 h 6857999"/>
              <a:gd name="connsiteX27" fmla="*/ 1183993 w 12188949"/>
              <a:gd name="connsiteY27" fmla="*/ 639248 h 6857999"/>
              <a:gd name="connsiteX28" fmla="*/ 1144048 w 12188949"/>
              <a:gd name="connsiteY28" fmla="*/ 658355 h 6857999"/>
              <a:gd name="connsiteX29" fmla="*/ 1139349 w 12188949"/>
              <a:gd name="connsiteY29" fmla="*/ 643269 h 6857999"/>
              <a:gd name="connsiteX30" fmla="*/ 1101413 w 12188949"/>
              <a:gd name="connsiteY30" fmla="*/ 643269 h 6857999"/>
              <a:gd name="connsiteX31" fmla="*/ 1101413 w 12188949"/>
              <a:gd name="connsiteY31" fmla="*/ 806850 h 6857999"/>
              <a:gd name="connsiteX32" fmla="*/ 1149752 w 12188949"/>
              <a:gd name="connsiteY32" fmla="*/ 806850 h 6857999"/>
              <a:gd name="connsiteX33" fmla="*/ 1149752 w 12188949"/>
              <a:gd name="connsiteY33" fmla="*/ 717351 h 6857999"/>
              <a:gd name="connsiteX34" fmla="*/ 1148412 w 12188949"/>
              <a:gd name="connsiteY34" fmla="*/ 683494 h 6857999"/>
              <a:gd name="connsiteX35" fmla="*/ 1179629 w 12188949"/>
              <a:gd name="connsiteY35" fmla="*/ 672098 h 6857999"/>
              <a:gd name="connsiteX36" fmla="*/ 1200105 w 12188949"/>
              <a:gd name="connsiteY36" fmla="*/ 676119 h 6857999"/>
              <a:gd name="connsiteX37" fmla="*/ 1204803 w 12188949"/>
              <a:gd name="connsiteY37" fmla="*/ 644944 h 6857999"/>
              <a:gd name="connsiteX38" fmla="*/ 1183993 w 12188949"/>
              <a:gd name="connsiteY38" fmla="*/ 639248 h 6857999"/>
              <a:gd name="connsiteX39" fmla="*/ 1299014 w 12188949"/>
              <a:gd name="connsiteY39" fmla="*/ 639248 h 6857999"/>
              <a:gd name="connsiteX40" fmla="*/ 1214762 w 12188949"/>
              <a:gd name="connsiteY40" fmla="*/ 725062 h 6857999"/>
              <a:gd name="connsiteX41" fmla="*/ 1299014 w 12188949"/>
              <a:gd name="connsiteY41" fmla="*/ 810877 h 6857999"/>
              <a:gd name="connsiteX42" fmla="*/ 1383271 w 12188949"/>
              <a:gd name="connsiteY42" fmla="*/ 725062 h 6857999"/>
              <a:gd name="connsiteX43" fmla="*/ 1299014 w 12188949"/>
              <a:gd name="connsiteY43" fmla="*/ 639248 h 6857999"/>
              <a:gd name="connsiteX44" fmla="*/ 1608518 w 12188949"/>
              <a:gd name="connsiteY44" fmla="*/ 639248 h 6857999"/>
              <a:gd name="connsiteX45" fmla="*/ 1525937 w 12188949"/>
              <a:gd name="connsiteY45" fmla="*/ 725062 h 6857999"/>
              <a:gd name="connsiteX46" fmla="*/ 1549434 w 12188949"/>
              <a:gd name="connsiteY46" fmla="*/ 788752 h 6857999"/>
              <a:gd name="connsiteX47" fmla="*/ 1612543 w 12188949"/>
              <a:gd name="connsiteY47" fmla="*/ 810877 h 6857999"/>
              <a:gd name="connsiteX48" fmla="*/ 1672631 w 12188949"/>
              <a:gd name="connsiteY48" fmla="*/ 793443 h 6857999"/>
              <a:gd name="connsiteX49" fmla="*/ 1667597 w 12188949"/>
              <a:gd name="connsiteY49" fmla="*/ 768636 h 6857999"/>
              <a:gd name="connsiteX50" fmla="*/ 1619592 w 12188949"/>
              <a:gd name="connsiteY50" fmla="*/ 782384 h 6857999"/>
              <a:gd name="connsiteX51" fmla="*/ 1575284 w 12188949"/>
              <a:gd name="connsiteY51" fmla="*/ 734447 h 6857999"/>
              <a:gd name="connsiteX52" fmla="*/ 1667597 w 12188949"/>
              <a:gd name="connsiteY52" fmla="*/ 734447 h 6857999"/>
              <a:gd name="connsiteX53" fmla="*/ 1681357 w 12188949"/>
              <a:gd name="connsiteY53" fmla="*/ 716008 h 6857999"/>
              <a:gd name="connsiteX54" fmla="*/ 1608518 w 12188949"/>
              <a:gd name="connsiteY54" fmla="*/ 639248 h 6857999"/>
              <a:gd name="connsiteX55" fmla="*/ 1788093 w 12188949"/>
              <a:gd name="connsiteY55" fmla="*/ 639248 h 6857999"/>
              <a:gd name="connsiteX56" fmla="*/ 1704842 w 12188949"/>
              <a:gd name="connsiteY56" fmla="*/ 725728 h 6857999"/>
              <a:gd name="connsiteX57" fmla="*/ 1787759 w 12188949"/>
              <a:gd name="connsiteY57" fmla="*/ 810877 h 6857999"/>
              <a:gd name="connsiteX58" fmla="*/ 1844825 w 12188949"/>
              <a:gd name="connsiteY58" fmla="*/ 795453 h 6857999"/>
              <a:gd name="connsiteX59" fmla="*/ 1840125 w 12188949"/>
              <a:gd name="connsiteY59" fmla="*/ 770646 h 6857999"/>
              <a:gd name="connsiteX60" fmla="*/ 1798163 w 12188949"/>
              <a:gd name="connsiteY60" fmla="*/ 782384 h 6857999"/>
              <a:gd name="connsiteX61" fmla="*/ 1754523 w 12188949"/>
              <a:gd name="connsiteY61" fmla="*/ 725393 h 6857999"/>
              <a:gd name="connsiteX62" fmla="*/ 1796487 w 12188949"/>
              <a:gd name="connsiteY62" fmla="*/ 667741 h 6857999"/>
              <a:gd name="connsiteX63" fmla="*/ 1838112 w 12188949"/>
              <a:gd name="connsiteY63" fmla="*/ 680140 h 6857999"/>
              <a:gd name="connsiteX64" fmla="*/ 1842476 w 12188949"/>
              <a:gd name="connsiteY64" fmla="*/ 655001 h 6857999"/>
              <a:gd name="connsiteX65" fmla="*/ 1788093 w 12188949"/>
              <a:gd name="connsiteY65" fmla="*/ 639248 h 6857999"/>
              <a:gd name="connsiteX66" fmla="*/ 2320820 w 12188949"/>
              <a:gd name="connsiteY66" fmla="*/ 639247 h 6857999"/>
              <a:gd name="connsiteX67" fmla="*/ 2238239 w 12188949"/>
              <a:gd name="connsiteY67" fmla="*/ 725061 h 6857999"/>
              <a:gd name="connsiteX68" fmla="*/ 2261740 w 12188949"/>
              <a:gd name="connsiteY68" fmla="*/ 788751 h 6857999"/>
              <a:gd name="connsiteX69" fmla="*/ 2324847 w 12188949"/>
              <a:gd name="connsiteY69" fmla="*/ 810876 h 6857999"/>
              <a:gd name="connsiteX70" fmla="*/ 2384935 w 12188949"/>
              <a:gd name="connsiteY70" fmla="*/ 793442 h 6857999"/>
              <a:gd name="connsiteX71" fmla="*/ 2379899 w 12188949"/>
              <a:gd name="connsiteY71" fmla="*/ 768635 h 6857999"/>
              <a:gd name="connsiteX72" fmla="*/ 2331897 w 12188949"/>
              <a:gd name="connsiteY72" fmla="*/ 782383 h 6857999"/>
              <a:gd name="connsiteX73" fmla="*/ 2287588 w 12188949"/>
              <a:gd name="connsiteY73" fmla="*/ 734446 h 6857999"/>
              <a:gd name="connsiteX74" fmla="*/ 2379899 w 12188949"/>
              <a:gd name="connsiteY74" fmla="*/ 734446 h 6857999"/>
              <a:gd name="connsiteX75" fmla="*/ 2393661 w 12188949"/>
              <a:gd name="connsiteY75" fmla="*/ 716007 h 6857999"/>
              <a:gd name="connsiteX76" fmla="*/ 2320820 w 12188949"/>
              <a:gd name="connsiteY76" fmla="*/ 639247 h 6857999"/>
              <a:gd name="connsiteX77" fmla="*/ 969267 w 12188949"/>
              <a:gd name="connsiteY77" fmla="*/ 607065 h 6857999"/>
              <a:gd name="connsiteX78" fmla="*/ 983702 w 12188949"/>
              <a:gd name="connsiteY78" fmla="*/ 607065 h 6857999"/>
              <a:gd name="connsiteX79" fmla="*/ 1024987 w 12188949"/>
              <a:gd name="connsiteY79" fmla="*/ 648965 h 6857999"/>
              <a:gd name="connsiteX80" fmla="*/ 983702 w 12188949"/>
              <a:gd name="connsiteY80" fmla="*/ 690869 h 6857999"/>
              <a:gd name="connsiteX81" fmla="*/ 969267 w 12188949"/>
              <a:gd name="connsiteY81" fmla="*/ 690869 h 6857999"/>
              <a:gd name="connsiteX82" fmla="*/ 2651255 w 12188949"/>
              <a:gd name="connsiteY82" fmla="*/ 598584 h 6857999"/>
              <a:gd name="connsiteX83" fmla="*/ 2509370 w 12188949"/>
              <a:gd name="connsiteY83" fmla="*/ 790841 h 6857999"/>
              <a:gd name="connsiteX84" fmla="*/ 2523979 w 12188949"/>
              <a:gd name="connsiteY84" fmla="*/ 806901 h 6857999"/>
              <a:gd name="connsiteX85" fmla="*/ 2559218 w 12188949"/>
              <a:gd name="connsiteY85" fmla="*/ 806901 h 6857999"/>
              <a:gd name="connsiteX86" fmla="*/ 2651255 w 12188949"/>
              <a:gd name="connsiteY86" fmla="*/ 622048 h 6857999"/>
              <a:gd name="connsiteX87" fmla="*/ 2725938 w 12188949"/>
              <a:gd name="connsiteY87" fmla="*/ 688236 h 6857999"/>
              <a:gd name="connsiteX88" fmla="*/ 2726315 w 12188949"/>
              <a:gd name="connsiteY88" fmla="*/ 690131 h 6857999"/>
              <a:gd name="connsiteX89" fmla="*/ 2709521 w 12188949"/>
              <a:gd name="connsiteY89" fmla="*/ 706348 h 6857999"/>
              <a:gd name="connsiteX90" fmla="*/ 2655888 w 12188949"/>
              <a:gd name="connsiteY90" fmla="*/ 881725 h 6857999"/>
              <a:gd name="connsiteX91" fmla="*/ 2670567 w 12188949"/>
              <a:gd name="connsiteY91" fmla="*/ 896041 h 6857999"/>
              <a:gd name="connsiteX92" fmla="*/ 2707630 w 12188949"/>
              <a:gd name="connsiteY92" fmla="*/ 896041 h 6857999"/>
              <a:gd name="connsiteX93" fmla="*/ 2713091 w 12188949"/>
              <a:gd name="connsiteY93" fmla="*/ 806755 h 6857999"/>
              <a:gd name="connsiteX94" fmla="*/ 2736841 w 12188949"/>
              <a:gd name="connsiteY94" fmla="*/ 743125 h 6857999"/>
              <a:gd name="connsiteX95" fmla="*/ 2740399 w 12188949"/>
              <a:gd name="connsiteY95" fmla="*/ 761035 h 6857999"/>
              <a:gd name="connsiteX96" fmla="*/ 2744417 w 12188949"/>
              <a:gd name="connsiteY96" fmla="*/ 851471 h 6857999"/>
              <a:gd name="connsiteX97" fmla="*/ 2780627 w 12188949"/>
              <a:gd name="connsiteY97" fmla="*/ 851471 h 6857999"/>
              <a:gd name="connsiteX98" fmla="*/ 2795299 w 12188949"/>
              <a:gd name="connsiteY98" fmla="*/ 836592 h 6857999"/>
              <a:gd name="connsiteX99" fmla="*/ 2785610 w 12188949"/>
              <a:gd name="connsiteY99" fmla="*/ 740175 h 6857999"/>
              <a:gd name="connsiteX100" fmla="*/ 2770572 w 12188949"/>
              <a:gd name="connsiteY100" fmla="*/ 696847 h 6857999"/>
              <a:gd name="connsiteX101" fmla="*/ 2789394 w 12188949"/>
              <a:gd name="connsiteY101" fmla="*/ 681363 h 6857999"/>
              <a:gd name="connsiteX102" fmla="*/ 2857083 w 12188949"/>
              <a:gd name="connsiteY102" fmla="*/ 662463 h 6857999"/>
              <a:gd name="connsiteX103" fmla="*/ 2927568 w 12188949"/>
              <a:gd name="connsiteY103" fmla="*/ 730919 h 6857999"/>
              <a:gd name="connsiteX104" fmla="*/ 2825340 w 12188949"/>
              <a:gd name="connsiteY104" fmla="*/ 806901 h 6857999"/>
              <a:gd name="connsiteX105" fmla="*/ 2826532 w 12188949"/>
              <a:gd name="connsiteY105" fmla="*/ 837606 h 6857999"/>
              <a:gd name="connsiteX106" fmla="*/ 2841873 w 12188949"/>
              <a:gd name="connsiteY106" fmla="*/ 851680 h 6857999"/>
              <a:gd name="connsiteX107" fmla="*/ 2975564 w 12188949"/>
              <a:gd name="connsiteY107" fmla="*/ 741166 h 6857999"/>
              <a:gd name="connsiteX108" fmla="*/ 2857083 w 12188949"/>
              <a:gd name="connsiteY108" fmla="*/ 638998 h 6857999"/>
              <a:gd name="connsiteX109" fmla="*/ 2773892 w 12188949"/>
              <a:gd name="connsiteY109" fmla="*/ 656669 h 6857999"/>
              <a:gd name="connsiteX110" fmla="*/ 2759634 w 12188949"/>
              <a:gd name="connsiteY110" fmla="*/ 665328 h 6857999"/>
              <a:gd name="connsiteX111" fmla="*/ 2759500 w 12188949"/>
              <a:gd name="connsiteY111" fmla="*/ 664941 h 6857999"/>
              <a:gd name="connsiteX112" fmla="*/ 2651255 w 12188949"/>
              <a:gd name="connsiteY112" fmla="*/ 598584 h 6857999"/>
              <a:gd name="connsiteX113" fmla="*/ 1468890 w 12188949"/>
              <a:gd name="connsiteY113" fmla="*/ 591647 h 6857999"/>
              <a:gd name="connsiteX114" fmla="*/ 1420556 w 12188949"/>
              <a:gd name="connsiteY114" fmla="*/ 597683 h 6857999"/>
              <a:gd name="connsiteX115" fmla="*/ 1420556 w 12188949"/>
              <a:gd name="connsiteY115" fmla="*/ 643269 h 6857999"/>
              <a:gd name="connsiteX116" fmla="*/ 1394344 w 12188949"/>
              <a:gd name="connsiteY116" fmla="*/ 643269 h 6857999"/>
              <a:gd name="connsiteX117" fmla="*/ 1394344 w 12188949"/>
              <a:gd name="connsiteY117" fmla="*/ 668742 h 6857999"/>
              <a:gd name="connsiteX118" fmla="*/ 1420556 w 12188949"/>
              <a:gd name="connsiteY118" fmla="*/ 668742 h 6857999"/>
              <a:gd name="connsiteX119" fmla="*/ 1420556 w 12188949"/>
              <a:gd name="connsiteY119" fmla="*/ 754783 h 6857999"/>
              <a:gd name="connsiteX120" fmla="*/ 1472396 w 12188949"/>
              <a:gd name="connsiteY120" fmla="*/ 810877 h 6857999"/>
              <a:gd name="connsiteX121" fmla="*/ 1512168 w 12188949"/>
              <a:gd name="connsiteY121" fmla="*/ 803497 h 6857999"/>
              <a:gd name="connsiteX122" fmla="*/ 1508992 w 12188949"/>
              <a:gd name="connsiteY122" fmla="*/ 778450 h 6857999"/>
              <a:gd name="connsiteX123" fmla="*/ 1487428 w 12188949"/>
              <a:gd name="connsiteY123" fmla="*/ 782382 h 6857999"/>
              <a:gd name="connsiteX124" fmla="*/ 1468890 w 12188949"/>
              <a:gd name="connsiteY124" fmla="*/ 755766 h 6857999"/>
              <a:gd name="connsiteX125" fmla="*/ 1468890 w 12188949"/>
              <a:gd name="connsiteY125" fmla="*/ 668742 h 6857999"/>
              <a:gd name="connsiteX126" fmla="*/ 1510819 w 12188949"/>
              <a:gd name="connsiteY126" fmla="*/ 668742 h 6857999"/>
              <a:gd name="connsiteX127" fmla="*/ 1510819 w 12188949"/>
              <a:gd name="connsiteY127" fmla="*/ 643269 h 6857999"/>
              <a:gd name="connsiteX128" fmla="*/ 1468890 w 12188949"/>
              <a:gd name="connsiteY128" fmla="*/ 643269 h 6857999"/>
              <a:gd name="connsiteX129" fmla="*/ 1934250 w 12188949"/>
              <a:gd name="connsiteY129" fmla="*/ 591647 h 6857999"/>
              <a:gd name="connsiteX130" fmla="*/ 1885917 w 12188949"/>
              <a:gd name="connsiteY130" fmla="*/ 597683 h 6857999"/>
              <a:gd name="connsiteX131" fmla="*/ 1885917 w 12188949"/>
              <a:gd name="connsiteY131" fmla="*/ 643268 h 6857999"/>
              <a:gd name="connsiteX132" fmla="*/ 1859702 w 12188949"/>
              <a:gd name="connsiteY132" fmla="*/ 643268 h 6857999"/>
              <a:gd name="connsiteX133" fmla="*/ 1859702 w 12188949"/>
              <a:gd name="connsiteY133" fmla="*/ 668742 h 6857999"/>
              <a:gd name="connsiteX134" fmla="*/ 1885917 w 12188949"/>
              <a:gd name="connsiteY134" fmla="*/ 668742 h 6857999"/>
              <a:gd name="connsiteX135" fmla="*/ 1885917 w 12188949"/>
              <a:gd name="connsiteY135" fmla="*/ 754782 h 6857999"/>
              <a:gd name="connsiteX136" fmla="*/ 1937754 w 12188949"/>
              <a:gd name="connsiteY136" fmla="*/ 810876 h 6857999"/>
              <a:gd name="connsiteX137" fmla="*/ 1977529 w 12188949"/>
              <a:gd name="connsiteY137" fmla="*/ 803496 h 6857999"/>
              <a:gd name="connsiteX138" fmla="*/ 1974352 w 12188949"/>
              <a:gd name="connsiteY138" fmla="*/ 778450 h 6857999"/>
              <a:gd name="connsiteX139" fmla="*/ 1952786 w 12188949"/>
              <a:gd name="connsiteY139" fmla="*/ 782382 h 6857999"/>
              <a:gd name="connsiteX140" fmla="*/ 1934250 w 12188949"/>
              <a:gd name="connsiteY140" fmla="*/ 755765 h 6857999"/>
              <a:gd name="connsiteX141" fmla="*/ 1934250 w 12188949"/>
              <a:gd name="connsiteY141" fmla="*/ 668742 h 6857999"/>
              <a:gd name="connsiteX142" fmla="*/ 1976179 w 12188949"/>
              <a:gd name="connsiteY142" fmla="*/ 668742 h 6857999"/>
              <a:gd name="connsiteX143" fmla="*/ 1976179 w 12188949"/>
              <a:gd name="connsiteY143" fmla="*/ 643268 h 6857999"/>
              <a:gd name="connsiteX144" fmla="*/ 1934250 w 12188949"/>
              <a:gd name="connsiteY144" fmla="*/ 643268 h 6857999"/>
              <a:gd name="connsiteX145" fmla="*/ 917574 w 12188949"/>
              <a:gd name="connsiteY145" fmla="*/ 575895 h 6857999"/>
              <a:gd name="connsiteX146" fmla="*/ 917574 w 12188949"/>
              <a:gd name="connsiteY146" fmla="*/ 806850 h 6857999"/>
              <a:gd name="connsiteX147" fmla="*/ 969267 w 12188949"/>
              <a:gd name="connsiteY147" fmla="*/ 806850 h 6857999"/>
              <a:gd name="connsiteX148" fmla="*/ 969267 w 12188949"/>
              <a:gd name="connsiteY148" fmla="*/ 721708 h 6857999"/>
              <a:gd name="connsiteX149" fmla="*/ 980012 w 12188949"/>
              <a:gd name="connsiteY149" fmla="*/ 721708 h 6857999"/>
              <a:gd name="connsiteX150" fmla="*/ 1057883 w 12188949"/>
              <a:gd name="connsiteY150" fmla="*/ 701262 h 6857999"/>
              <a:gd name="connsiteX151" fmla="*/ 1077017 w 12188949"/>
              <a:gd name="connsiteY151" fmla="*/ 646618 h 6857999"/>
              <a:gd name="connsiteX152" fmla="*/ 1061242 w 12188949"/>
              <a:gd name="connsiteY152" fmla="*/ 599695 h 6857999"/>
              <a:gd name="connsiteX153" fmla="*/ 973294 w 12188949"/>
              <a:gd name="connsiteY153" fmla="*/ 575895 h 6857999"/>
              <a:gd name="connsiteX154" fmla="*/ 2027494 w 12188949"/>
              <a:gd name="connsiteY154" fmla="*/ 574214 h 6857999"/>
              <a:gd name="connsiteX155" fmla="*/ 2001984 w 12188949"/>
              <a:gd name="connsiteY155" fmla="*/ 598350 h 6857999"/>
              <a:gd name="connsiteX156" fmla="*/ 2027494 w 12188949"/>
              <a:gd name="connsiteY156" fmla="*/ 622485 h 6857999"/>
              <a:gd name="connsiteX157" fmla="*/ 2053005 w 12188949"/>
              <a:gd name="connsiteY157" fmla="*/ 598350 h 6857999"/>
              <a:gd name="connsiteX158" fmla="*/ 2027494 w 12188949"/>
              <a:gd name="connsiteY158" fmla="*/ 574214 h 6857999"/>
              <a:gd name="connsiteX159" fmla="*/ 2857084 w 12188949"/>
              <a:gd name="connsiteY159" fmla="*/ 516940 h 6857999"/>
              <a:gd name="connsiteX160" fmla="*/ 2885433 w 12188949"/>
              <a:gd name="connsiteY160" fmla="*/ 559788 h 6857999"/>
              <a:gd name="connsiteX161" fmla="*/ 2857084 w 12188949"/>
              <a:gd name="connsiteY161" fmla="*/ 602636 h 6857999"/>
              <a:gd name="connsiteX162" fmla="*/ 2828731 w 12188949"/>
              <a:gd name="connsiteY162" fmla="*/ 559788 h 6857999"/>
              <a:gd name="connsiteX163" fmla="*/ 2857084 w 12188949"/>
              <a:gd name="connsiteY163" fmla="*/ 516940 h 6857999"/>
              <a:gd name="connsiteX164" fmla="*/ 2857084 w 12188949"/>
              <a:gd name="connsiteY164" fmla="*/ 497614 h 6857999"/>
              <a:gd name="connsiteX165" fmla="*/ 2796035 w 12188949"/>
              <a:gd name="connsiteY165" fmla="*/ 559788 h 6857999"/>
              <a:gd name="connsiteX166" fmla="*/ 2857084 w 12188949"/>
              <a:gd name="connsiteY166" fmla="*/ 621962 h 6857999"/>
              <a:gd name="connsiteX167" fmla="*/ 2918132 w 12188949"/>
              <a:gd name="connsiteY167" fmla="*/ 559788 h 6857999"/>
              <a:gd name="connsiteX168" fmla="*/ 2857084 w 12188949"/>
              <a:gd name="connsiteY168" fmla="*/ 497614 h 6857999"/>
              <a:gd name="connsiteX169" fmla="*/ 2651255 w 12188949"/>
              <a:gd name="connsiteY169" fmla="*/ 476526 h 6857999"/>
              <a:gd name="connsiteX170" fmla="*/ 2679604 w 12188949"/>
              <a:gd name="connsiteY170" fmla="*/ 519374 h 6857999"/>
              <a:gd name="connsiteX171" fmla="*/ 2651255 w 12188949"/>
              <a:gd name="connsiteY171" fmla="*/ 562222 h 6857999"/>
              <a:gd name="connsiteX172" fmla="*/ 2622902 w 12188949"/>
              <a:gd name="connsiteY172" fmla="*/ 519374 h 6857999"/>
              <a:gd name="connsiteX173" fmla="*/ 2651255 w 12188949"/>
              <a:gd name="connsiteY173" fmla="*/ 476526 h 6857999"/>
              <a:gd name="connsiteX174" fmla="*/ 2651255 w 12188949"/>
              <a:gd name="connsiteY174" fmla="*/ 457200 h 6857999"/>
              <a:gd name="connsiteX175" fmla="*/ 2590205 w 12188949"/>
              <a:gd name="connsiteY175" fmla="*/ 519374 h 6857999"/>
              <a:gd name="connsiteX176" fmla="*/ 2651255 w 12188949"/>
              <a:gd name="connsiteY176" fmla="*/ 581548 h 6857999"/>
              <a:gd name="connsiteX177" fmla="*/ 2712304 w 12188949"/>
              <a:gd name="connsiteY177" fmla="*/ 519374 h 6857999"/>
              <a:gd name="connsiteX178" fmla="*/ 2651255 w 12188949"/>
              <a:gd name="connsiteY178" fmla="*/ 457200 h 6857999"/>
              <a:gd name="connsiteX179" fmla="*/ 0 w 12188949"/>
              <a:gd name="connsiteY179" fmla="*/ 0 h 6857999"/>
              <a:gd name="connsiteX180" fmla="*/ 12188949 w 12188949"/>
              <a:gd name="connsiteY180" fmla="*/ 0 h 6857999"/>
              <a:gd name="connsiteX181" fmla="*/ 12188949 w 12188949"/>
              <a:gd name="connsiteY181" fmla="*/ 6857999 h 6857999"/>
              <a:gd name="connsiteX182" fmla="*/ 8185437 w 12188949"/>
              <a:gd name="connsiteY182" fmla="*/ 6857999 h 6857999"/>
              <a:gd name="connsiteX183" fmla="*/ 8667864 w 12188949"/>
              <a:gd name="connsiteY183" fmla="*/ 6703983 h 6857999"/>
              <a:gd name="connsiteX184" fmla="*/ 12099563 w 12188949"/>
              <a:gd name="connsiteY184" fmla="*/ 5152052 h 6857999"/>
              <a:gd name="connsiteX185" fmla="*/ 12185901 w 12188949"/>
              <a:gd name="connsiteY185" fmla="*/ 5101378 h 6857999"/>
              <a:gd name="connsiteX186" fmla="*/ 12185901 w 12188949"/>
              <a:gd name="connsiteY186" fmla="*/ 1169823 h 6857999"/>
              <a:gd name="connsiteX187" fmla="*/ 10459514 w 12188949"/>
              <a:gd name="connsiteY187" fmla="*/ 2317719 h 6857999"/>
              <a:gd name="connsiteX188" fmla="*/ 10459513 w 12188949"/>
              <a:gd name="connsiteY188" fmla="*/ 2317719 h 6857999"/>
              <a:gd name="connsiteX189" fmla="*/ 6596378 w 12188949"/>
              <a:gd name="connsiteY189" fmla="*/ 3903060 h 6857999"/>
              <a:gd name="connsiteX190" fmla="*/ 3021844 w 12188949"/>
              <a:gd name="connsiteY190" fmla="*/ 4269815 h 6857999"/>
              <a:gd name="connsiteX191" fmla="*/ 242001 w 12188949"/>
              <a:gd name="connsiteY191" fmla="*/ 3555182 h 6857999"/>
              <a:gd name="connsiteX192" fmla="*/ 761 w 12188949"/>
              <a:gd name="connsiteY192" fmla="*/ 3420135 h 6857999"/>
              <a:gd name="connsiteX193" fmla="*/ 761 w 12188949"/>
              <a:gd name="connsiteY193" fmla="*/ 6857999 h 6857999"/>
              <a:gd name="connsiteX194" fmla="*/ 0 w 12188949"/>
              <a:gd name="connsiteY194"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12188949" h="6857999">
                <a:moveTo>
                  <a:pt x="1299014" y="665059"/>
                </a:moveTo>
                <a:cubicBezTo>
                  <a:pt x="1320835" y="665059"/>
                  <a:pt x="1333593" y="681483"/>
                  <a:pt x="1333593" y="725062"/>
                </a:cubicBezTo>
                <a:cubicBezTo>
                  <a:pt x="1333593" y="768636"/>
                  <a:pt x="1320835" y="785060"/>
                  <a:pt x="1299014" y="785060"/>
                </a:cubicBezTo>
                <a:cubicBezTo>
                  <a:pt x="1277199" y="785060"/>
                  <a:pt x="1264443" y="768636"/>
                  <a:pt x="1264443" y="725062"/>
                </a:cubicBezTo>
                <a:cubicBezTo>
                  <a:pt x="1264443" y="681483"/>
                  <a:pt x="1277199" y="665059"/>
                  <a:pt x="1299014" y="665059"/>
                </a:cubicBezTo>
                <a:close/>
                <a:moveTo>
                  <a:pt x="1608854" y="663379"/>
                </a:moveTo>
                <a:cubicBezTo>
                  <a:pt x="1625633" y="663379"/>
                  <a:pt x="1638055" y="676119"/>
                  <a:pt x="1638055" y="703608"/>
                </a:cubicBezTo>
                <a:lnTo>
                  <a:pt x="1638055" y="709304"/>
                </a:lnTo>
                <a:lnTo>
                  <a:pt x="1574948" y="709304"/>
                </a:lnTo>
                <a:cubicBezTo>
                  <a:pt x="1574948" y="675447"/>
                  <a:pt x="1589046" y="663379"/>
                  <a:pt x="1608854" y="663379"/>
                </a:cubicBezTo>
                <a:close/>
                <a:moveTo>
                  <a:pt x="2321156" y="663378"/>
                </a:moveTo>
                <a:cubicBezTo>
                  <a:pt x="2337942" y="663378"/>
                  <a:pt x="2350361" y="676118"/>
                  <a:pt x="2350361" y="703607"/>
                </a:cubicBezTo>
                <a:lnTo>
                  <a:pt x="2350361" y="709303"/>
                </a:lnTo>
                <a:lnTo>
                  <a:pt x="2287252" y="709303"/>
                </a:lnTo>
                <a:cubicBezTo>
                  <a:pt x="2287252" y="675446"/>
                  <a:pt x="2301351" y="663378"/>
                  <a:pt x="2321156" y="663378"/>
                </a:cubicBezTo>
                <a:close/>
                <a:moveTo>
                  <a:pt x="2071592" y="643268"/>
                </a:moveTo>
                <a:lnTo>
                  <a:pt x="2137724" y="806849"/>
                </a:lnTo>
                <a:lnTo>
                  <a:pt x="2170621" y="806849"/>
                </a:lnTo>
                <a:lnTo>
                  <a:pt x="2232721" y="643268"/>
                </a:lnTo>
                <a:lnTo>
                  <a:pt x="2202175" y="643268"/>
                </a:lnTo>
                <a:lnTo>
                  <a:pt x="2163234" y="754220"/>
                </a:lnTo>
                <a:lnTo>
                  <a:pt x="2123625" y="643268"/>
                </a:lnTo>
                <a:close/>
                <a:moveTo>
                  <a:pt x="2003325" y="643267"/>
                </a:moveTo>
                <a:lnTo>
                  <a:pt x="2003325" y="686340"/>
                </a:lnTo>
                <a:lnTo>
                  <a:pt x="2003325" y="806848"/>
                </a:lnTo>
                <a:lnTo>
                  <a:pt x="2051661" y="806848"/>
                </a:lnTo>
                <a:lnTo>
                  <a:pt x="2051661" y="643267"/>
                </a:lnTo>
                <a:close/>
                <a:moveTo>
                  <a:pt x="1183993" y="639248"/>
                </a:moveTo>
                <a:cubicBezTo>
                  <a:pt x="1169223" y="639248"/>
                  <a:pt x="1155461" y="645280"/>
                  <a:pt x="1144048" y="658355"/>
                </a:cubicBezTo>
                <a:cubicBezTo>
                  <a:pt x="1142703" y="652991"/>
                  <a:pt x="1141026" y="647962"/>
                  <a:pt x="1139349" y="643269"/>
                </a:cubicBezTo>
                <a:lnTo>
                  <a:pt x="1101413" y="643269"/>
                </a:lnTo>
                <a:lnTo>
                  <a:pt x="1101413" y="806850"/>
                </a:lnTo>
                <a:lnTo>
                  <a:pt x="1149752" y="806850"/>
                </a:lnTo>
                <a:lnTo>
                  <a:pt x="1149752" y="717351"/>
                </a:lnTo>
                <a:cubicBezTo>
                  <a:pt x="1149752" y="704275"/>
                  <a:pt x="1149416" y="692880"/>
                  <a:pt x="1148412" y="683494"/>
                </a:cubicBezTo>
                <a:cubicBezTo>
                  <a:pt x="1157810" y="675783"/>
                  <a:pt x="1168551" y="672098"/>
                  <a:pt x="1179629" y="672098"/>
                </a:cubicBezTo>
                <a:cubicBezTo>
                  <a:pt x="1186679" y="672098"/>
                  <a:pt x="1193392" y="673437"/>
                  <a:pt x="1200105" y="676119"/>
                </a:cubicBezTo>
                <a:lnTo>
                  <a:pt x="1204803" y="644944"/>
                </a:lnTo>
                <a:cubicBezTo>
                  <a:pt x="1198428" y="641259"/>
                  <a:pt x="1191379" y="639248"/>
                  <a:pt x="1183993" y="639248"/>
                </a:cubicBezTo>
                <a:close/>
                <a:moveTo>
                  <a:pt x="1299014" y="639248"/>
                </a:moveTo>
                <a:cubicBezTo>
                  <a:pt x="1245644" y="639248"/>
                  <a:pt x="1214762" y="673437"/>
                  <a:pt x="1214762" y="725062"/>
                </a:cubicBezTo>
                <a:cubicBezTo>
                  <a:pt x="1214762" y="776683"/>
                  <a:pt x="1245644" y="810877"/>
                  <a:pt x="1299014" y="810877"/>
                </a:cubicBezTo>
                <a:cubicBezTo>
                  <a:pt x="1352389" y="810877"/>
                  <a:pt x="1383271" y="776683"/>
                  <a:pt x="1383271" y="725062"/>
                </a:cubicBezTo>
                <a:cubicBezTo>
                  <a:pt x="1383271" y="673437"/>
                  <a:pt x="1352389" y="639248"/>
                  <a:pt x="1299014" y="639248"/>
                </a:cubicBezTo>
                <a:close/>
                <a:moveTo>
                  <a:pt x="1608518" y="639248"/>
                </a:moveTo>
                <a:cubicBezTo>
                  <a:pt x="1559841" y="639248"/>
                  <a:pt x="1525937" y="671090"/>
                  <a:pt x="1525937" y="725062"/>
                </a:cubicBezTo>
                <a:cubicBezTo>
                  <a:pt x="1525937" y="752883"/>
                  <a:pt x="1534331" y="774337"/>
                  <a:pt x="1549434" y="788752"/>
                </a:cubicBezTo>
                <a:cubicBezTo>
                  <a:pt x="1564541" y="803502"/>
                  <a:pt x="1587701" y="810877"/>
                  <a:pt x="1612543" y="810877"/>
                </a:cubicBezTo>
                <a:cubicBezTo>
                  <a:pt x="1633691" y="810877"/>
                  <a:pt x="1655511" y="805512"/>
                  <a:pt x="1672631" y="793443"/>
                </a:cubicBezTo>
                <a:lnTo>
                  <a:pt x="1667597" y="768636"/>
                </a:lnTo>
                <a:cubicBezTo>
                  <a:pt x="1650138" y="778357"/>
                  <a:pt x="1633691" y="782715"/>
                  <a:pt x="1619592" y="782384"/>
                </a:cubicBezTo>
                <a:cubicBezTo>
                  <a:pt x="1589383" y="781712"/>
                  <a:pt x="1575284" y="763276"/>
                  <a:pt x="1575284" y="734447"/>
                </a:cubicBezTo>
                <a:lnTo>
                  <a:pt x="1667597" y="734447"/>
                </a:lnTo>
                <a:cubicBezTo>
                  <a:pt x="1679008" y="734447"/>
                  <a:pt x="1681357" y="732432"/>
                  <a:pt x="1681357" y="716008"/>
                </a:cubicBezTo>
                <a:cubicBezTo>
                  <a:pt x="1681357" y="665059"/>
                  <a:pt x="1651147" y="639248"/>
                  <a:pt x="1608518" y="639248"/>
                </a:cubicBezTo>
                <a:close/>
                <a:moveTo>
                  <a:pt x="1788093" y="639248"/>
                </a:moveTo>
                <a:cubicBezTo>
                  <a:pt x="1738748" y="639248"/>
                  <a:pt x="1704842" y="671426"/>
                  <a:pt x="1704842" y="725728"/>
                </a:cubicBezTo>
                <a:cubicBezTo>
                  <a:pt x="1704842" y="776347"/>
                  <a:pt x="1734048" y="810877"/>
                  <a:pt x="1787759" y="810877"/>
                </a:cubicBezTo>
                <a:cubicBezTo>
                  <a:pt x="1807230" y="810877"/>
                  <a:pt x="1827369" y="806183"/>
                  <a:pt x="1844825" y="795453"/>
                </a:cubicBezTo>
                <a:lnTo>
                  <a:pt x="1840125" y="770646"/>
                </a:lnTo>
                <a:cubicBezTo>
                  <a:pt x="1825018" y="778693"/>
                  <a:pt x="1810247" y="782384"/>
                  <a:pt x="1798163" y="782384"/>
                </a:cubicBezTo>
                <a:cubicBezTo>
                  <a:pt x="1767954" y="782384"/>
                  <a:pt x="1754523" y="765286"/>
                  <a:pt x="1754523" y="725393"/>
                </a:cubicBezTo>
                <a:cubicBezTo>
                  <a:pt x="1754523" y="685169"/>
                  <a:pt x="1770975" y="667741"/>
                  <a:pt x="1796487" y="667741"/>
                </a:cubicBezTo>
                <a:cubicBezTo>
                  <a:pt x="1810247" y="667741"/>
                  <a:pt x="1825354" y="671762"/>
                  <a:pt x="1838112" y="680140"/>
                </a:cubicBezTo>
                <a:lnTo>
                  <a:pt x="1842476" y="655001"/>
                </a:lnTo>
                <a:cubicBezTo>
                  <a:pt x="1827705" y="644608"/>
                  <a:pt x="1808234" y="639248"/>
                  <a:pt x="1788093" y="639248"/>
                </a:cubicBezTo>
                <a:close/>
                <a:moveTo>
                  <a:pt x="2320820" y="639247"/>
                </a:moveTo>
                <a:cubicBezTo>
                  <a:pt x="2272145" y="639247"/>
                  <a:pt x="2238239" y="671089"/>
                  <a:pt x="2238239" y="725061"/>
                </a:cubicBezTo>
                <a:cubicBezTo>
                  <a:pt x="2238239" y="752882"/>
                  <a:pt x="2246633" y="774336"/>
                  <a:pt x="2261740" y="788751"/>
                </a:cubicBezTo>
                <a:cubicBezTo>
                  <a:pt x="2276845" y="803501"/>
                  <a:pt x="2300010" y="810876"/>
                  <a:pt x="2324847" y="810876"/>
                </a:cubicBezTo>
                <a:cubicBezTo>
                  <a:pt x="2345995" y="810876"/>
                  <a:pt x="2367815" y="805511"/>
                  <a:pt x="2384935" y="793442"/>
                </a:cubicBezTo>
                <a:lnTo>
                  <a:pt x="2379899" y="768635"/>
                </a:lnTo>
                <a:cubicBezTo>
                  <a:pt x="2362442" y="778356"/>
                  <a:pt x="2345995" y="782714"/>
                  <a:pt x="2331897" y="782383"/>
                </a:cubicBezTo>
                <a:cubicBezTo>
                  <a:pt x="2301687" y="781711"/>
                  <a:pt x="2287588" y="763275"/>
                  <a:pt x="2287588" y="734446"/>
                </a:cubicBezTo>
                <a:lnTo>
                  <a:pt x="2379899" y="734446"/>
                </a:lnTo>
                <a:cubicBezTo>
                  <a:pt x="2391312" y="734446"/>
                  <a:pt x="2393661" y="732431"/>
                  <a:pt x="2393661" y="716007"/>
                </a:cubicBezTo>
                <a:cubicBezTo>
                  <a:pt x="2393661" y="665058"/>
                  <a:pt x="2363451" y="639247"/>
                  <a:pt x="2320820" y="639247"/>
                </a:cubicBezTo>
                <a:close/>
                <a:moveTo>
                  <a:pt x="969267" y="607065"/>
                </a:moveTo>
                <a:lnTo>
                  <a:pt x="983702" y="607065"/>
                </a:lnTo>
                <a:cubicBezTo>
                  <a:pt x="1014248" y="607065"/>
                  <a:pt x="1024987" y="617794"/>
                  <a:pt x="1024987" y="648965"/>
                </a:cubicBezTo>
                <a:cubicBezTo>
                  <a:pt x="1024987" y="682155"/>
                  <a:pt x="1012571" y="690869"/>
                  <a:pt x="983702" y="690869"/>
                </a:cubicBezTo>
                <a:lnTo>
                  <a:pt x="969267" y="690869"/>
                </a:lnTo>
                <a:close/>
                <a:moveTo>
                  <a:pt x="2651255" y="598584"/>
                </a:moveTo>
                <a:cubicBezTo>
                  <a:pt x="2563130" y="598584"/>
                  <a:pt x="2519871" y="675444"/>
                  <a:pt x="2509370" y="790841"/>
                </a:cubicBezTo>
                <a:cubicBezTo>
                  <a:pt x="2508587" y="799451"/>
                  <a:pt x="2515319" y="806901"/>
                  <a:pt x="2523979" y="806901"/>
                </a:cubicBezTo>
                <a:lnTo>
                  <a:pt x="2559218" y="806901"/>
                </a:lnTo>
                <a:cubicBezTo>
                  <a:pt x="2563493" y="699686"/>
                  <a:pt x="2585176" y="622048"/>
                  <a:pt x="2651255" y="622048"/>
                </a:cubicBezTo>
                <a:cubicBezTo>
                  <a:pt x="2688724" y="622048"/>
                  <a:pt x="2712015" y="647055"/>
                  <a:pt x="2725938" y="688236"/>
                </a:cubicBezTo>
                <a:lnTo>
                  <a:pt x="2726315" y="690131"/>
                </a:lnTo>
                <a:lnTo>
                  <a:pt x="2709521" y="706348"/>
                </a:lnTo>
                <a:cubicBezTo>
                  <a:pt x="2673917" y="749025"/>
                  <a:pt x="2653967" y="809707"/>
                  <a:pt x="2655888" y="881725"/>
                </a:cubicBezTo>
                <a:cubicBezTo>
                  <a:pt x="2656100" y="889680"/>
                  <a:pt x="2662599" y="896041"/>
                  <a:pt x="2670567" y="896041"/>
                </a:cubicBezTo>
                <a:lnTo>
                  <a:pt x="2707630" y="896041"/>
                </a:lnTo>
                <a:cubicBezTo>
                  <a:pt x="2705555" y="864758"/>
                  <a:pt x="2707463" y="834518"/>
                  <a:pt x="2713091" y="806755"/>
                </a:cubicBezTo>
                <a:lnTo>
                  <a:pt x="2736841" y="743125"/>
                </a:lnTo>
                <a:lnTo>
                  <a:pt x="2740399" y="761035"/>
                </a:lnTo>
                <a:cubicBezTo>
                  <a:pt x="2743278" y="788609"/>
                  <a:pt x="2744417" y="819122"/>
                  <a:pt x="2744417" y="851471"/>
                </a:cubicBezTo>
                <a:lnTo>
                  <a:pt x="2780627" y="851471"/>
                </a:lnTo>
                <a:cubicBezTo>
                  <a:pt x="2788817" y="851471"/>
                  <a:pt x="2795459" y="844770"/>
                  <a:pt x="2795299" y="836592"/>
                </a:cubicBezTo>
                <a:cubicBezTo>
                  <a:pt x="2794618" y="801494"/>
                  <a:pt x="2791482" y="769069"/>
                  <a:pt x="2785610" y="740175"/>
                </a:cubicBezTo>
                <a:lnTo>
                  <a:pt x="2770572" y="696847"/>
                </a:lnTo>
                <a:lnTo>
                  <a:pt x="2789394" y="681363"/>
                </a:lnTo>
                <a:cubicBezTo>
                  <a:pt x="2808851" y="669241"/>
                  <a:pt x="2831501" y="662463"/>
                  <a:pt x="2857083" y="662463"/>
                </a:cubicBezTo>
                <a:cubicBezTo>
                  <a:pt x="2902887" y="662463"/>
                  <a:pt x="2927568" y="692797"/>
                  <a:pt x="2927568" y="730919"/>
                </a:cubicBezTo>
                <a:cubicBezTo>
                  <a:pt x="2927568" y="769041"/>
                  <a:pt x="2901563" y="806901"/>
                  <a:pt x="2825340" y="806901"/>
                </a:cubicBezTo>
                <a:lnTo>
                  <a:pt x="2826532" y="837606"/>
                </a:lnTo>
                <a:cubicBezTo>
                  <a:pt x="2826847" y="845730"/>
                  <a:pt x="2833739" y="852100"/>
                  <a:pt x="2841873" y="851680"/>
                </a:cubicBezTo>
                <a:cubicBezTo>
                  <a:pt x="2932692" y="846991"/>
                  <a:pt x="2975564" y="796983"/>
                  <a:pt x="2975564" y="741166"/>
                </a:cubicBezTo>
                <a:cubicBezTo>
                  <a:pt x="2975564" y="682649"/>
                  <a:pt x="2927655" y="638998"/>
                  <a:pt x="2857083" y="638998"/>
                </a:cubicBezTo>
                <a:cubicBezTo>
                  <a:pt x="2826734" y="638998"/>
                  <a:pt x="2798745" y="645166"/>
                  <a:pt x="2773892" y="656669"/>
                </a:cubicBezTo>
                <a:lnTo>
                  <a:pt x="2759634" y="665328"/>
                </a:lnTo>
                <a:lnTo>
                  <a:pt x="2759500" y="664941"/>
                </a:lnTo>
                <a:cubicBezTo>
                  <a:pt x="2736244" y="622988"/>
                  <a:pt x="2700913" y="598584"/>
                  <a:pt x="2651255" y="598584"/>
                </a:cubicBezTo>
                <a:close/>
                <a:moveTo>
                  <a:pt x="1468890" y="591647"/>
                </a:moveTo>
                <a:lnTo>
                  <a:pt x="1420556" y="597683"/>
                </a:lnTo>
                <a:lnTo>
                  <a:pt x="1420556" y="643269"/>
                </a:lnTo>
                <a:lnTo>
                  <a:pt x="1394344" y="643269"/>
                </a:lnTo>
                <a:lnTo>
                  <a:pt x="1394344" y="668742"/>
                </a:lnTo>
                <a:lnTo>
                  <a:pt x="1420556" y="668742"/>
                </a:lnTo>
                <a:lnTo>
                  <a:pt x="1420556" y="754783"/>
                </a:lnTo>
                <a:cubicBezTo>
                  <a:pt x="1420556" y="787791"/>
                  <a:pt x="1434554" y="810877"/>
                  <a:pt x="1472396" y="810877"/>
                </a:cubicBezTo>
                <a:cubicBezTo>
                  <a:pt x="1486334" y="810877"/>
                  <a:pt x="1499838" y="808028"/>
                  <a:pt x="1512168" y="803497"/>
                </a:cubicBezTo>
                <a:lnTo>
                  <a:pt x="1508992" y="778450"/>
                </a:lnTo>
                <a:cubicBezTo>
                  <a:pt x="1501747" y="781056"/>
                  <a:pt x="1494442" y="782382"/>
                  <a:pt x="1487428" y="782382"/>
                </a:cubicBezTo>
                <a:cubicBezTo>
                  <a:pt x="1473595" y="782382"/>
                  <a:pt x="1468890" y="774529"/>
                  <a:pt x="1468890" y="755766"/>
                </a:cubicBezTo>
                <a:lnTo>
                  <a:pt x="1468890" y="668742"/>
                </a:lnTo>
                <a:lnTo>
                  <a:pt x="1510819" y="668742"/>
                </a:lnTo>
                <a:lnTo>
                  <a:pt x="1510819" y="643269"/>
                </a:lnTo>
                <a:lnTo>
                  <a:pt x="1468890" y="643269"/>
                </a:lnTo>
                <a:close/>
                <a:moveTo>
                  <a:pt x="1934250" y="591647"/>
                </a:moveTo>
                <a:lnTo>
                  <a:pt x="1885917" y="597683"/>
                </a:lnTo>
                <a:lnTo>
                  <a:pt x="1885917" y="643268"/>
                </a:lnTo>
                <a:lnTo>
                  <a:pt x="1859702" y="643268"/>
                </a:lnTo>
                <a:lnTo>
                  <a:pt x="1859702" y="668742"/>
                </a:lnTo>
                <a:lnTo>
                  <a:pt x="1885917" y="668742"/>
                </a:lnTo>
                <a:lnTo>
                  <a:pt x="1885917" y="754782"/>
                </a:lnTo>
                <a:cubicBezTo>
                  <a:pt x="1885917" y="787790"/>
                  <a:pt x="1899912" y="810876"/>
                  <a:pt x="1937754" y="810876"/>
                </a:cubicBezTo>
                <a:cubicBezTo>
                  <a:pt x="1951695" y="810876"/>
                  <a:pt x="1965198" y="808027"/>
                  <a:pt x="1977529" y="803496"/>
                </a:cubicBezTo>
                <a:lnTo>
                  <a:pt x="1974352" y="778450"/>
                </a:lnTo>
                <a:cubicBezTo>
                  <a:pt x="1967108" y="781056"/>
                  <a:pt x="1959802" y="782382"/>
                  <a:pt x="1952786" y="782382"/>
                </a:cubicBezTo>
                <a:cubicBezTo>
                  <a:pt x="1938953" y="782382"/>
                  <a:pt x="1934250" y="774528"/>
                  <a:pt x="1934250" y="755765"/>
                </a:cubicBezTo>
                <a:lnTo>
                  <a:pt x="1934250" y="668742"/>
                </a:lnTo>
                <a:lnTo>
                  <a:pt x="1976179" y="668742"/>
                </a:lnTo>
                <a:lnTo>
                  <a:pt x="1976179" y="643268"/>
                </a:lnTo>
                <a:lnTo>
                  <a:pt x="1934250" y="643268"/>
                </a:lnTo>
                <a:close/>
                <a:moveTo>
                  <a:pt x="917574" y="575895"/>
                </a:moveTo>
                <a:lnTo>
                  <a:pt x="917574" y="806850"/>
                </a:lnTo>
                <a:lnTo>
                  <a:pt x="969267" y="806850"/>
                </a:lnTo>
                <a:lnTo>
                  <a:pt x="969267" y="721708"/>
                </a:lnTo>
                <a:lnTo>
                  <a:pt x="980012" y="721708"/>
                </a:lnTo>
                <a:cubicBezTo>
                  <a:pt x="1019284" y="721708"/>
                  <a:pt x="1042444" y="715341"/>
                  <a:pt x="1057883" y="701262"/>
                </a:cubicBezTo>
                <a:cubicBezTo>
                  <a:pt x="1070977" y="689194"/>
                  <a:pt x="1077017" y="671090"/>
                  <a:pt x="1077017" y="646618"/>
                </a:cubicBezTo>
                <a:cubicBezTo>
                  <a:pt x="1077017" y="626172"/>
                  <a:pt x="1071650" y="610755"/>
                  <a:pt x="1061242" y="599695"/>
                </a:cubicBezTo>
                <a:cubicBezTo>
                  <a:pt x="1046135" y="583601"/>
                  <a:pt x="1019952" y="575895"/>
                  <a:pt x="973294" y="575895"/>
                </a:cubicBezTo>
                <a:close/>
                <a:moveTo>
                  <a:pt x="2027494" y="574214"/>
                </a:moveTo>
                <a:cubicBezTo>
                  <a:pt x="2012391" y="574214"/>
                  <a:pt x="2001984" y="584271"/>
                  <a:pt x="2001984" y="598350"/>
                </a:cubicBezTo>
                <a:cubicBezTo>
                  <a:pt x="2001984" y="612428"/>
                  <a:pt x="2012391" y="622485"/>
                  <a:pt x="2027494" y="622485"/>
                </a:cubicBezTo>
                <a:cubicBezTo>
                  <a:pt x="2042596" y="622485"/>
                  <a:pt x="2053005" y="612428"/>
                  <a:pt x="2053005" y="598350"/>
                </a:cubicBezTo>
                <a:cubicBezTo>
                  <a:pt x="2053005" y="584271"/>
                  <a:pt x="2042596" y="574214"/>
                  <a:pt x="2027494" y="574214"/>
                </a:cubicBezTo>
                <a:close/>
                <a:moveTo>
                  <a:pt x="2857084" y="516940"/>
                </a:moveTo>
                <a:cubicBezTo>
                  <a:pt x="2873881" y="516940"/>
                  <a:pt x="2885433" y="531034"/>
                  <a:pt x="2885433" y="559788"/>
                </a:cubicBezTo>
                <a:cubicBezTo>
                  <a:pt x="2885433" y="588541"/>
                  <a:pt x="2873881" y="602636"/>
                  <a:pt x="2857084" y="602636"/>
                </a:cubicBezTo>
                <a:cubicBezTo>
                  <a:pt x="2840283" y="602636"/>
                  <a:pt x="2828731" y="588541"/>
                  <a:pt x="2828731" y="559788"/>
                </a:cubicBezTo>
                <a:cubicBezTo>
                  <a:pt x="2828731" y="531034"/>
                  <a:pt x="2840283" y="516940"/>
                  <a:pt x="2857084" y="516940"/>
                </a:cubicBezTo>
                <a:close/>
                <a:moveTo>
                  <a:pt x="2857084" y="497614"/>
                </a:moveTo>
                <a:cubicBezTo>
                  <a:pt x="2821807" y="497614"/>
                  <a:pt x="2796035" y="523895"/>
                  <a:pt x="2796035" y="559788"/>
                </a:cubicBezTo>
                <a:cubicBezTo>
                  <a:pt x="2796035" y="595681"/>
                  <a:pt x="2821807" y="621962"/>
                  <a:pt x="2857084" y="621962"/>
                </a:cubicBezTo>
                <a:cubicBezTo>
                  <a:pt x="2892358" y="621962"/>
                  <a:pt x="2918132" y="595681"/>
                  <a:pt x="2918132" y="559788"/>
                </a:cubicBezTo>
                <a:cubicBezTo>
                  <a:pt x="2918132" y="523895"/>
                  <a:pt x="2892358" y="497614"/>
                  <a:pt x="2857084" y="497614"/>
                </a:cubicBezTo>
                <a:close/>
                <a:moveTo>
                  <a:pt x="2651255" y="476526"/>
                </a:moveTo>
                <a:cubicBezTo>
                  <a:pt x="2668052" y="476526"/>
                  <a:pt x="2679604" y="490620"/>
                  <a:pt x="2679604" y="519374"/>
                </a:cubicBezTo>
                <a:cubicBezTo>
                  <a:pt x="2679604" y="548127"/>
                  <a:pt x="2668052" y="562222"/>
                  <a:pt x="2651255" y="562222"/>
                </a:cubicBezTo>
                <a:cubicBezTo>
                  <a:pt x="2634457" y="562222"/>
                  <a:pt x="2622902" y="548127"/>
                  <a:pt x="2622902" y="519374"/>
                </a:cubicBezTo>
                <a:cubicBezTo>
                  <a:pt x="2622902" y="490620"/>
                  <a:pt x="2634457" y="476526"/>
                  <a:pt x="2651255" y="476526"/>
                </a:cubicBezTo>
                <a:close/>
                <a:moveTo>
                  <a:pt x="2651255" y="457200"/>
                </a:moveTo>
                <a:cubicBezTo>
                  <a:pt x="2615980" y="457200"/>
                  <a:pt x="2590205" y="483481"/>
                  <a:pt x="2590205" y="519374"/>
                </a:cubicBezTo>
                <a:cubicBezTo>
                  <a:pt x="2590205" y="555267"/>
                  <a:pt x="2615980" y="581548"/>
                  <a:pt x="2651255" y="581548"/>
                </a:cubicBezTo>
                <a:cubicBezTo>
                  <a:pt x="2686529" y="581548"/>
                  <a:pt x="2712304" y="555267"/>
                  <a:pt x="2712304" y="519374"/>
                </a:cubicBezTo>
                <a:cubicBezTo>
                  <a:pt x="2712304" y="483481"/>
                  <a:pt x="2686529" y="457200"/>
                  <a:pt x="2651255" y="457200"/>
                </a:cubicBezTo>
                <a:close/>
                <a:moveTo>
                  <a:pt x="0" y="0"/>
                </a:moveTo>
                <a:lnTo>
                  <a:pt x="12188949" y="0"/>
                </a:lnTo>
                <a:lnTo>
                  <a:pt x="12188949" y="6857999"/>
                </a:lnTo>
                <a:lnTo>
                  <a:pt x="8185437" y="6857999"/>
                </a:lnTo>
                <a:lnTo>
                  <a:pt x="8667864" y="6703983"/>
                </a:lnTo>
                <a:cubicBezTo>
                  <a:pt x="9832097" y="6313371"/>
                  <a:pt x="10986147" y="5793430"/>
                  <a:pt x="12099563" y="5152052"/>
                </a:cubicBezTo>
                <a:cubicBezTo>
                  <a:pt x="12128384" y="5135457"/>
                  <a:pt x="12157206" y="5118608"/>
                  <a:pt x="12185901" y="5101378"/>
                </a:cubicBezTo>
                <a:lnTo>
                  <a:pt x="12185901" y="1169823"/>
                </a:lnTo>
                <a:cubicBezTo>
                  <a:pt x="11636026" y="1589447"/>
                  <a:pt x="11059343" y="1972890"/>
                  <a:pt x="10459514" y="2317719"/>
                </a:cubicBezTo>
                <a:lnTo>
                  <a:pt x="10459513" y="2317719"/>
                </a:lnTo>
                <a:cubicBezTo>
                  <a:pt x="9212686" y="3036026"/>
                  <a:pt x="7912911" y="3569371"/>
                  <a:pt x="6596378" y="3903060"/>
                </a:cubicBezTo>
                <a:cubicBezTo>
                  <a:pt x="5350440" y="4218887"/>
                  <a:pt x="4147798" y="4342279"/>
                  <a:pt x="3021844" y="4269815"/>
                </a:cubicBezTo>
                <a:cubicBezTo>
                  <a:pt x="1954420" y="4201025"/>
                  <a:pt x="1019172" y="3960702"/>
                  <a:pt x="242001" y="3555182"/>
                </a:cubicBezTo>
                <a:cubicBezTo>
                  <a:pt x="159048" y="3512024"/>
                  <a:pt x="78635" y="3467009"/>
                  <a:pt x="761" y="3420135"/>
                </a:cubicBezTo>
                <a:lnTo>
                  <a:pt x="761" y="6857999"/>
                </a:lnTo>
                <a:lnTo>
                  <a:pt x="0" y="6857999"/>
                </a:lnTo>
                <a:close/>
              </a:path>
            </a:pathLst>
          </a:custGeom>
          <a:solidFill>
            <a:schemeClr val="bg1">
              <a:lumMod val="95000"/>
            </a:schemeClr>
          </a:solidFill>
        </p:spPr>
        <p:txBody>
          <a:bodyPr wrap="square">
            <a:noAutofit/>
          </a:bodyPr>
          <a:lstStyle>
            <a:lvl1pPr>
              <a:defRPr sz="1400">
                <a:solidFill>
                  <a:schemeClr val="accent5"/>
                </a:solidFill>
              </a:defRPr>
            </a:lvl1pPr>
          </a:lstStyle>
          <a:p>
            <a:r>
              <a:rPr lang="en-US" dirty="0"/>
              <a:t>Click on icon to insert picture. Reset slide to make sure the logo appears and image is behind text.</a:t>
            </a:r>
          </a:p>
        </p:txBody>
      </p:sp>
      <p:sp>
        <p:nvSpPr>
          <p:cNvPr id="35" name="Graphic 33">
            <a:extLst>
              <a:ext uri="{FF2B5EF4-FFF2-40B4-BE49-F238E27FC236}">
                <a16:creationId xmlns:a16="http://schemas.microsoft.com/office/drawing/2014/main" id="{977D6BF7-E3AE-0541-A048-4AF4E0FC4465}"/>
              </a:ext>
            </a:extLst>
          </p:cNvPr>
          <p:cNvSpPr/>
          <p:nvPr/>
        </p:nvSpPr>
        <p:spPr>
          <a:xfrm>
            <a:off x="761" y="1169822"/>
            <a:ext cx="12185143" cy="5693625"/>
          </a:xfrm>
          <a:custGeom>
            <a:avLst/>
            <a:gdLst>
              <a:gd name="connsiteX0" fmla="*/ 10458755 w 12185143"/>
              <a:gd name="connsiteY0" fmla="*/ 1147897 h 5693625"/>
              <a:gd name="connsiteX1" fmla="*/ 6595620 w 12185143"/>
              <a:gd name="connsiteY1" fmla="*/ 2733239 h 5693625"/>
              <a:gd name="connsiteX2" fmla="*/ 3021083 w 12185143"/>
              <a:gd name="connsiteY2" fmla="*/ 3099994 h 5693625"/>
              <a:gd name="connsiteX3" fmla="*/ 241240 w 12185143"/>
              <a:gd name="connsiteY3" fmla="*/ 2385361 h 5693625"/>
              <a:gd name="connsiteX4" fmla="*/ 0 w 12185143"/>
              <a:gd name="connsiteY4" fmla="*/ 2250314 h 5693625"/>
              <a:gd name="connsiteX5" fmla="*/ 0 w 12185143"/>
              <a:gd name="connsiteY5" fmla="*/ 5693626 h 5693625"/>
              <a:gd name="connsiteX6" fmla="*/ 8167614 w 12185143"/>
              <a:gd name="connsiteY6" fmla="*/ 5693626 h 5693625"/>
              <a:gd name="connsiteX7" fmla="*/ 12098805 w 12185143"/>
              <a:gd name="connsiteY7" fmla="*/ 3982231 h 5693625"/>
              <a:gd name="connsiteX8" fmla="*/ 12185143 w 12185143"/>
              <a:gd name="connsiteY8" fmla="*/ 3931557 h 5693625"/>
              <a:gd name="connsiteX9" fmla="*/ 12185143 w 12185143"/>
              <a:gd name="connsiteY9" fmla="*/ 0 h 5693625"/>
              <a:gd name="connsiteX10" fmla="*/ 10458756 w 12185143"/>
              <a:gd name="connsiteY10" fmla="*/ 1147897 h 5693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85143" h="5693625">
                <a:moveTo>
                  <a:pt x="10458755" y="1147897"/>
                </a:moveTo>
                <a:cubicBezTo>
                  <a:pt x="9211928" y="1866204"/>
                  <a:pt x="7912153" y="2399550"/>
                  <a:pt x="6595620" y="2733239"/>
                </a:cubicBezTo>
                <a:cubicBezTo>
                  <a:pt x="5349680" y="3049066"/>
                  <a:pt x="4147037" y="3172458"/>
                  <a:pt x="3021083" y="3099994"/>
                </a:cubicBezTo>
                <a:cubicBezTo>
                  <a:pt x="1953660" y="3031204"/>
                  <a:pt x="1018412" y="2790881"/>
                  <a:pt x="241240" y="2385361"/>
                </a:cubicBezTo>
                <a:cubicBezTo>
                  <a:pt x="158287" y="2342203"/>
                  <a:pt x="77874" y="2297188"/>
                  <a:pt x="0" y="2250314"/>
                </a:cubicBezTo>
                <a:lnTo>
                  <a:pt x="0" y="5693626"/>
                </a:lnTo>
                <a:lnTo>
                  <a:pt x="8167614" y="5693626"/>
                </a:lnTo>
                <a:cubicBezTo>
                  <a:pt x="9500781" y="5289626"/>
                  <a:pt x="10826329" y="4715234"/>
                  <a:pt x="12098805" y="3982231"/>
                </a:cubicBezTo>
                <a:cubicBezTo>
                  <a:pt x="12127626" y="3965636"/>
                  <a:pt x="12156448" y="3948787"/>
                  <a:pt x="12185143" y="3931557"/>
                </a:cubicBezTo>
                <a:lnTo>
                  <a:pt x="12185143" y="0"/>
                </a:lnTo>
                <a:cubicBezTo>
                  <a:pt x="11635268" y="419624"/>
                  <a:pt x="11058585" y="803067"/>
                  <a:pt x="10458756" y="1147897"/>
                </a:cubicBezTo>
                <a:close/>
              </a:path>
            </a:pathLst>
          </a:custGeom>
          <a:gradFill>
            <a:gsLst>
              <a:gs pos="0">
                <a:schemeClr val="tx2"/>
              </a:gs>
              <a:gs pos="100000">
                <a:schemeClr val="accent3"/>
              </a:gs>
            </a:gsLst>
            <a:lin ang="0" scaled="1"/>
          </a:gradFill>
          <a:ln w="12690" cap="flat">
            <a:noFill/>
            <a:prstDash val="solid"/>
            <a:miter/>
          </a:ln>
        </p:spPr>
        <p:txBody>
          <a:bodyPr rtlCol="0" anchor="ctr"/>
          <a:lstStyle/>
          <a:p>
            <a:endParaRPr lang="en-US" dirty="0"/>
          </a:p>
        </p:txBody>
      </p:sp>
      <p:graphicFrame>
        <p:nvGraphicFramePr>
          <p:cNvPr id="8" name="Object 7" hidden="1">
            <a:extLst>
              <a:ext uri="{FF2B5EF4-FFF2-40B4-BE49-F238E27FC236}">
                <a16:creationId xmlns:a16="http://schemas.microsoft.com/office/drawing/2014/main" id="{96E5EC05-B70E-0449-BE8C-62E577850024}"/>
              </a:ext>
            </a:extLst>
          </p:cNvPr>
          <p:cNvGraphicFramePr>
            <a:graphicFrameLocks noChangeAspect="1"/>
          </p:cNvGraphicFramePr>
          <p:nvPr>
            <p:custDataLst>
              <p:tags r:id="rId2"/>
            </p:custDataLst>
            <p:extLst>
              <p:ext uri="{D42A27DB-BD31-4B8C-83A1-F6EECF244321}">
                <p14:modId xmlns:p14="http://schemas.microsoft.com/office/powerpoint/2010/main" val="6838518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0201"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96E5EC05-B70E-0449-BE8C-62E57785002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Text Placeholder 3">
            <a:extLst>
              <a:ext uri="{FF2B5EF4-FFF2-40B4-BE49-F238E27FC236}">
                <a16:creationId xmlns:a16="http://schemas.microsoft.com/office/drawing/2014/main" id="{5740C42A-E075-6949-900C-E63BE9FB862C}"/>
              </a:ext>
            </a:extLst>
          </p:cNvPr>
          <p:cNvSpPr>
            <a:spLocks noGrp="1"/>
          </p:cNvSpPr>
          <p:nvPr>
            <p:ph type="body" sz="half" idx="2" hasCustomPrompt="1"/>
          </p:nvPr>
        </p:nvSpPr>
        <p:spPr>
          <a:xfrm>
            <a:off x="914399" y="6169025"/>
            <a:ext cx="3706285" cy="462819"/>
          </a:xfrm>
        </p:spPr>
        <p:txBody>
          <a:bodyPr anchor="b"/>
          <a:lstStyle>
            <a:lvl1pPr marL="0" indent="0">
              <a:buNone/>
              <a:defRPr sz="1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date</a:t>
            </a:r>
          </a:p>
        </p:txBody>
      </p:sp>
      <p:sp>
        <p:nvSpPr>
          <p:cNvPr id="9" name="TextBox 8">
            <a:extLst>
              <a:ext uri="{FF2B5EF4-FFF2-40B4-BE49-F238E27FC236}">
                <a16:creationId xmlns:a16="http://schemas.microsoft.com/office/drawing/2014/main" id="{733C8FB4-9A4D-AF4D-A6E6-B12D36795417}"/>
              </a:ext>
            </a:extLst>
          </p:cNvPr>
          <p:cNvSpPr txBox="1"/>
          <p:nvPr/>
        </p:nvSpPr>
        <p:spPr>
          <a:xfrm>
            <a:off x="9282514" y="6368176"/>
            <a:ext cx="2223686" cy="246221"/>
          </a:xfrm>
          <a:prstGeom prst="rect">
            <a:avLst/>
          </a:prstGeom>
          <a:noFill/>
        </p:spPr>
        <p:txBody>
          <a:bodyPr wrap="none" lIns="0" tIns="0" rIns="0" bIns="0" rtlCol="0" anchor="b">
            <a:noAutofit/>
          </a:bodyPr>
          <a:lstStyle/>
          <a:p>
            <a:pPr algn="r"/>
            <a:r>
              <a:rPr lang="en-US" sz="1000" dirty="0">
                <a:solidFill>
                  <a:schemeClr val="bg1"/>
                </a:solidFill>
              </a:rPr>
              <a:t>Confidential—do not copy or distribute</a:t>
            </a:r>
          </a:p>
        </p:txBody>
      </p:sp>
      <p:sp>
        <p:nvSpPr>
          <p:cNvPr id="3" name="Subtitle 2"/>
          <p:cNvSpPr>
            <a:spLocks noGrp="1"/>
          </p:cNvSpPr>
          <p:nvPr>
            <p:ph type="subTitle" idx="1" hasCustomPrompt="1"/>
          </p:nvPr>
        </p:nvSpPr>
        <p:spPr>
          <a:xfrm>
            <a:off x="914400" y="5088795"/>
            <a:ext cx="9448800" cy="599383"/>
          </a:xfrm>
        </p:spPr>
        <p:txBody>
          <a:bodyPr/>
          <a:lstStyle>
            <a:lvl1pPr marL="0" indent="0" algn="l">
              <a:buNone/>
              <a:defRPr sz="32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or subtitle</a:t>
            </a:r>
          </a:p>
        </p:txBody>
      </p:sp>
      <p:sp>
        <p:nvSpPr>
          <p:cNvPr id="2" name="Title 1"/>
          <p:cNvSpPr>
            <a:spLocks noGrp="1"/>
          </p:cNvSpPr>
          <p:nvPr>
            <p:ph type="ctrTitle"/>
          </p:nvPr>
        </p:nvSpPr>
        <p:spPr>
          <a:xfrm>
            <a:off x="914400" y="4343400"/>
            <a:ext cx="10363200" cy="806939"/>
          </a:xfrm>
        </p:spPr>
        <p:txBody>
          <a:bodyPr vert="horz" anchor="b"/>
          <a:lstStyle>
            <a:lvl1pPr>
              <a:defRPr sz="4800">
                <a:solidFill>
                  <a:schemeClr val="bg1"/>
                </a:solidFill>
              </a:defRPr>
            </a:lvl1pPr>
          </a:lstStyle>
          <a:p>
            <a:r>
              <a:rPr lang="en-US"/>
              <a:t>Click to edit Master title style</a:t>
            </a:r>
          </a:p>
        </p:txBody>
      </p:sp>
    </p:spTree>
    <p:extLst>
      <p:ext uri="{BB962C8B-B14F-4D97-AF65-F5344CB8AC3E}">
        <p14:creationId xmlns:p14="http://schemas.microsoft.com/office/powerpoint/2010/main" val="1358022088"/>
      </p:ext>
    </p:extLst>
  </p:cSld>
  <p:clrMapOvr>
    <a:masterClrMapping/>
  </p:clrMapOvr>
  <p:extLst>
    <p:ext uri="{DCECCB84-F9BA-43D5-87BE-67443E8EF086}">
      <p15:sldGuideLst xmlns:p15="http://schemas.microsoft.com/office/powerpoint/2012/main">
        <p15:guide id="1" pos="576">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207DFA4-66A8-6F4D-823B-7E0486FE1359}"/>
              </a:ext>
            </a:extLst>
          </p:cNvPr>
          <p:cNvGraphicFramePr>
            <a:graphicFrameLocks noChangeAspect="1"/>
          </p:cNvGraphicFramePr>
          <p:nvPr>
            <p:custDataLst>
              <p:tags r:id="rId2"/>
            </p:custDataLst>
            <p:extLst>
              <p:ext uri="{D42A27DB-BD31-4B8C-83A1-F6EECF244321}">
                <p14:modId xmlns:p14="http://schemas.microsoft.com/office/powerpoint/2010/main" val="7412863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1225"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2207DFA4-66A8-6F4D-823B-7E0486FE135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6110F7E6-419E-7D4C-873C-F6B2B59B7D7D}"/>
              </a:ext>
            </a:extLst>
          </p:cNvPr>
          <p:cNvSpPr>
            <a:spLocks noGrp="1"/>
          </p:cNvSpPr>
          <p:nvPr>
            <p:ph type="body" sz="quarter" idx="10" hasCustomPrompt="1"/>
          </p:nvPr>
        </p:nvSpPr>
        <p:spPr>
          <a:xfrm>
            <a:off x="685800" y="5830756"/>
            <a:ext cx="10820400" cy="344619"/>
          </a:xfrm>
        </p:spPr>
        <p:txBody>
          <a:bodyPr anchor="b"/>
          <a:lstStyle>
            <a:lvl1pPr>
              <a:defRPr sz="800"/>
            </a:lvl1pPr>
            <a:lvl2pPr marL="0" indent="0">
              <a:buNone/>
              <a:defRPr/>
            </a:lvl2pPr>
          </a:lstStyle>
          <a:p>
            <a:pPr lvl="0"/>
            <a:r>
              <a:rPr lang="en-US"/>
              <a:t>Click to add footnote</a:t>
            </a:r>
          </a:p>
        </p:txBody>
      </p:sp>
    </p:spTree>
    <p:extLst>
      <p:ext uri="{BB962C8B-B14F-4D97-AF65-F5344CB8AC3E}">
        <p14:creationId xmlns:p14="http://schemas.microsoft.com/office/powerpoint/2010/main" val="7155535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207DFA4-66A8-6F4D-823B-7E0486FE1359}"/>
              </a:ext>
            </a:extLst>
          </p:cNvPr>
          <p:cNvGraphicFramePr>
            <a:graphicFrameLocks noChangeAspect="1"/>
          </p:cNvGraphicFramePr>
          <p:nvPr>
            <p:custDataLst>
              <p:tags r:id="rId2"/>
            </p:custDataLst>
            <p:extLst>
              <p:ext uri="{D42A27DB-BD31-4B8C-83A1-F6EECF244321}">
                <p14:modId xmlns:p14="http://schemas.microsoft.com/office/powerpoint/2010/main" val="2862057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505"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2207DFA4-66A8-6F4D-823B-7E0486FE135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6110F7E6-419E-7D4C-873C-F6B2B59B7D7D}"/>
              </a:ext>
            </a:extLst>
          </p:cNvPr>
          <p:cNvSpPr>
            <a:spLocks noGrp="1"/>
          </p:cNvSpPr>
          <p:nvPr>
            <p:ph type="body" sz="quarter" idx="10" hasCustomPrompt="1"/>
          </p:nvPr>
        </p:nvSpPr>
        <p:spPr>
          <a:xfrm>
            <a:off x="685800" y="5830756"/>
            <a:ext cx="10820400" cy="344619"/>
          </a:xfrm>
        </p:spPr>
        <p:txBody>
          <a:bodyPr anchor="b"/>
          <a:lstStyle>
            <a:lvl1pPr>
              <a:defRPr sz="800"/>
            </a:lvl1pPr>
            <a:lvl2pPr marL="0" indent="0">
              <a:buNone/>
              <a:defRPr/>
            </a:lvl2pPr>
          </a:lstStyle>
          <a:p>
            <a:pPr lvl="0"/>
            <a:r>
              <a:rPr lang="en-US"/>
              <a:t>Click to add footnote</a:t>
            </a:r>
          </a:p>
        </p:txBody>
      </p:sp>
    </p:spTree>
    <p:extLst>
      <p:ext uri="{BB962C8B-B14F-4D97-AF65-F5344CB8AC3E}">
        <p14:creationId xmlns:p14="http://schemas.microsoft.com/office/powerpoint/2010/main" val="8665373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219E1F1-2441-0547-8275-12DA6BCE99A5}"/>
              </a:ext>
            </a:extLst>
          </p:cNvPr>
          <p:cNvGraphicFramePr>
            <a:graphicFrameLocks noChangeAspect="1"/>
          </p:cNvGraphicFramePr>
          <p:nvPr>
            <p:custDataLst>
              <p:tags r:id="rId2"/>
            </p:custDataLst>
            <p:extLst>
              <p:ext uri="{D42A27DB-BD31-4B8C-83A1-F6EECF244321}">
                <p14:modId xmlns:p14="http://schemas.microsoft.com/office/powerpoint/2010/main" val="20077633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2249"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2219E1F1-2441-0547-8275-12DA6BCE99A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hasCustomPrompt="1"/>
          </p:nvPr>
        </p:nvSpPr>
        <p:spPr>
          <a:xfrm>
            <a:off x="685800" y="2940581"/>
            <a:ext cx="10820400" cy="1362075"/>
          </a:xfrm>
        </p:spPr>
        <p:txBody>
          <a:bodyPr vert="horz" anchor="t"/>
          <a:lstStyle>
            <a:lvl1pPr algn="l">
              <a:defRPr sz="4800" b="1" cap="none">
                <a:solidFill>
                  <a:schemeClr val="tx2"/>
                </a:solidFill>
              </a:defRPr>
            </a:lvl1pPr>
          </a:lstStyle>
          <a:p>
            <a:r>
              <a:rPr lang="en-US"/>
              <a:t>Click to add chapter title</a:t>
            </a:r>
          </a:p>
        </p:txBody>
      </p:sp>
      <p:sp>
        <p:nvSpPr>
          <p:cNvPr id="3" name="Text Placeholder 2"/>
          <p:cNvSpPr>
            <a:spLocks noGrp="1"/>
          </p:cNvSpPr>
          <p:nvPr>
            <p:ph type="body" idx="1" hasCustomPrompt="1"/>
          </p:nvPr>
        </p:nvSpPr>
        <p:spPr>
          <a:xfrm>
            <a:off x="685800" y="372531"/>
            <a:ext cx="1921933" cy="1362074"/>
          </a:xfrm>
        </p:spPr>
        <p:txBody>
          <a:bodyPr anchor="t"/>
          <a:lstStyle>
            <a:lvl1pPr marL="0" indent="0">
              <a:lnSpc>
                <a:spcPts val="9600"/>
              </a:lnSpc>
              <a:buNone/>
              <a:defRPr sz="96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a:t>
            </a:r>
          </a:p>
        </p:txBody>
      </p:sp>
    </p:spTree>
    <p:extLst>
      <p:ext uri="{BB962C8B-B14F-4D97-AF65-F5344CB8AC3E}">
        <p14:creationId xmlns:p14="http://schemas.microsoft.com/office/powerpoint/2010/main" val="27771832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secHead" preserve="1">
  <p:cSld name="Section Header 2">
    <p:bg>
      <p:bgPr>
        <a:solidFill>
          <a:srgbClr val="9AE6FF"/>
        </a:solidFill>
        <a:effectLst/>
      </p:bgPr>
    </p:bg>
    <p:spTree>
      <p:nvGrpSpPr>
        <p:cNvPr id="1" name=""/>
        <p:cNvGrpSpPr/>
        <p:nvPr/>
      </p:nvGrpSpPr>
      <p:grpSpPr>
        <a:xfrm>
          <a:off x="0" y="0"/>
          <a:ext cx="0" cy="0"/>
          <a:chOff x="0" y="0"/>
          <a:chExt cx="0" cy="0"/>
        </a:xfrm>
      </p:grpSpPr>
      <p:sp>
        <p:nvSpPr>
          <p:cNvPr id="10" name="Graphic 8">
            <a:extLst>
              <a:ext uri="{FF2B5EF4-FFF2-40B4-BE49-F238E27FC236}">
                <a16:creationId xmlns:a16="http://schemas.microsoft.com/office/drawing/2014/main" id="{3C511D3F-2071-ED45-989E-68FC6B425F31}"/>
              </a:ext>
            </a:extLst>
          </p:cNvPr>
          <p:cNvSpPr/>
          <p:nvPr/>
        </p:nvSpPr>
        <p:spPr>
          <a:xfrm>
            <a:off x="0" y="0"/>
            <a:ext cx="11492539" cy="6858127"/>
          </a:xfrm>
          <a:custGeom>
            <a:avLst/>
            <a:gdLst>
              <a:gd name="connsiteX0" fmla="*/ 11487961 w 11492539"/>
              <a:gd name="connsiteY0" fmla="*/ 3235325 h 6858127"/>
              <a:gd name="connsiteX1" fmla="*/ 10893784 w 11492539"/>
              <a:gd name="connsiteY1" fmla="*/ 719201 h 6858127"/>
              <a:gd name="connsiteX2" fmla="*/ 10376767 w 11492539"/>
              <a:gd name="connsiteY2" fmla="*/ 0 h 6858127"/>
              <a:gd name="connsiteX3" fmla="*/ 0 w 11492539"/>
              <a:gd name="connsiteY3" fmla="*/ 0 h 6858127"/>
              <a:gd name="connsiteX4" fmla="*/ 0 w 11492539"/>
              <a:gd name="connsiteY4" fmla="*/ 2732786 h 6858127"/>
              <a:gd name="connsiteX5" fmla="*/ 1632780 w 11492539"/>
              <a:gd name="connsiteY5" fmla="*/ 1555623 h 6858127"/>
              <a:gd name="connsiteX6" fmla="*/ 4061898 w 11492539"/>
              <a:gd name="connsiteY6" fmla="*/ 555752 h 6858127"/>
              <a:gd name="connsiteX7" fmla="*/ 5911307 w 11492539"/>
              <a:gd name="connsiteY7" fmla="*/ 311785 h 6858127"/>
              <a:gd name="connsiteX8" fmla="*/ 6309667 w 11492539"/>
              <a:gd name="connsiteY8" fmla="*/ 324485 h 6858127"/>
              <a:gd name="connsiteX9" fmla="*/ 9107575 w 11492539"/>
              <a:gd name="connsiteY9" fmla="*/ 1751203 h 6858127"/>
              <a:gd name="connsiteX10" fmla="*/ 9107575 w 11492539"/>
              <a:gd name="connsiteY10" fmla="*/ 1751203 h 6858127"/>
              <a:gd name="connsiteX11" fmla="*/ 8943231 w 11492539"/>
              <a:gd name="connsiteY11" fmla="*/ 4889500 h 6858127"/>
              <a:gd name="connsiteX12" fmla="*/ 7619215 w 11492539"/>
              <a:gd name="connsiteY12" fmla="*/ 6721983 h 6858127"/>
              <a:gd name="connsiteX13" fmla="*/ 7483425 w 11492539"/>
              <a:gd name="connsiteY13" fmla="*/ 6858127 h 6858127"/>
              <a:gd name="connsiteX14" fmla="*/ 10171814 w 11492539"/>
              <a:gd name="connsiteY14" fmla="*/ 6858127 h 6858127"/>
              <a:gd name="connsiteX15" fmla="*/ 10792133 w 11492539"/>
              <a:gd name="connsiteY15" fmla="*/ 5804027 h 6858127"/>
              <a:gd name="connsiteX16" fmla="*/ 11487961 w 11492539"/>
              <a:gd name="connsiteY16" fmla="*/ 3235325 h 6858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92539" h="6858127">
                <a:moveTo>
                  <a:pt x="11487961" y="3235325"/>
                </a:moveTo>
                <a:cubicBezTo>
                  <a:pt x="11526033" y="2315718"/>
                  <a:pt x="11326536" y="1469136"/>
                  <a:pt x="10893784" y="719201"/>
                </a:cubicBezTo>
                <a:cubicBezTo>
                  <a:pt x="10746055" y="462676"/>
                  <a:pt x="10572839" y="221722"/>
                  <a:pt x="10376767" y="0"/>
                </a:cubicBezTo>
                <a:lnTo>
                  <a:pt x="0" y="0"/>
                </a:lnTo>
                <a:lnTo>
                  <a:pt x="0" y="2732786"/>
                </a:lnTo>
                <a:cubicBezTo>
                  <a:pt x="502430" y="2285339"/>
                  <a:pt x="1049577" y="1890870"/>
                  <a:pt x="1632780" y="1555623"/>
                </a:cubicBezTo>
                <a:cubicBezTo>
                  <a:pt x="2416808" y="1102614"/>
                  <a:pt x="3234086" y="766191"/>
                  <a:pt x="4061898" y="555752"/>
                </a:cubicBezTo>
                <a:cubicBezTo>
                  <a:pt x="4700238" y="393700"/>
                  <a:pt x="5320430" y="311785"/>
                  <a:pt x="5911307" y="311785"/>
                </a:cubicBezTo>
                <a:cubicBezTo>
                  <a:pt x="6045574" y="311785"/>
                  <a:pt x="6178361" y="316018"/>
                  <a:pt x="6309667" y="324485"/>
                </a:cubicBezTo>
                <a:cubicBezTo>
                  <a:pt x="7632413" y="409829"/>
                  <a:pt x="8626091" y="916559"/>
                  <a:pt x="9107575" y="1751203"/>
                </a:cubicBezTo>
                <a:lnTo>
                  <a:pt x="9107575" y="1751203"/>
                </a:lnTo>
                <a:cubicBezTo>
                  <a:pt x="9589058" y="2585847"/>
                  <a:pt x="9530682" y="3700272"/>
                  <a:pt x="8943231" y="4889500"/>
                </a:cubicBezTo>
                <a:cubicBezTo>
                  <a:pt x="8628757" y="5526024"/>
                  <a:pt x="8183315" y="6142482"/>
                  <a:pt x="7619215" y="6721983"/>
                </a:cubicBezTo>
                <a:cubicBezTo>
                  <a:pt x="7574544" y="6767831"/>
                  <a:pt x="7529238" y="6813043"/>
                  <a:pt x="7483425" y="6858127"/>
                </a:cubicBezTo>
                <a:lnTo>
                  <a:pt x="10171814" y="6858127"/>
                </a:lnTo>
                <a:cubicBezTo>
                  <a:pt x="10403421" y="6522001"/>
                  <a:pt x="10610723" y="6169737"/>
                  <a:pt x="10792133" y="5804027"/>
                </a:cubicBezTo>
                <a:cubicBezTo>
                  <a:pt x="11218539" y="4940300"/>
                  <a:pt x="11452935" y="4076700"/>
                  <a:pt x="11487961" y="3235325"/>
                </a:cubicBezTo>
                <a:close/>
              </a:path>
            </a:pathLst>
          </a:custGeom>
          <a:gradFill flip="none" rotWithShape="1">
            <a:gsLst>
              <a:gs pos="0">
                <a:schemeClr val="accent2">
                  <a:alpha val="20000"/>
                </a:schemeClr>
              </a:gs>
              <a:gs pos="100000">
                <a:schemeClr val="accent2"/>
              </a:gs>
            </a:gsLst>
            <a:lin ang="0" scaled="1"/>
            <a:tileRect/>
          </a:gradFill>
          <a:ln w="12689" cap="flat">
            <a:noFill/>
            <a:prstDash val="solid"/>
            <a:miter/>
          </a:ln>
        </p:spPr>
        <p:txBody>
          <a:bodyPr rtlCol="0" anchor="ctr"/>
          <a:lstStyle/>
          <a:p>
            <a:endParaRPr lang="en-US" dirty="0"/>
          </a:p>
        </p:txBody>
      </p:sp>
      <p:graphicFrame>
        <p:nvGraphicFramePr>
          <p:cNvPr id="8" name="Object 7" hidden="1">
            <a:extLst>
              <a:ext uri="{FF2B5EF4-FFF2-40B4-BE49-F238E27FC236}">
                <a16:creationId xmlns:a16="http://schemas.microsoft.com/office/drawing/2014/main" id="{2219E1F1-2441-0547-8275-12DA6BCE99A5}"/>
              </a:ext>
            </a:extLst>
          </p:cNvPr>
          <p:cNvGraphicFramePr>
            <a:graphicFrameLocks noChangeAspect="1"/>
          </p:cNvGraphicFramePr>
          <p:nvPr>
            <p:custDataLst>
              <p:tags r:id="rId2"/>
            </p:custDataLst>
            <p:extLst>
              <p:ext uri="{D42A27DB-BD31-4B8C-83A1-F6EECF244321}">
                <p14:modId xmlns:p14="http://schemas.microsoft.com/office/powerpoint/2010/main" val="2799525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3273"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2219E1F1-2441-0547-8275-12DA6BCE99A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hasCustomPrompt="1"/>
          </p:nvPr>
        </p:nvSpPr>
        <p:spPr>
          <a:xfrm>
            <a:off x="685800" y="2940581"/>
            <a:ext cx="10820400" cy="1362075"/>
          </a:xfrm>
        </p:spPr>
        <p:txBody>
          <a:bodyPr vert="horz" anchor="t"/>
          <a:lstStyle>
            <a:lvl1pPr algn="l">
              <a:defRPr sz="4800" b="1" cap="none">
                <a:solidFill>
                  <a:schemeClr val="tx2"/>
                </a:solidFill>
              </a:defRPr>
            </a:lvl1pPr>
          </a:lstStyle>
          <a:p>
            <a:r>
              <a:rPr lang="en-US"/>
              <a:t>Click to add chapter title</a:t>
            </a:r>
          </a:p>
        </p:txBody>
      </p:sp>
      <p:sp>
        <p:nvSpPr>
          <p:cNvPr id="3" name="Text Placeholder 2"/>
          <p:cNvSpPr>
            <a:spLocks noGrp="1"/>
          </p:cNvSpPr>
          <p:nvPr>
            <p:ph type="body" idx="1" hasCustomPrompt="1"/>
          </p:nvPr>
        </p:nvSpPr>
        <p:spPr>
          <a:xfrm>
            <a:off x="685800" y="372530"/>
            <a:ext cx="1921933" cy="1362075"/>
          </a:xfrm>
        </p:spPr>
        <p:txBody>
          <a:bodyPr anchor="t"/>
          <a:lstStyle>
            <a:lvl1pPr marL="0" indent="0">
              <a:lnSpc>
                <a:spcPts val="9600"/>
              </a:lnSpc>
              <a:buNone/>
              <a:defRPr sz="96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a:t>
            </a:r>
          </a:p>
        </p:txBody>
      </p:sp>
      <p:pic>
        <p:nvPicPr>
          <p:cNvPr id="11" name="Graphic 10">
            <a:extLst>
              <a:ext uri="{FF2B5EF4-FFF2-40B4-BE49-F238E27FC236}">
                <a16:creationId xmlns:a16="http://schemas.microsoft.com/office/drawing/2014/main" id="{B607C2F5-FD74-744A-B328-1C68348DE69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85800" y="6345528"/>
            <a:ext cx="1377950" cy="294075"/>
          </a:xfrm>
          <a:prstGeom prst="rect">
            <a:avLst/>
          </a:prstGeom>
        </p:spPr>
      </p:pic>
      <p:sp>
        <p:nvSpPr>
          <p:cNvPr id="12" name="TextBox 11">
            <a:extLst>
              <a:ext uri="{FF2B5EF4-FFF2-40B4-BE49-F238E27FC236}">
                <a16:creationId xmlns:a16="http://schemas.microsoft.com/office/drawing/2014/main" id="{905F9B49-F9DD-9445-B754-3E4743DAACF1}"/>
              </a:ext>
            </a:extLst>
          </p:cNvPr>
          <p:cNvSpPr txBox="1"/>
          <p:nvPr/>
        </p:nvSpPr>
        <p:spPr>
          <a:xfrm>
            <a:off x="8601075" y="6368176"/>
            <a:ext cx="2223686" cy="246221"/>
          </a:xfrm>
          <a:prstGeom prst="rect">
            <a:avLst/>
          </a:prstGeom>
          <a:noFill/>
        </p:spPr>
        <p:txBody>
          <a:bodyPr wrap="none" lIns="0" tIns="0" rIns="0" bIns="0" rtlCol="0" anchor="b">
            <a:noAutofit/>
          </a:bodyPr>
          <a:lstStyle/>
          <a:p>
            <a:pPr algn="r"/>
            <a:r>
              <a:rPr lang="en-US" sz="1000" dirty="0">
                <a:solidFill>
                  <a:schemeClr val="tx1"/>
                </a:solidFill>
              </a:rPr>
              <a:t>Confidential—do not copy or distribute</a:t>
            </a:r>
          </a:p>
        </p:txBody>
      </p:sp>
      <p:sp>
        <p:nvSpPr>
          <p:cNvPr id="13" name="TextBox 12">
            <a:extLst>
              <a:ext uri="{FF2B5EF4-FFF2-40B4-BE49-F238E27FC236}">
                <a16:creationId xmlns:a16="http://schemas.microsoft.com/office/drawing/2014/main" id="{7E679624-3C66-4444-B406-9C3376A5AE36}"/>
              </a:ext>
            </a:extLst>
          </p:cNvPr>
          <p:cNvSpPr txBox="1"/>
          <p:nvPr/>
        </p:nvSpPr>
        <p:spPr>
          <a:xfrm>
            <a:off x="11162512" y="6368176"/>
            <a:ext cx="335349" cy="246221"/>
          </a:xfrm>
          <a:prstGeom prst="rect">
            <a:avLst/>
          </a:prstGeom>
          <a:noFill/>
        </p:spPr>
        <p:txBody>
          <a:bodyPr wrap="none" lIns="0" tIns="0" rIns="0" bIns="0" rtlCol="0" anchor="b">
            <a:noAutofit/>
          </a:bodyPr>
          <a:lstStyle/>
          <a:p>
            <a:pPr algn="r"/>
            <a:fld id="{25DB8DF5-C232-BC4C-8CE4-28A3F4FC6C77}" type="slidenum">
              <a:rPr lang="en-US" sz="1000" smtClean="0">
                <a:solidFill>
                  <a:schemeClr val="tx1"/>
                </a:solidFill>
              </a:rPr>
              <a:t>‹#›</a:t>
            </a:fld>
            <a:endParaRPr lang="en-US" sz="1000" dirty="0">
              <a:solidFill>
                <a:schemeClr val="tx1"/>
              </a:solidFill>
            </a:endParaRPr>
          </a:p>
        </p:txBody>
      </p:sp>
    </p:spTree>
    <p:extLst>
      <p:ext uri="{BB962C8B-B14F-4D97-AF65-F5344CB8AC3E}">
        <p14:creationId xmlns:p14="http://schemas.microsoft.com/office/powerpoint/2010/main" val="27424865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BC4F0E7-7A71-CD4B-892C-E037C95A85FF}"/>
              </a:ext>
            </a:extLst>
          </p:cNvPr>
          <p:cNvGraphicFramePr>
            <a:graphicFrameLocks noChangeAspect="1"/>
          </p:cNvGraphicFramePr>
          <p:nvPr>
            <p:custDataLst>
              <p:tags r:id="rId2"/>
            </p:custDataLst>
            <p:extLst>
              <p:ext uri="{D42A27DB-BD31-4B8C-83A1-F6EECF244321}">
                <p14:modId xmlns:p14="http://schemas.microsoft.com/office/powerpoint/2010/main" val="14557157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4297"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BBC4F0E7-7A71-CD4B-892C-E037C95A85F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
        <p:nvSpPr>
          <p:cNvPr id="3" name="Content Placeholder 2"/>
          <p:cNvSpPr>
            <a:spLocks noGrp="1"/>
          </p:cNvSpPr>
          <p:nvPr>
            <p:ph sz="half" idx="1"/>
          </p:nvPr>
        </p:nvSpPr>
        <p:spPr>
          <a:xfrm>
            <a:off x="685800" y="1545336"/>
            <a:ext cx="5181600" cy="4123944"/>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24602" y="1545336"/>
            <a:ext cx="5181598" cy="4123944"/>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a:extLst>
              <a:ext uri="{FF2B5EF4-FFF2-40B4-BE49-F238E27FC236}">
                <a16:creationId xmlns:a16="http://schemas.microsoft.com/office/drawing/2014/main" id="{BE1CFF2A-43F1-D94B-93AF-F563A6206EC4}"/>
              </a:ext>
            </a:extLst>
          </p:cNvPr>
          <p:cNvSpPr>
            <a:spLocks noGrp="1"/>
          </p:cNvSpPr>
          <p:nvPr>
            <p:ph type="body" sz="quarter" idx="10" hasCustomPrompt="1"/>
          </p:nvPr>
        </p:nvSpPr>
        <p:spPr>
          <a:xfrm>
            <a:off x="685800" y="5830756"/>
            <a:ext cx="10820400" cy="344619"/>
          </a:xfrm>
        </p:spPr>
        <p:txBody>
          <a:bodyPr anchor="b"/>
          <a:lstStyle>
            <a:lvl1pPr>
              <a:defRPr sz="800"/>
            </a:lvl1pPr>
            <a:lvl2pPr marL="0" indent="0">
              <a:buNone/>
              <a:defRPr/>
            </a:lvl2pPr>
          </a:lstStyle>
          <a:p>
            <a:pPr lvl="0"/>
            <a:r>
              <a:rPr lang="en-US"/>
              <a:t>Click to add footnote</a:t>
            </a:r>
          </a:p>
        </p:txBody>
      </p:sp>
    </p:spTree>
    <p:extLst>
      <p:ext uri="{BB962C8B-B14F-4D97-AF65-F5344CB8AC3E}">
        <p14:creationId xmlns:p14="http://schemas.microsoft.com/office/powerpoint/2010/main" val="680917131"/>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BC4F0E7-7A71-CD4B-892C-E037C95A85FF}"/>
              </a:ext>
            </a:extLst>
          </p:cNvPr>
          <p:cNvGraphicFramePr>
            <a:graphicFrameLocks noChangeAspect="1"/>
          </p:cNvGraphicFramePr>
          <p:nvPr>
            <p:custDataLst>
              <p:tags r:id="rId2"/>
            </p:custDataLst>
            <p:extLst>
              <p:ext uri="{D42A27DB-BD31-4B8C-83A1-F6EECF244321}">
                <p14:modId xmlns:p14="http://schemas.microsoft.com/office/powerpoint/2010/main" val="39647538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5321"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BBC4F0E7-7A71-CD4B-892C-E037C95A85F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685800" y="419100"/>
            <a:ext cx="10820400" cy="960438"/>
          </a:xfrm>
        </p:spPr>
        <p:txBody>
          <a:bodyPr vert="horz"/>
          <a:lstStyle/>
          <a:p>
            <a:r>
              <a:rPr lang="en-US"/>
              <a:t>Click to edit Master title style</a:t>
            </a:r>
          </a:p>
        </p:txBody>
      </p:sp>
      <p:sp>
        <p:nvSpPr>
          <p:cNvPr id="3" name="Content Placeholder 2"/>
          <p:cNvSpPr>
            <a:spLocks noGrp="1"/>
          </p:cNvSpPr>
          <p:nvPr>
            <p:ph sz="half" idx="1"/>
          </p:nvPr>
        </p:nvSpPr>
        <p:spPr>
          <a:xfrm>
            <a:off x="685800" y="1545336"/>
            <a:ext cx="3291840" cy="412394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454652" y="1545336"/>
            <a:ext cx="3291840" cy="412394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a:extLst>
              <a:ext uri="{FF2B5EF4-FFF2-40B4-BE49-F238E27FC236}">
                <a16:creationId xmlns:a16="http://schemas.microsoft.com/office/drawing/2014/main" id="{BE1CFF2A-43F1-D94B-93AF-F563A6206EC4}"/>
              </a:ext>
            </a:extLst>
          </p:cNvPr>
          <p:cNvSpPr>
            <a:spLocks noGrp="1"/>
          </p:cNvSpPr>
          <p:nvPr>
            <p:ph type="body" sz="quarter" idx="10" hasCustomPrompt="1"/>
          </p:nvPr>
        </p:nvSpPr>
        <p:spPr>
          <a:xfrm>
            <a:off x="685800" y="5830756"/>
            <a:ext cx="10820400" cy="344619"/>
          </a:xfrm>
        </p:spPr>
        <p:txBody>
          <a:bodyPr anchor="b"/>
          <a:lstStyle>
            <a:lvl1pPr>
              <a:defRPr sz="800"/>
            </a:lvl1pPr>
            <a:lvl2pPr marL="0" indent="0">
              <a:buNone/>
              <a:defRPr/>
            </a:lvl2pPr>
          </a:lstStyle>
          <a:p>
            <a:pPr lvl="0"/>
            <a:r>
              <a:rPr lang="en-US"/>
              <a:t>Click to add footnote</a:t>
            </a:r>
          </a:p>
        </p:txBody>
      </p:sp>
      <p:sp>
        <p:nvSpPr>
          <p:cNvPr id="11" name="Content Placeholder 3">
            <a:extLst>
              <a:ext uri="{FF2B5EF4-FFF2-40B4-BE49-F238E27FC236}">
                <a16:creationId xmlns:a16="http://schemas.microsoft.com/office/drawing/2014/main" id="{5D0F65DE-7BEC-F24C-B544-263760C6321F}"/>
              </a:ext>
            </a:extLst>
          </p:cNvPr>
          <p:cNvSpPr>
            <a:spLocks noGrp="1"/>
          </p:cNvSpPr>
          <p:nvPr>
            <p:ph sz="half" idx="11"/>
          </p:nvPr>
        </p:nvSpPr>
        <p:spPr>
          <a:xfrm>
            <a:off x="8214360" y="1545336"/>
            <a:ext cx="3291840" cy="412394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0563501"/>
      </p:ext>
    </p:extLst>
  </p:cSld>
  <p:clrMapOvr>
    <a:masterClrMapping/>
  </p:clrMapOvr>
  <p:extLst>
    <p:ext uri="{DCECCB84-F9BA-43D5-87BE-67443E8EF086}">
      <p15:sldGuideLst xmlns:p15="http://schemas.microsoft.com/office/powerpoint/2012/main">
        <p15:guide id="1" pos="2506">
          <p15:clr>
            <a:srgbClr val="FBAE40"/>
          </p15:clr>
        </p15:guide>
        <p15:guide id="2" pos="2801">
          <p15:clr>
            <a:srgbClr val="FBAE40"/>
          </p15:clr>
        </p15:guide>
        <p15:guide id="3" pos="4880">
          <p15:clr>
            <a:srgbClr val="FBAE40"/>
          </p15:clr>
        </p15:guide>
        <p15:guide id="4" pos="5169">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BC4F0E7-7A71-CD4B-892C-E037C95A85FF}"/>
              </a:ext>
            </a:extLst>
          </p:cNvPr>
          <p:cNvGraphicFramePr>
            <a:graphicFrameLocks noChangeAspect="1"/>
          </p:cNvGraphicFramePr>
          <p:nvPr>
            <p:custDataLst>
              <p:tags r:id="rId2"/>
            </p:custDataLst>
            <p:extLst>
              <p:ext uri="{D42A27DB-BD31-4B8C-83A1-F6EECF244321}">
                <p14:modId xmlns:p14="http://schemas.microsoft.com/office/powerpoint/2010/main" val="38252157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6345"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BBC4F0E7-7A71-CD4B-892C-E037C95A85F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685800" y="419100"/>
            <a:ext cx="10820400" cy="960438"/>
          </a:xfrm>
        </p:spPr>
        <p:txBody>
          <a:bodyPr vert="horz"/>
          <a:lstStyle/>
          <a:p>
            <a:r>
              <a:rPr lang="en-US"/>
              <a:t>Click to edit Master title style</a:t>
            </a:r>
          </a:p>
        </p:txBody>
      </p:sp>
      <p:sp>
        <p:nvSpPr>
          <p:cNvPr id="3" name="Content Placeholder 2"/>
          <p:cNvSpPr>
            <a:spLocks noGrp="1"/>
          </p:cNvSpPr>
          <p:nvPr>
            <p:ph sz="half" idx="1"/>
          </p:nvPr>
        </p:nvSpPr>
        <p:spPr>
          <a:xfrm>
            <a:off x="685800" y="1545336"/>
            <a:ext cx="2441575" cy="412394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476625" y="1545336"/>
            <a:ext cx="2441575" cy="412394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a:extLst>
              <a:ext uri="{FF2B5EF4-FFF2-40B4-BE49-F238E27FC236}">
                <a16:creationId xmlns:a16="http://schemas.microsoft.com/office/drawing/2014/main" id="{BE1CFF2A-43F1-D94B-93AF-F563A6206EC4}"/>
              </a:ext>
            </a:extLst>
          </p:cNvPr>
          <p:cNvSpPr>
            <a:spLocks noGrp="1"/>
          </p:cNvSpPr>
          <p:nvPr>
            <p:ph type="body" sz="quarter" idx="10" hasCustomPrompt="1"/>
          </p:nvPr>
        </p:nvSpPr>
        <p:spPr>
          <a:xfrm>
            <a:off x="685800" y="5830756"/>
            <a:ext cx="10820400" cy="344619"/>
          </a:xfrm>
        </p:spPr>
        <p:txBody>
          <a:bodyPr anchor="b"/>
          <a:lstStyle>
            <a:lvl1pPr>
              <a:defRPr sz="800"/>
            </a:lvl1pPr>
            <a:lvl2pPr marL="0" indent="0">
              <a:buNone/>
              <a:defRPr/>
            </a:lvl2pPr>
          </a:lstStyle>
          <a:p>
            <a:pPr lvl="0"/>
            <a:r>
              <a:rPr lang="en-US"/>
              <a:t>Click to add footnote</a:t>
            </a:r>
          </a:p>
        </p:txBody>
      </p:sp>
      <p:sp>
        <p:nvSpPr>
          <p:cNvPr id="11" name="Content Placeholder 3">
            <a:extLst>
              <a:ext uri="{FF2B5EF4-FFF2-40B4-BE49-F238E27FC236}">
                <a16:creationId xmlns:a16="http://schemas.microsoft.com/office/drawing/2014/main" id="{5D0F65DE-7BEC-F24C-B544-263760C6321F}"/>
              </a:ext>
            </a:extLst>
          </p:cNvPr>
          <p:cNvSpPr>
            <a:spLocks noGrp="1"/>
          </p:cNvSpPr>
          <p:nvPr>
            <p:ph sz="half" idx="11"/>
          </p:nvPr>
        </p:nvSpPr>
        <p:spPr>
          <a:xfrm>
            <a:off x="6273802" y="1545336"/>
            <a:ext cx="2441575" cy="412394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C8167C8-4843-0343-8726-95415F9FBF94}"/>
              </a:ext>
            </a:extLst>
          </p:cNvPr>
          <p:cNvSpPr>
            <a:spLocks noGrp="1"/>
          </p:cNvSpPr>
          <p:nvPr>
            <p:ph sz="half" idx="12"/>
          </p:nvPr>
        </p:nvSpPr>
        <p:spPr>
          <a:xfrm>
            <a:off x="9061450" y="1545336"/>
            <a:ext cx="2444750" cy="412394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2503578"/>
      </p:ext>
    </p:extLst>
  </p:cSld>
  <p:clrMapOvr>
    <a:masterClrMapping/>
  </p:clrMapOvr>
  <p:extLst>
    <p:ext uri="{DCECCB84-F9BA-43D5-87BE-67443E8EF086}">
      <p15:sldGuideLst xmlns:p15="http://schemas.microsoft.com/office/powerpoint/2012/main">
        <p15:guide id="1" pos="1970">
          <p15:clr>
            <a:srgbClr val="FBAE40"/>
          </p15:clr>
        </p15:guide>
        <p15:guide id="2" pos="2190">
          <p15:clr>
            <a:srgbClr val="FBAE40"/>
          </p15:clr>
        </p15:guide>
        <p15:guide id="3" pos="3948">
          <p15:clr>
            <a:srgbClr val="FBAE40"/>
          </p15:clr>
        </p15:guide>
        <p15:guide id="4" pos="5486">
          <p15:clr>
            <a:srgbClr val="FBAE40"/>
          </p15:clr>
        </p15:guide>
        <p15:guide id="5" pos="3728">
          <p15:clr>
            <a:srgbClr val="FBAE40"/>
          </p15:clr>
        </p15:guide>
        <p15:guide id="6" pos="570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F9CC1DC-27E2-0D44-931C-EED07AE3943A}"/>
              </a:ext>
            </a:extLst>
          </p:cNvPr>
          <p:cNvGraphicFramePr>
            <a:graphicFrameLocks noChangeAspect="1"/>
          </p:cNvGraphicFramePr>
          <p:nvPr>
            <p:custDataLst>
              <p:tags r:id="rId2"/>
            </p:custDataLst>
            <p:extLst>
              <p:ext uri="{D42A27DB-BD31-4B8C-83A1-F6EECF244321}">
                <p14:modId xmlns:p14="http://schemas.microsoft.com/office/powerpoint/2010/main" val="4027140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7369"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8F9CC1DC-27E2-0D44-931C-EED07AE3943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89059538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947279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ontent and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BC4F0E7-7A71-CD4B-892C-E037C95A85FF}"/>
              </a:ext>
            </a:extLst>
          </p:cNvPr>
          <p:cNvGraphicFramePr>
            <a:graphicFrameLocks noChangeAspect="1"/>
          </p:cNvGraphicFramePr>
          <p:nvPr>
            <p:custDataLst>
              <p:tags r:id="rId2"/>
            </p:custDataLst>
            <p:extLst>
              <p:ext uri="{D42A27DB-BD31-4B8C-83A1-F6EECF244321}">
                <p14:modId xmlns:p14="http://schemas.microsoft.com/office/powerpoint/2010/main" val="132953860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8393"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BBC4F0E7-7A71-CD4B-892C-E037C95A85F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
        <p:nvSpPr>
          <p:cNvPr id="3" name="Content Placeholder 2"/>
          <p:cNvSpPr>
            <a:spLocks noGrp="1"/>
          </p:cNvSpPr>
          <p:nvPr>
            <p:ph sz="half" idx="1"/>
          </p:nvPr>
        </p:nvSpPr>
        <p:spPr>
          <a:xfrm>
            <a:off x="685800" y="1545336"/>
            <a:ext cx="5181600" cy="4123944"/>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a:extLst>
              <a:ext uri="{FF2B5EF4-FFF2-40B4-BE49-F238E27FC236}">
                <a16:creationId xmlns:a16="http://schemas.microsoft.com/office/drawing/2014/main" id="{BE1CFF2A-43F1-D94B-93AF-F563A6206EC4}"/>
              </a:ext>
            </a:extLst>
          </p:cNvPr>
          <p:cNvSpPr>
            <a:spLocks noGrp="1"/>
          </p:cNvSpPr>
          <p:nvPr>
            <p:ph type="body" sz="quarter" idx="10" hasCustomPrompt="1"/>
          </p:nvPr>
        </p:nvSpPr>
        <p:spPr>
          <a:xfrm>
            <a:off x="685800" y="5830756"/>
            <a:ext cx="5181600" cy="344619"/>
          </a:xfrm>
        </p:spPr>
        <p:txBody>
          <a:bodyPr anchor="b"/>
          <a:lstStyle>
            <a:lvl1pPr>
              <a:defRPr sz="800"/>
            </a:lvl1pPr>
            <a:lvl2pPr marL="0" indent="0">
              <a:buNone/>
              <a:defRPr/>
            </a:lvl2pPr>
          </a:lstStyle>
          <a:p>
            <a:pPr lvl="0"/>
            <a:r>
              <a:rPr lang="en-US"/>
              <a:t>Click to add footnote</a:t>
            </a:r>
          </a:p>
        </p:txBody>
      </p:sp>
      <p:sp>
        <p:nvSpPr>
          <p:cNvPr id="6" name="Picture Placeholder 5">
            <a:extLst>
              <a:ext uri="{FF2B5EF4-FFF2-40B4-BE49-F238E27FC236}">
                <a16:creationId xmlns:a16="http://schemas.microsoft.com/office/drawing/2014/main" id="{DE5C0F5A-1D2E-AB42-9962-83B986F457F9}"/>
              </a:ext>
            </a:extLst>
          </p:cNvPr>
          <p:cNvSpPr>
            <a:spLocks noGrp="1"/>
          </p:cNvSpPr>
          <p:nvPr>
            <p:ph type="pic" sz="quarter" idx="11"/>
          </p:nvPr>
        </p:nvSpPr>
        <p:spPr>
          <a:xfrm>
            <a:off x="6324600" y="1600200"/>
            <a:ext cx="5181600" cy="4575175"/>
          </a:xfrm>
        </p:spPr>
        <p:txBody>
          <a:bodyPr/>
          <a:lstStyle>
            <a:lvl1pPr>
              <a:defRPr sz="1200">
                <a:solidFill>
                  <a:schemeClr val="accent5"/>
                </a:solidFill>
              </a:defRPr>
            </a:lvl1pPr>
          </a:lstStyle>
          <a:p>
            <a:r>
              <a:rPr lang="en-US" dirty="0"/>
              <a:t>Click icon to add picture</a:t>
            </a:r>
          </a:p>
        </p:txBody>
      </p:sp>
    </p:spTree>
    <p:extLst>
      <p:ext uri="{BB962C8B-B14F-4D97-AF65-F5344CB8AC3E}">
        <p14:creationId xmlns:p14="http://schemas.microsoft.com/office/powerpoint/2010/main" val="858460537"/>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BC4F0E7-7A71-CD4B-892C-E037C95A85FF}"/>
              </a:ext>
            </a:extLst>
          </p:cNvPr>
          <p:cNvGraphicFramePr>
            <a:graphicFrameLocks noChangeAspect="1"/>
          </p:cNvGraphicFramePr>
          <p:nvPr>
            <p:custDataLst>
              <p:tags r:id="rId2"/>
            </p:custDataLst>
            <p:extLst>
              <p:ext uri="{D42A27DB-BD31-4B8C-83A1-F6EECF244321}">
                <p14:modId xmlns:p14="http://schemas.microsoft.com/office/powerpoint/2010/main" val="18989983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9417"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BBC4F0E7-7A71-CD4B-892C-E037C95A85F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9902681-C126-1945-8FB5-CDCBA10AC104}"/>
              </a:ext>
            </a:extLst>
          </p:cNvPr>
          <p:cNvSpPr>
            <a:spLocks noGrp="1"/>
          </p:cNvSpPr>
          <p:nvPr>
            <p:ph type="body" sz="quarter" idx="10" hasCustomPrompt="1"/>
          </p:nvPr>
        </p:nvSpPr>
        <p:spPr>
          <a:xfrm>
            <a:off x="685800" y="1451222"/>
            <a:ext cx="7061200" cy="4645025"/>
          </a:xfrm>
        </p:spPr>
        <p:txBody>
          <a:bodyPr/>
          <a:lstStyle>
            <a:lvl1pPr>
              <a:defRPr sz="4800">
                <a:solidFill>
                  <a:schemeClr val="tx2"/>
                </a:solidFill>
              </a:defRPr>
            </a:lvl1pPr>
            <a:lvl2pPr marL="293688" indent="-293688">
              <a:buFont typeface="System Font Regular"/>
              <a:buChar char="—"/>
              <a:defRPr sz="2400" b="1">
                <a:solidFill>
                  <a:schemeClr val="tx2"/>
                </a:solidFill>
              </a:defRPr>
            </a:lvl2pPr>
          </a:lstStyle>
          <a:p>
            <a:pPr lvl="0"/>
            <a:r>
              <a:rPr lang="en-US"/>
              <a:t>Click to add quote</a:t>
            </a:r>
          </a:p>
          <a:p>
            <a:pPr lvl="1"/>
            <a:r>
              <a:rPr lang="en-US"/>
              <a:t>Quote attribution</a:t>
            </a:r>
          </a:p>
        </p:txBody>
      </p:sp>
      <p:sp>
        <p:nvSpPr>
          <p:cNvPr id="17" name="Freeform 16">
            <a:extLst>
              <a:ext uri="{FF2B5EF4-FFF2-40B4-BE49-F238E27FC236}">
                <a16:creationId xmlns:a16="http://schemas.microsoft.com/office/drawing/2014/main" id="{4574A430-1352-8D46-9275-A265880BF00E}"/>
              </a:ext>
            </a:extLst>
          </p:cNvPr>
          <p:cNvSpPr/>
          <p:nvPr/>
        </p:nvSpPr>
        <p:spPr>
          <a:xfrm>
            <a:off x="8205752" y="505"/>
            <a:ext cx="3296004" cy="2589680"/>
          </a:xfrm>
          <a:custGeom>
            <a:avLst/>
            <a:gdLst>
              <a:gd name="connsiteX0" fmla="*/ 2126516 w 3296004"/>
              <a:gd name="connsiteY0" fmla="*/ 0 h 2589680"/>
              <a:gd name="connsiteX1" fmla="*/ 2965963 w 3296004"/>
              <a:gd name="connsiteY1" fmla="*/ 0 h 2589680"/>
              <a:gd name="connsiteX2" fmla="*/ 3296004 w 3296004"/>
              <a:gd name="connsiteY2" fmla="*/ 707390 h 2589680"/>
              <a:gd name="connsiteX3" fmla="*/ 2268814 w 3296004"/>
              <a:gd name="connsiteY3" fmla="*/ 2518815 h 2589680"/>
              <a:gd name="connsiteX4" fmla="*/ 2085768 w 3296004"/>
              <a:gd name="connsiteY4" fmla="*/ 2589680 h 2589680"/>
              <a:gd name="connsiteX5" fmla="*/ 1933442 w 3296004"/>
              <a:gd name="connsiteY5" fmla="*/ 2498604 h 2589680"/>
              <a:gd name="connsiteX6" fmla="*/ 1831890 w 3296004"/>
              <a:gd name="connsiteY6" fmla="*/ 2377211 h 2589680"/>
              <a:gd name="connsiteX7" fmla="*/ 1862483 w 3296004"/>
              <a:gd name="connsiteY7" fmla="*/ 2154509 h 2589680"/>
              <a:gd name="connsiteX8" fmla="*/ 2279350 w 3296004"/>
              <a:gd name="connsiteY8" fmla="*/ 1425897 h 2589680"/>
              <a:gd name="connsiteX9" fmla="*/ 1862483 w 3296004"/>
              <a:gd name="connsiteY9" fmla="*/ 535343 h 2589680"/>
              <a:gd name="connsiteX10" fmla="*/ 2126516 w 3296004"/>
              <a:gd name="connsiteY10" fmla="*/ 0 h 2589680"/>
              <a:gd name="connsiteX11" fmla="*/ 337184 w 3296004"/>
              <a:gd name="connsiteY11" fmla="*/ 0 h 2589680"/>
              <a:gd name="connsiteX12" fmla="*/ 1176505 w 3296004"/>
              <a:gd name="connsiteY12" fmla="*/ 0 h 2589680"/>
              <a:gd name="connsiteX13" fmla="*/ 1506546 w 3296004"/>
              <a:gd name="connsiteY13" fmla="*/ 707390 h 2589680"/>
              <a:gd name="connsiteX14" fmla="*/ 479483 w 3296004"/>
              <a:gd name="connsiteY14" fmla="*/ 2518815 h 2589680"/>
              <a:gd name="connsiteX15" fmla="*/ 296437 w 3296004"/>
              <a:gd name="connsiteY15" fmla="*/ 2589680 h 2589680"/>
              <a:gd name="connsiteX16" fmla="*/ 144110 w 3296004"/>
              <a:gd name="connsiteY16" fmla="*/ 2498604 h 2589680"/>
              <a:gd name="connsiteX17" fmla="*/ 42559 w 3296004"/>
              <a:gd name="connsiteY17" fmla="*/ 2377211 h 2589680"/>
              <a:gd name="connsiteX18" fmla="*/ 73025 w 3296004"/>
              <a:gd name="connsiteY18" fmla="*/ 2154509 h 2589680"/>
              <a:gd name="connsiteX19" fmla="*/ 490019 w 3296004"/>
              <a:gd name="connsiteY19" fmla="*/ 1425897 h 2589680"/>
              <a:gd name="connsiteX20" fmla="*/ 73025 w 3296004"/>
              <a:gd name="connsiteY20" fmla="*/ 535343 h 2589680"/>
              <a:gd name="connsiteX21" fmla="*/ 337184 w 3296004"/>
              <a:gd name="connsiteY21" fmla="*/ 0 h 258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296004" h="2589680">
                <a:moveTo>
                  <a:pt x="2126516" y="0"/>
                </a:moveTo>
                <a:lnTo>
                  <a:pt x="2965963" y="0"/>
                </a:lnTo>
                <a:cubicBezTo>
                  <a:pt x="3172112" y="161437"/>
                  <a:pt x="3296004" y="438582"/>
                  <a:pt x="3296004" y="707390"/>
                </a:cubicBezTo>
                <a:cubicBezTo>
                  <a:pt x="3296004" y="1446108"/>
                  <a:pt x="2848544" y="2114592"/>
                  <a:pt x="2268814" y="2518815"/>
                </a:cubicBezTo>
                <a:cubicBezTo>
                  <a:pt x="2197601" y="2569469"/>
                  <a:pt x="2136544" y="2589680"/>
                  <a:pt x="2085768" y="2589680"/>
                </a:cubicBezTo>
                <a:cubicBezTo>
                  <a:pt x="2024965" y="2589680"/>
                  <a:pt x="1984217" y="2559364"/>
                  <a:pt x="1933442" y="2498604"/>
                </a:cubicBezTo>
                <a:lnTo>
                  <a:pt x="1831890" y="2377211"/>
                </a:lnTo>
                <a:cubicBezTo>
                  <a:pt x="1770960" y="2296240"/>
                  <a:pt x="1770960" y="2245586"/>
                  <a:pt x="1862483" y="2154509"/>
                </a:cubicBezTo>
                <a:cubicBezTo>
                  <a:pt x="2065839" y="1952145"/>
                  <a:pt x="2279350" y="1668810"/>
                  <a:pt x="2279350" y="1425897"/>
                </a:cubicBezTo>
                <a:cubicBezTo>
                  <a:pt x="2279350" y="1122351"/>
                  <a:pt x="1862483" y="899649"/>
                  <a:pt x="1862483" y="535343"/>
                </a:cubicBezTo>
                <a:cubicBezTo>
                  <a:pt x="1859909" y="325260"/>
                  <a:pt x="1957941" y="126494"/>
                  <a:pt x="2126516" y="0"/>
                </a:cubicBezTo>
                <a:close/>
                <a:moveTo>
                  <a:pt x="337184" y="0"/>
                </a:moveTo>
                <a:lnTo>
                  <a:pt x="1176505" y="0"/>
                </a:lnTo>
                <a:cubicBezTo>
                  <a:pt x="1382653" y="161437"/>
                  <a:pt x="1506546" y="438582"/>
                  <a:pt x="1506546" y="707390"/>
                </a:cubicBezTo>
                <a:cubicBezTo>
                  <a:pt x="1506546" y="1446108"/>
                  <a:pt x="1059086" y="2114592"/>
                  <a:pt x="479483" y="2518815"/>
                </a:cubicBezTo>
                <a:cubicBezTo>
                  <a:pt x="408270" y="2569469"/>
                  <a:pt x="347213" y="2589680"/>
                  <a:pt x="296437" y="2589680"/>
                </a:cubicBezTo>
                <a:cubicBezTo>
                  <a:pt x="235633" y="2589680"/>
                  <a:pt x="194886" y="2559364"/>
                  <a:pt x="144110" y="2498604"/>
                </a:cubicBezTo>
                <a:lnTo>
                  <a:pt x="42559" y="2377211"/>
                </a:lnTo>
                <a:cubicBezTo>
                  <a:pt x="-18498" y="2296240"/>
                  <a:pt x="-18498" y="2245586"/>
                  <a:pt x="73025" y="2154509"/>
                </a:cubicBezTo>
                <a:cubicBezTo>
                  <a:pt x="276508" y="1952145"/>
                  <a:pt x="490019" y="1668810"/>
                  <a:pt x="490019" y="1425897"/>
                </a:cubicBezTo>
                <a:cubicBezTo>
                  <a:pt x="490019" y="1122351"/>
                  <a:pt x="73025" y="899649"/>
                  <a:pt x="73025" y="535343"/>
                </a:cubicBezTo>
                <a:cubicBezTo>
                  <a:pt x="70501" y="325242"/>
                  <a:pt x="168578" y="126480"/>
                  <a:pt x="337184" y="0"/>
                </a:cubicBezTo>
                <a:close/>
              </a:path>
            </a:pathLst>
          </a:custGeom>
          <a:solidFill>
            <a:schemeClr val="accent2"/>
          </a:solidFill>
          <a:ln w="12676" cap="flat">
            <a:noFill/>
            <a:prstDash val="solid"/>
            <a:miter/>
          </a:ln>
        </p:spPr>
        <p:txBody>
          <a:bodyPr rtlCol="0" anchor="ctr"/>
          <a:lstStyle/>
          <a:p>
            <a:endParaRPr lang="en-US" dirty="0"/>
          </a:p>
        </p:txBody>
      </p:sp>
    </p:spTree>
    <p:extLst>
      <p:ext uri="{BB962C8B-B14F-4D97-AF65-F5344CB8AC3E}">
        <p14:creationId xmlns:p14="http://schemas.microsoft.com/office/powerpoint/2010/main" val="1089292473"/>
      </p:ext>
    </p:extLst>
  </p:cSld>
  <p:clrMapOvr>
    <a:masterClrMapping/>
  </p:clrMapOvr>
  <p:extLst>
    <p:ext uri="{DCECCB84-F9BA-43D5-87BE-67443E8EF086}">
      <p15:sldGuideLst xmlns:p15="http://schemas.microsoft.com/office/powerpoint/2012/main">
        <p15:guide id="1" pos="2506">
          <p15:clr>
            <a:srgbClr val="FBAE40"/>
          </p15:clr>
        </p15:guide>
        <p15:guide id="2" pos="2801">
          <p15:clr>
            <a:srgbClr val="FBAE40"/>
          </p15:clr>
        </p15:guide>
        <p15:guide id="3" pos="4880">
          <p15:clr>
            <a:srgbClr val="FBAE40"/>
          </p15:clr>
        </p15:guide>
        <p15:guide id="4" pos="5169">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Back Page Whit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697ED2-7864-804D-A838-3895B0E880AA}"/>
              </a:ext>
            </a:extLst>
          </p:cNvPr>
          <p:cNvGraphicFramePr>
            <a:graphicFrameLocks noChangeAspect="1"/>
          </p:cNvGraphicFramePr>
          <p:nvPr>
            <p:custDataLst>
              <p:tags r:id="rId2"/>
            </p:custDataLst>
            <p:extLst>
              <p:ext uri="{D42A27DB-BD31-4B8C-83A1-F6EECF244321}">
                <p14:modId xmlns:p14="http://schemas.microsoft.com/office/powerpoint/2010/main" val="6083497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0441"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36697ED2-7864-804D-A838-3895B0E880A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7" name="Graphic 6">
            <a:extLst>
              <a:ext uri="{FF2B5EF4-FFF2-40B4-BE49-F238E27FC236}">
                <a16:creationId xmlns:a16="http://schemas.microsoft.com/office/drawing/2014/main" id="{C38FFA5E-DB10-9E4A-8BC3-341A85808E30}"/>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4498111" y="2884787"/>
            <a:ext cx="3195778" cy="682026"/>
          </a:xfrm>
          <a:prstGeom prst="rect">
            <a:avLst/>
          </a:prstGeom>
        </p:spPr>
      </p:pic>
    </p:spTree>
    <p:extLst>
      <p:ext uri="{BB962C8B-B14F-4D97-AF65-F5344CB8AC3E}">
        <p14:creationId xmlns:p14="http://schemas.microsoft.com/office/powerpoint/2010/main" val="544656201"/>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219E1F1-2441-0547-8275-12DA6BCE99A5}"/>
              </a:ext>
            </a:extLst>
          </p:cNvPr>
          <p:cNvGraphicFramePr>
            <a:graphicFrameLocks noChangeAspect="1"/>
          </p:cNvGraphicFramePr>
          <p:nvPr>
            <p:custDataLst>
              <p:tags r:id="rId2"/>
            </p:custDataLst>
            <p:extLst>
              <p:ext uri="{D42A27DB-BD31-4B8C-83A1-F6EECF244321}">
                <p14:modId xmlns:p14="http://schemas.microsoft.com/office/powerpoint/2010/main" val="312903717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1529"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2219E1F1-2441-0547-8275-12DA6BCE99A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hasCustomPrompt="1"/>
          </p:nvPr>
        </p:nvSpPr>
        <p:spPr>
          <a:xfrm>
            <a:off x="685800" y="2940581"/>
            <a:ext cx="10820400" cy="1362075"/>
          </a:xfrm>
        </p:spPr>
        <p:txBody>
          <a:bodyPr vert="horz" anchor="t"/>
          <a:lstStyle>
            <a:lvl1pPr algn="l">
              <a:defRPr sz="4800" b="1" cap="none">
                <a:solidFill>
                  <a:schemeClr val="tx2"/>
                </a:solidFill>
              </a:defRPr>
            </a:lvl1pPr>
          </a:lstStyle>
          <a:p>
            <a:r>
              <a:rPr lang="en-US"/>
              <a:t>Click to add chapter title</a:t>
            </a:r>
          </a:p>
        </p:txBody>
      </p:sp>
      <p:sp>
        <p:nvSpPr>
          <p:cNvPr id="3" name="Text Placeholder 2"/>
          <p:cNvSpPr>
            <a:spLocks noGrp="1"/>
          </p:cNvSpPr>
          <p:nvPr>
            <p:ph type="body" idx="1" hasCustomPrompt="1"/>
          </p:nvPr>
        </p:nvSpPr>
        <p:spPr>
          <a:xfrm>
            <a:off x="685800" y="372531"/>
            <a:ext cx="1921933" cy="1362074"/>
          </a:xfrm>
        </p:spPr>
        <p:txBody>
          <a:bodyPr anchor="t"/>
          <a:lstStyle>
            <a:lvl1pPr marL="0" indent="0">
              <a:lnSpc>
                <a:spcPts val="9600"/>
              </a:lnSpc>
              <a:buNone/>
              <a:defRPr sz="96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a:t>
            </a:r>
          </a:p>
        </p:txBody>
      </p:sp>
    </p:spTree>
    <p:extLst>
      <p:ext uri="{BB962C8B-B14F-4D97-AF65-F5344CB8AC3E}">
        <p14:creationId xmlns:p14="http://schemas.microsoft.com/office/powerpoint/2010/main" val="325637265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Back Page Purpl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697ED2-7864-804D-A838-3895B0E880AA}"/>
              </a:ext>
            </a:extLst>
          </p:cNvPr>
          <p:cNvGraphicFramePr>
            <a:graphicFrameLocks noChangeAspect="1"/>
          </p:cNvGraphicFramePr>
          <p:nvPr>
            <p:custDataLst>
              <p:tags r:id="rId2"/>
            </p:custDataLst>
            <p:extLst>
              <p:ext uri="{D42A27DB-BD31-4B8C-83A1-F6EECF244321}">
                <p14:modId xmlns:p14="http://schemas.microsoft.com/office/powerpoint/2010/main" val="252023464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1465"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36697ED2-7864-804D-A838-3895B0E880A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7" name="Graphic 6">
            <a:extLst>
              <a:ext uri="{FF2B5EF4-FFF2-40B4-BE49-F238E27FC236}">
                <a16:creationId xmlns:a16="http://schemas.microsoft.com/office/drawing/2014/main" id="{C38FFA5E-DB10-9E4A-8BC3-341A85808E3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98109" y="2884787"/>
            <a:ext cx="3195782" cy="682026"/>
          </a:xfrm>
          <a:prstGeom prst="rect">
            <a:avLst/>
          </a:prstGeom>
        </p:spPr>
      </p:pic>
    </p:spTree>
    <p:extLst>
      <p:ext uri="{BB962C8B-B14F-4D97-AF65-F5344CB8AC3E}">
        <p14:creationId xmlns:p14="http://schemas.microsoft.com/office/powerpoint/2010/main" val="504995954"/>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Agenda slide">
    <p:spTree>
      <p:nvGrpSpPr>
        <p:cNvPr id="1" name=""/>
        <p:cNvGrpSpPr/>
        <p:nvPr/>
      </p:nvGrpSpPr>
      <p:grpSpPr>
        <a:xfrm>
          <a:off x="0" y="0"/>
          <a:ext cx="0" cy="0"/>
          <a:chOff x="0" y="0"/>
          <a:chExt cx="0" cy="0"/>
        </a:xfrm>
      </p:grpSpPr>
      <p:sp>
        <p:nvSpPr>
          <p:cNvPr id="8" name="Title 3">
            <a:extLst>
              <a:ext uri="{FF2B5EF4-FFF2-40B4-BE49-F238E27FC236}">
                <a16:creationId xmlns:a16="http://schemas.microsoft.com/office/drawing/2014/main" id="{E17BC4B8-D150-4BA8-93A0-C48FE0AAAB7A}"/>
              </a:ext>
            </a:extLst>
          </p:cNvPr>
          <p:cNvSpPr txBox="1">
            <a:spLocks/>
          </p:cNvSpPr>
          <p:nvPr userDrawn="1"/>
        </p:nvSpPr>
        <p:spPr>
          <a:xfrm>
            <a:off x="799075" y="2864273"/>
            <a:ext cx="2591304" cy="760907"/>
          </a:xfrm>
          <a:prstGeom prst="rect">
            <a:avLst/>
          </a:prstGeom>
        </p:spPr>
        <p:txBody>
          <a:bodyPr vert="horz" lIns="0" tIns="0" rIns="0" bIns="0" rtlCol="0" anchor="ctr">
            <a:noAutofit/>
          </a:bodyPr>
          <a:lstStyle>
            <a:lvl1pPr algn="l" defTabSz="914400" rtl="0" eaLnBrk="1" latinLnBrk="0" hangingPunct="1">
              <a:spcBef>
                <a:spcPct val="0"/>
              </a:spcBef>
              <a:buNone/>
              <a:defRPr sz="2000" kern="1200">
                <a:solidFill>
                  <a:srgbClr val="00A9E0"/>
                </a:solidFill>
                <a:latin typeface="+mj-lt"/>
                <a:ea typeface="+mj-ea"/>
                <a:cs typeface="+mj-cs"/>
              </a:defRPr>
            </a:lvl1pPr>
          </a:lstStyle>
          <a:p>
            <a:r>
              <a:rPr lang="en-US" sz="2000" dirty="0">
                <a:solidFill>
                  <a:schemeClr val="accent1"/>
                </a:solidFill>
              </a:rPr>
              <a:t>Agenda</a:t>
            </a:r>
          </a:p>
        </p:txBody>
      </p:sp>
      <p:sp>
        <p:nvSpPr>
          <p:cNvPr id="6" name="Table Placeholder 5">
            <a:extLst>
              <a:ext uri="{FF2B5EF4-FFF2-40B4-BE49-F238E27FC236}">
                <a16:creationId xmlns:a16="http://schemas.microsoft.com/office/drawing/2014/main" id="{61F637FD-D272-41C4-8249-3D645E08E813}"/>
              </a:ext>
            </a:extLst>
          </p:cNvPr>
          <p:cNvSpPr>
            <a:spLocks noGrp="1"/>
          </p:cNvSpPr>
          <p:nvPr>
            <p:ph type="tbl" sz="quarter" idx="10" hasCustomPrompt="1"/>
          </p:nvPr>
        </p:nvSpPr>
        <p:spPr>
          <a:xfrm>
            <a:off x="3639237" y="1970761"/>
            <a:ext cx="4913529" cy="2547928"/>
          </a:xfrm>
        </p:spPr>
        <p:txBody>
          <a:bodyPr/>
          <a:lstStyle>
            <a:lvl1pPr marL="0" indent="0" algn="ctr">
              <a:buNone/>
              <a:defRPr i="1">
                <a:solidFill>
                  <a:schemeClr val="bg1">
                    <a:lumMod val="65000"/>
                  </a:schemeClr>
                </a:solidFill>
              </a:defRPr>
            </a:lvl1pPr>
          </a:lstStyle>
          <a:p>
            <a:r>
              <a:rPr lang="en-US" dirty="0"/>
              <a:t>Click to insert table</a:t>
            </a:r>
          </a:p>
        </p:txBody>
      </p:sp>
      <p:sp>
        <p:nvSpPr>
          <p:cNvPr id="9" name="Footer Placeholder 4">
            <a:extLst>
              <a:ext uri="{FF2B5EF4-FFF2-40B4-BE49-F238E27FC236}">
                <a16:creationId xmlns:a16="http://schemas.microsoft.com/office/drawing/2014/main" id="{B4BB518C-F02D-4A7A-85E6-B54DAE9A607F}"/>
              </a:ext>
            </a:extLst>
          </p:cNvPr>
          <p:cNvSpPr>
            <a:spLocks noGrp="1"/>
          </p:cNvSpPr>
          <p:nvPr>
            <p:ph type="ftr" sz="quarter" idx="3"/>
          </p:nvPr>
        </p:nvSpPr>
        <p:spPr>
          <a:xfrm>
            <a:off x="5134751" y="6322703"/>
            <a:ext cx="5753352" cy="366183"/>
          </a:xfrm>
          <a:prstGeom prst="rect">
            <a:avLst/>
          </a:prstGeom>
        </p:spPr>
        <p:txBody>
          <a:bodyPr vert="horz" lIns="91440" tIns="45720" rIns="91440" bIns="45720" rtlCol="0" anchor="ctr"/>
          <a:lstStyle>
            <a:lvl1pPr algn="r">
              <a:defRPr sz="800">
                <a:solidFill>
                  <a:schemeClr val="bg1"/>
                </a:solidFill>
              </a:defRPr>
            </a:lvl1pPr>
          </a:lstStyle>
          <a:p>
            <a:r>
              <a:rPr lang="en-US" dirty="0"/>
              <a:t>Disclosure (i.e. For Internal Use Only) – </a:t>
            </a:r>
            <a:r>
              <a:rPr lang="en-US" i="1" dirty="0"/>
              <a:t>click to modify</a:t>
            </a:r>
          </a:p>
        </p:txBody>
      </p:sp>
      <p:sp>
        <p:nvSpPr>
          <p:cNvPr id="10" name="TextBox 9">
            <a:extLst>
              <a:ext uri="{FF2B5EF4-FFF2-40B4-BE49-F238E27FC236}">
                <a16:creationId xmlns:a16="http://schemas.microsoft.com/office/drawing/2014/main" id="{FF32C669-5108-4AD7-981A-FA62F6B3166D}"/>
              </a:ext>
            </a:extLst>
          </p:cNvPr>
          <p:cNvSpPr txBox="1"/>
          <p:nvPr userDrawn="1"/>
        </p:nvSpPr>
        <p:spPr>
          <a:xfrm>
            <a:off x="1891566" y="-1056745"/>
            <a:ext cx="10037157" cy="538609"/>
          </a:xfrm>
          <a:prstGeom prst="rect">
            <a:avLst/>
          </a:prstGeom>
          <a:noFill/>
        </p:spPr>
        <p:txBody>
          <a:bodyPr wrap="square" rtlCol="0">
            <a:spAutoFit/>
          </a:bodyPr>
          <a:lstStyle/>
          <a:p>
            <a:r>
              <a:rPr lang="en-US" sz="1100" i="1" kern="1200" dirty="0">
                <a:solidFill>
                  <a:schemeClr val="bg1">
                    <a:lumMod val="50000"/>
                  </a:schemeClr>
                </a:solidFill>
                <a:latin typeface="+mn-lt"/>
                <a:ea typeface="+mn-ea"/>
                <a:cs typeface="+mn-cs"/>
              </a:rPr>
              <a:t>To</a:t>
            </a:r>
            <a:r>
              <a:rPr lang="en-US" sz="1800" dirty="0"/>
              <a:t> </a:t>
            </a:r>
            <a:r>
              <a:rPr lang="en-US" sz="1100" i="1" dirty="0">
                <a:solidFill>
                  <a:schemeClr val="bg1">
                    <a:lumMod val="50000"/>
                  </a:schemeClr>
                </a:solidFill>
              </a:rPr>
              <a:t>add more rows to your agenda, click on the last row of the table and press Tab on your keyboard.</a:t>
            </a:r>
          </a:p>
          <a:p>
            <a:r>
              <a:rPr lang="en-US" sz="1100" i="1" dirty="0">
                <a:solidFill>
                  <a:schemeClr val="bg1">
                    <a:lumMod val="50000"/>
                  </a:schemeClr>
                </a:solidFill>
              </a:rPr>
              <a:t>To delete rows, right click in row, click Delete &gt; Delete Rows</a:t>
            </a:r>
          </a:p>
        </p:txBody>
      </p:sp>
      <p:grpSp>
        <p:nvGrpSpPr>
          <p:cNvPr id="11" name="Group 10">
            <a:extLst>
              <a:ext uri="{FF2B5EF4-FFF2-40B4-BE49-F238E27FC236}">
                <a16:creationId xmlns:a16="http://schemas.microsoft.com/office/drawing/2014/main" id="{C8BA2027-A496-4C31-AD40-9F204688B87F}"/>
              </a:ext>
            </a:extLst>
          </p:cNvPr>
          <p:cNvGrpSpPr/>
          <p:nvPr userDrawn="1"/>
        </p:nvGrpSpPr>
        <p:grpSpPr>
          <a:xfrm>
            <a:off x="1170946" y="-980671"/>
            <a:ext cx="565997" cy="629832"/>
            <a:chOff x="576263" y="2547938"/>
            <a:chExt cx="633412" cy="704850"/>
          </a:xfrm>
          <a:solidFill>
            <a:schemeClr val="tx2"/>
          </a:solidFill>
        </p:grpSpPr>
        <p:sp>
          <p:nvSpPr>
            <p:cNvPr id="12" name="Freeform 12">
              <a:extLst>
                <a:ext uri="{FF2B5EF4-FFF2-40B4-BE49-F238E27FC236}">
                  <a16:creationId xmlns:a16="http://schemas.microsoft.com/office/drawing/2014/main" id="{394C5CEB-0F05-469D-8DFD-260C5439A5D0}"/>
                </a:ext>
              </a:extLst>
            </p:cNvPr>
            <p:cNvSpPr>
              <a:spLocks/>
            </p:cNvSpPr>
            <p:nvPr/>
          </p:nvSpPr>
          <p:spPr bwMode="auto">
            <a:xfrm>
              <a:off x="863600" y="2547938"/>
              <a:ext cx="57150" cy="119063"/>
            </a:xfrm>
            <a:custGeom>
              <a:avLst/>
              <a:gdLst>
                <a:gd name="T0" fmla="*/ 5 w 228"/>
                <a:gd name="T1" fmla="*/ 287 h 477"/>
                <a:gd name="T2" fmla="*/ 5 w 228"/>
                <a:gd name="T3" fmla="*/ 364 h 477"/>
                <a:gd name="T4" fmla="*/ 115 w 228"/>
                <a:gd name="T5" fmla="*/ 477 h 477"/>
                <a:gd name="T6" fmla="*/ 116 w 228"/>
                <a:gd name="T7" fmla="*/ 477 h 477"/>
                <a:gd name="T8" fmla="*/ 223 w 228"/>
                <a:gd name="T9" fmla="*/ 364 h 477"/>
                <a:gd name="T10" fmla="*/ 223 w 228"/>
                <a:gd name="T11" fmla="*/ 290 h 477"/>
                <a:gd name="T12" fmla="*/ 224 w 228"/>
                <a:gd name="T13" fmla="*/ 141 h 477"/>
                <a:gd name="T14" fmla="*/ 148 w 228"/>
                <a:gd name="T15" fmla="*/ 4 h 477"/>
                <a:gd name="T16" fmla="*/ 138 w 228"/>
                <a:gd name="T17" fmla="*/ 0 h 477"/>
                <a:gd name="T18" fmla="*/ 90 w 228"/>
                <a:gd name="T19" fmla="*/ 0 h 477"/>
                <a:gd name="T20" fmla="*/ 81 w 228"/>
                <a:gd name="T21" fmla="*/ 4 h 477"/>
                <a:gd name="T22" fmla="*/ 4 w 228"/>
                <a:gd name="T23" fmla="*/ 141 h 477"/>
                <a:gd name="T24" fmla="*/ 5 w 228"/>
                <a:gd name="T25" fmla="*/ 28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477">
                  <a:moveTo>
                    <a:pt x="5" y="287"/>
                  </a:moveTo>
                  <a:cubicBezTo>
                    <a:pt x="5" y="312"/>
                    <a:pt x="5" y="338"/>
                    <a:pt x="5" y="364"/>
                  </a:cubicBezTo>
                  <a:cubicBezTo>
                    <a:pt x="5" y="431"/>
                    <a:pt x="50" y="477"/>
                    <a:pt x="115" y="477"/>
                  </a:cubicBezTo>
                  <a:cubicBezTo>
                    <a:pt x="116" y="477"/>
                    <a:pt x="116" y="477"/>
                    <a:pt x="116" y="477"/>
                  </a:cubicBezTo>
                  <a:cubicBezTo>
                    <a:pt x="178" y="477"/>
                    <a:pt x="223" y="429"/>
                    <a:pt x="223" y="364"/>
                  </a:cubicBezTo>
                  <a:cubicBezTo>
                    <a:pt x="223" y="340"/>
                    <a:pt x="223" y="314"/>
                    <a:pt x="223" y="290"/>
                  </a:cubicBezTo>
                  <a:cubicBezTo>
                    <a:pt x="223" y="241"/>
                    <a:pt x="222" y="190"/>
                    <a:pt x="224" y="141"/>
                  </a:cubicBezTo>
                  <a:cubicBezTo>
                    <a:pt x="225" y="116"/>
                    <a:pt x="228" y="41"/>
                    <a:pt x="148" y="4"/>
                  </a:cubicBezTo>
                  <a:cubicBezTo>
                    <a:pt x="138" y="0"/>
                    <a:pt x="138" y="0"/>
                    <a:pt x="138" y="0"/>
                  </a:cubicBezTo>
                  <a:cubicBezTo>
                    <a:pt x="90" y="0"/>
                    <a:pt x="90" y="0"/>
                    <a:pt x="90" y="0"/>
                  </a:cubicBezTo>
                  <a:cubicBezTo>
                    <a:pt x="81" y="4"/>
                    <a:pt x="81" y="4"/>
                    <a:pt x="81" y="4"/>
                  </a:cubicBezTo>
                  <a:cubicBezTo>
                    <a:pt x="0" y="40"/>
                    <a:pt x="3" y="116"/>
                    <a:pt x="4" y="141"/>
                  </a:cubicBezTo>
                  <a:cubicBezTo>
                    <a:pt x="6" y="189"/>
                    <a:pt x="5" y="239"/>
                    <a:pt x="5" y="2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3" name="Freeform 13">
              <a:extLst>
                <a:ext uri="{FF2B5EF4-FFF2-40B4-BE49-F238E27FC236}">
                  <a16:creationId xmlns:a16="http://schemas.microsoft.com/office/drawing/2014/main" id="{D6CFB3A5-256C-42C9-9843-9855AD7ECB0A}"/>
                </a:ext>
              </a:extLst>
            </p:cNvPr>
            <p:cNvSpPr>
              <a:spLocks/>
            </p:cNvSpPr>
            <p:nvPr/>
          </p:nvSpPr>
          <p:spPr bwMode="auto">
            <a:xfrm>
              <a:off x="576263" y="2836863"/>
              <a:ext cx="119063" cy="55563"/>
            </a:xfrm>
            <a:custGeom>
              <a:avLst/>
              <a:gdLst>
                <a:gd name="T0" fmla="*/ 447 w 477"/>
                <a:gd name="T1" fmla="*/ 187 h 221"/>
                <a:gd name="T2" fmla="*/ 476 w 477"/>
                <a:gd name="T3" fmla="*/ 109 h 221"/>
                <a:gd name="T4" fmla="*/ 359 w 477"/>
                <a:gd name="T5" fmla="*/ 1 h 221"/>
                <a:gd name="T6" fmla="*/ 351 w 477"/>
                <a:gd name="T7" fmla="*/ 1 h 221"/>
                <a:gd name="T8" fmla="*/ 289 w 477"/>
                <a:gd name="T9" fmla="*/ 1 h 221"/>
                <a:gd name="T10" fmla="*/ 228 w 477"/>
                <a:gd name="T11" fmla="*/ 1 h 221"/>
                <a:gd name="T12" fmla="*/ 142 w 477"/>
                <a:gd name="T13" fmla="*/ 0 h 221"/>
                <a:gd name="T14" fmla="*/ 132 w 477"/>
                <a:gd name="T15" fmla="*/ 0 h 221"/>
                <a:gd name="T16" fmla="*/ 5 w 477"/>
                <a:gd name="T17" fmla="*/ 74 h 221"/>
                <a:gd name="T18" fmla="*/ 0 w 477"/>
                <a:gd name="T19" fmla="*/ 85 h 221"/>
                <a:gd name="T20" fmla="*/ 0 w 477"/>
                <a:gd name="T21" fmla="*/ 132 h 221"/>
                <a:gd name="T22" fmla="*/ 3 w 477"/>
                <a:gd name="T23" fmla="*/ 141 h 221"/>
                <a:gd name="T24" fmla="*/ 130 w 477"/>
                <a:gd name="T25" fmla="*/ 221 h 221"/>
                <a:gd name="T26" fmla="*/ 137 w 477"/>
                <a:gd name="T27" fmla="*/ 221 h 221"/>
                <a:gd name="T28" fmla="*/ 222 w 477"/>
                <a:gd name="T29" fmla="*/ 220 h 221"/>
                <a:gd name="T30" fmla="*/ 278 w 477"/>
                <a:gd name="T31" fmla="*/ 220 h 221"/>
                <a:gd name="T32" fmla="*/ 360 w 477"/>
                <a:gd name="T33" fmla="*/ 220 h 221"/>
                <a:gd name="T34" fmla="*/ 447 w 477"/>
                <a:gd name="T35" fmla="*/ 18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7" h="221">
                  <a:moveTo>
                    <a:pt x="447" y="187"/>
                  </a:moveTo>
                  <a:cubicBezTo>
                    <a:pt x="467" y="167"/>
                    <a:pt x="477" y="140"/>
                    <a:pt x="476" y="109"/>
                  </a:cubicBezTo>
                  <a:cubicBezTo>
                    <a:pt x="475" y="44"/>
                    <a:pt x="428" y="1"/>
                    <a:pt x="359" y="1"/>
                  </a:cubicBezTo>
                  <a:cubicBezTo>
                    <a:pt x="351" y="1"/>
                    <a:pt x="351" y="1"/>
                    <a:pt x="351" y="1"/>
                  </a:cubicBezTo>
                  <a:cubicBezTo>
                    <a:pt x="331" y="1"/>
                    <a:pt x="310" y="1"/>
                    <a:pt x="289" y="1"/>
                  </a:cubicBezTo>
                  <a:cubicBezTo>
                    <a:pt x="269" y="1"/>
                    <a:pt x="248" y="1"/>
                    <a:pt x="228" y="1"/>
                  </a:cubicBezTo>
                  <a:cubicBezTo>
                    <a:pt x="194" y="1"/>
                    <a:pt x="167" y="1"/>
                    <a:pt x="142" y="0"/>
                  </a:cubicBezTo>
                  <a:cubicBezTo>
                    <a:pt x="139" y="0"/>
                    <a:pt x="135" y="0"/>
                    <a:pt x="132" y="0"/>
                  </a:cubicBezTo>
                  <a:cubicBezTo>
                    <a:pt x="72" y="0"/>
                    <a:pt x="29" y="25"/>
                    <a:pt x="5" y="74"/>
                  </a:cubicBezTo>
                  <a:cubicBezTo>
                    <a:pt x="0" y="85"/>
                    <a:pt x="0" y="85"/>
                    <a:pt x="0" y="85"/>
                  </a:cubicBezTo>
                  <a:cubicBezTo>
                    <a:pt x="0" y="132"/>
                    <a:pt x="0" y="132"/>
                    <a:pt x="0" y="132"/>
                  </a:cubicBezTo>
                  <a:cubicBezTo>
                    <a:pt x="3" y="141"/>
                    <a:pt x="3" y="141"/>
                    <a:pt x="3" y="141"/>
                  </a:cubicBezTo>
                  <a:cubicBezTo>
                    <a:pt x="25" y="194"/>
                    <a:pt x="68" y="221"/>
                    <a:pt x="130" y="221"/>
                  </a:cubicBezTo>
                  <a:cubicBezTo>
                    <a:pt x="132" y="221"/>
                    <a:pt x="135" y="221"/>
                    <a:pt x="137" y="221"/>
                  </a:cubicBezTo>
                  <a:cubicBezTo>
                    <a:pt x="162" y="220"/>
                    <a:pt x="189" y="220"/>
                    <a:pt x="222" y="220"/>
                  </a:cubicBezTo>
                  <a:cubicBezTo>
                    <a:pt x="241" y="220"/>
                    <a:pt x="260" y="220"/>
                    <a:pt x="278" y="220"/>
                  </a:cubicBezTo>
                  <a:cubicBezTo>
                    <a:pt x="306" y="220"/>
                    <a:pt x="333" y="220"/>
                    <a:pt x="360" y="220"/>
                  </a:cubicBezTo>
                  <a:cubicBezTo>
                    <a:pt x="396" y="220"/>
                    <a:pt x="426" y="208"/>
                    <a:pt x="447" y="1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4" name="Freeform 14">
              <a:extLst>
                <a:ext uri="{FF2B5EF4-FFF2-40B4-BE49-F238E27FC236}">
                  <a16:creationId xmlns:a16="http://schemas.microsoft.com/office/drawing/2014/main" id="{1889785F-DD29-441B-99B7-022CA515A142}"/>
                </a:ext>
              </a:extLst>
            </p:cNvPr>
            <p:cNvSpPr>
              <a:spLocks/>
            </p:cNvSpPr>
            <p:nvPr/>
          </p:nvSpPr>
          <p:spPr bwMode="auto">
            <a:xfrm>
              <a:off x="1089025" y="2836863"/>
              <a:ext cx="120650" cy="55563"/>
            </a:xfrm>
            <a:custGeom>
              <a:avLst/>
              <a:gdLst>
                <a:gd name="T0" fmla="*/ 473 w 477"/>
                <a:gd name="T1" fmla="*/ 81 h 221"/>
                <a:gd name="T2" fmla="*/ 365 w 477"/>
                <a:gd name="T3" fmla="*/ 1 h 221"/>
                <a:gd name="T4" fmla="*/ 306 w 477"/>
                <a:gd name="T5" fmla="*/ 0 h 221"/>
                <a:gd name="T6" fmla="*/ 225 w 477"/>
                <a:gd name="T7" fmla="*/ 0 h 221"/>
                <a:gd name="T8" fmla="*/ 109 w 477"/>
                <a:gd name="T9" fmla="*/ 1 h 221"/>
                <a:gd name="T10" fmla="*/ 31 w 477"/>
                <a:gd name="T11" fmla="*/ 33 h 221"/>
                <a:gd name="T12" fmla="*/ 1 w 477"/>
                <a:gd name="T13" fmla="*/ 115 h 221"/>
                <a:gd name="T14" fmla="*/ 114 w 477"/>
                <a:gd name="T15" fmla="*/ 220 h 221"/>
                <a:gd name="T16" fmla="*/ 204 w 477"/>
                <a:gd name="T17" fmla="*/ 220 h 221"/>
                <a:gd name="T18" fmla="*/ 253 w 477"/>
                <a:gd name="T19" fmla="*/ 220 h 221"/>
                <a:gd name="T20" fmla="*/ 337 w 477"/>
                <a:gd name="T21" fmla="*/ 221 h 221"/>
                <a:gd name="T22" fmla="*/ 346 w 477"/>
                <a:gd name="T23" fmla="*/ 221 h 221"/>
                <a:gd name="T24" fmla="*/ 474 w 477"/>
                <a:gd name="T25" fmla="*/ 141 h 221"/>
                <a:gd name="T26" fmla="*/ 477 w 477"/>
                <a:gd name="T27" fmla="*/ 132 h 221"/>
                <a:gd name="T28" fmla="*/ 477 w 477"/>
                <a:gd name="T29" fmla="*/ 91 h 221"/>
                <a:gd name="T30" fmla="*/ 473 w 477"/>
                <a:gd name="T31" fmla="*/ 8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77" h="221">
                  <a:moveTo>
                    <a:pt x="473" y="81"/>
                  </a:moveTo>
                  <a:cubicBezTo>
                    <a:pt x="463" y="59"/>
                    <a:pt x="436" y="1"/>
                    <a:pt x="365" y="1"/>
                  </a:cubicBezTo>
                  <a:cubicBezTo>
                    <a:pt x="346" y="0"/>
                    <a:pt x="326" y="0"/>
                    <a:pt x="306" y="0"/>
                  </a:cubicBezTo>
                  <a:cubicBezTo>
                    <a:pt x="279" y="0"/>
                    <a:pt x="252" y="0"/>
                    <a:pt x="225" y="0"/>
                  </a:cubicBezTo>
                  <a:cubicBezTo>
                    <a:pt x="180" y="0"/>
                    <a:pt x="143" y="0"/>
                    <a:pt x="109" y="1"/>
                  </a:cubicBezTo>
                  <a:cubicBezTo>
                    <a:pt x="78" y="1"/>
                    <a:pt x="51" y="13"/>
                    <a:pt x="31" y="33"/>
                  </a:cubicBezTo>
                  <a:cubicBezTo>
                    <a:pt x="10" y="54"/>
                    <a:pt x="0" y="83"/>
                    <a:pt x="1" y="115"/>
                  </a:cubicBezTo>
                  <a:cubicBezTo>
                    <a:pt x="3" y="177"/>
                    <a:pt x="48" y="219"/>
                    <a:pt x="114" y="220"/>
                  </a:cubicBezTo>
                  <a:cubicBezTo>
                    <a:pt x="144" y="220"/>
                    <a:pt x="174" y="220"/>
                    <a:pt x="204" y="220"/>
                  </a:cubicBezTo>
                  <a:cubicBezTo>
                    <a:pt x="220" y="220"/>
                    <a:pt x="237" y="220"/>
                    <a:pt x="253" y="220"/>
                  </a:cubicBezTo>
                  <a:cubicBezTo>
                    <a:pt x="287" y="220"/>
                    <a:pt x="313" y="220"/>
                    <a:pt x="337" y="221"/>
                  </a:cubicBezTo>
                  <a:cubicBezTo>
                    <a:pt x="340" y="221"/>
                    <a:pt x="343" y="221"/>
                    <a:pt x="346" y="221"/>
                  </a:cubicBezTo>
                  <a:cubicBezTo>
                    <a:pt x="408" y="221"/>
                    <a:pt x="451" y="194"/>
                    <a:pt x="474" y="141"/>
                  </a:cubicBezTo>
                  <a:cubicBezTo>
                    <a:pt x="477" y="132"/>
                    <a:pt x="477" y="132"/>
                    <a:pt x="477" y="132"/>
                  </a:cubicBezTo>
                  <a:cubicBezTo>
                    <a:pt x="477" y="91"/>
                    <a:pt x="477" y="91"/>
                    <a:pt x="477" y="91"/>
                  </a:cubicBezTo>
                  <a:lnTo>
                    <a:pt x="473"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5" name="Freeform 15">
              <a:extLst>
                <a:ext uri="{FF2B5EF4-FFF2-40B4-BE49-F238E27FC236}">
                  <a16:creationId xmlns:a16="http://schemas.microsoft.com/office/drawing/2014/main" id="{15F3BEC0-0FF3-4DE0-992E-4F0774CCB902}"/>
                </a:ext>
              </a:extLst>
            </p:cNvPr>
            <p:cNvSpPr>
              <a:spLocks/>
            </p:cNvSpPr>
            <p:nvPr/>
          </p:nvSpPr>
          <p:spPr bwMode="auto">
            <a:xfrm>
              <a:off x="1020763" y="2995613"/>
              <a:ext cx="106363" cy="101600"/>
            </a:xfrm>
            <a:custGeom>
              <a:avLst/>
              <a:gdLst>
                <a:gd name="T0" fmla="*/ 200 w 422"/>
                <a:gd name="T1" fmla="*/ 34 h 407"/>
                <a:gd name="T2" fmla="*/ 121 w 422"/>
                <a:gd name="T3" fmla="*/ 0 h 407"/>
                <a:gd name="T4" fmla="*/ 44 w 422"/>
                <a:gd name="T5" fmla="*/ 34 h 407"/>
                <a:gd name="T6" fmla="*/ 46 w 422"/>
                <a:gd name="T7" fmla="*/ 190 h 407"/>
                <a:gd name="T8" fmla="*/ 224 w 422"/>
                <a:gd name="T9" fmla="*/ 369 h 407"/>
                <a:gd name="T10" fmla="*/ 267 w 422"/>
                <a:gd name="T11" fmla="*/ 395 h 407"/>
                <a:gd name="T12" fmla="*/ 278 w 422"/>
                <a:gd name="T13" fmla="*/ 400 h 407"/>
                <a:gd name="T14" fmla="*/ 293 w 422"/>
                <a:gd name="T15" fmla="*/ 407 h 407"/>
                <a:gd name="T16" fmla="*/ 309 w 422"/>
                <a:gd name="T17" fmla="*/ 405 h 407"/>
                <a:gd name="T18" fmla="*/ 402 w 422"/>
                <a:gd name="T19" fmla="*/ 337 h 407"/>
                <a:gd name="T20" fmla="*/ 382 w 422"/>
                <a:gd name="T21" fmla="*/ 216 h 407"/>
                <a:gd name="T22" fmla="*/ 200 w 422"/>
                <a:gd name="T23" fmla="*/ 34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2" h="407">
                  <a:moveTo>
                    <a:pt x="200" y="34"/>
                  </a:moveTo>
                  <a:cubicBezTo>
                    <a:pt x="178" y="12"/>
                    <a:pt x="150" y="0"/>
                    <a:pt x="121" y="0"/>
                  </a:cubicBezTo>
                  <a:cubicBezTo>
                    <a:pt x="93" y="0"/>
                    <a:pt x="65" y="12"/>
                    <a:pt x="44" y="34"/>
                  </a:cubicBezTo>
                  <a:cubicBezTo>
                    <a:pt x="0" y="78"/>
                    <a:pt x="1" y="145"/>
                    <a:pt x="46" y="190"/>
                  </a:cubicBezTo>
                  <a:cubicBezTo>
                    <a:pt x="117" y="263"/>
                    <a:pt x="172" y="318"/>
                    <a:pt x="224" y="369"/>
                  </a:cubicBezTo>
                  <a:cubicBezTo>
                    <a:pt x="238" y="382"/>
                    <a:pt x="254" y="389"/>
                    <a:pt x="267" y="395"/>
                  </a:cubicBezTo>
                  <a:cubicBezTo>
                    <a:pt x="271" y="397"/>
                    <a:pt x="275" y="398"/>
                    <a:pt x="278" y="400"/>
                  </a:cubicBezTo>
                  <a:cubicBezTo>
                    <a:pt x="293" y="407"/>
                    <a:pt x="293" y="407"/>
                    <a:pt x="293" y="407"/>
                  </a:cubicBezTo>
                  <a:cubicBezTo>
                    <a:pt x="309" y="405"/>
                    <a:pt x="309" y="405"/>
                    <a:pt x="309" y="405"/>
                  </a:cubicBezTo>
                  <a:cubicBezTo>
                    <a:pt x="353" y="398"/>
                    <a:pt x="385" y="375"/>
                    <a:pt x="402" y="337"/>
                  </a:cubicBezTo>
                  <a:cubicBezTo>
                    <a:pt x="422" y="294"/>
                    <a:pt x="415" y="249"/>
                    <a:pt x="382" y="216"/>
                  </a:cubicBezTo>
                  <a:cubicBezTo>
                    <a:pt x="318" y="151"/>
                    <a:pt x="258" y="91"/>
                    <a:pt x="200"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6" name="Freeform 16">
              <a:extLst>
                <a:ext uri="{FF2B5EF4-FFF2-40B4-BE49-F238E27FC236}">
                  <a16:creationId xmlns:a16="http://schemas.microsoft.com/office/drawing/2014/main" id="{100B0E1F-8499-46E3-A77F-AF2722F8A249}"/>
                </a:ext>
              </a:extLst>
            </p:cNvPr>
            <p:cNvSpPr>
              <a:spLocks/>
            </p:cNvSpPr>
            <p:nvPr/>
          </p:nvSpPr>
          <p:spPr bwMode="auto">
            <a:xfrm>
              <a:off x="658813" y="2995613"/>
              <a:ext cx="106363" cy="103188"/>
            </a:xfrm>
            <a:custGeom>
              <a:avLst/>
              <a:gdLst>
                <a:gd name="T0" fmla="*/ 301 w 422"/>
                <a:gd name="T1" fmla="*/ 0 h 408"/>
                <a:gd name="T2" fmla="*/ 218 w 422"/>
                <a:gd name="T3" fmla="*/ 37 h 408"/>
                <a:gd name="T4" fmla="*/ 149 w 422"/>
                <a:gd name="T5" fmla="*/ 106 h 408"/>
                <a:gd name="T6" fmla="*/ 121 w 422"/>
                <a:gd name="T7" fmla="*/ 134 h 408"/>
                <a:gd name="T8" fmla="*/ 98 w 422"/>
                <a:gd name="T9" fmla="*/ 157 h 408"/>
                <a:gd name="T10" fmla="*/ 40 w 422"/>
                <a:gd name="T11" fmla="*/ 216 h 408"/>
                <a:gd name="T12" fmla="*/ 19 w 422"/>
                <a:gd name="T13" fmla="*/ 337 h 408"/>
                <a:gd name="T14" fmla="*/ 113 w 422"/>
                <a:gd name="T15" fmla="*/ 405 h 408"/>
                <a:gd name="T16" fmla="*/ 130 w 422"/>
                <a:gd name="T17" fmla="*/ 408 h 408"/>
                <a:gd name="T18" fmla="*/ 145 w 422"/>
                <a:gd name="T19" fmla="*/ 400 h 408"/>
                <a:gd name="T20" fmla="*/ 157 w 422"/>
                <a:gd name="T21" fmla="*/ 393 h 408"/>
                <a:gd name="T22" fmla="*/ 201 w 422"/>
                <a:gd name="T23" fmla="*/ 365 h 408"/>
                <a:gd name="T24" fmla="*/ 374 w 422"/>
                <a:gd name="T25" fmla="*/ 193 h 408"/>
                <a:gd name="T26" fmla="*/ 379 w 422"/>
                <a:gd name="T27" fmla="*/ 35 h 408"/>
                <a:gd name="T28" fmla="*/ 301 w 422"/>
                <a:gd name="T29" fmla="*/ 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2" h="408">
                  <a:moveTo>
                    <a:pt x="301" y="0"/>
                  </a:moveTo>
                  <a:cubicBezTo>
                    <a:pt x="271" y="0"/>
                    <a:pt x="243" y="13"/>
                    <a:pt x="218" y="37"/>
                  </a:cubicBezTo>
                  <a:cubicBezTo>
                    <a:pt x="195" y="60"/>
                    <a:pt x="171" y="84"/>
                    <a:pt x="149" y="106"/>
                  </a:cubicBezTo>
                  <a:cubicBezTo>
                    <a:pt x="140" y="116"/>
                    <a:pt x="131" y="125"/>
                    <a:pt x="121" y="134"/>
                  </a:cubicBezTo>
                  <a:cubicBezTo>
                    <a:pt x="114" y="142"/>
                    <a:pt x="106" y="149"/>
                    <a:pt x="98" y="157"/>
                  </a:cubicBezTo>
                  <a:cubicBezTo>
                    <a:pt x="79" y="176"/>
                    <a:pt x="59" y="196"/>
                    <a:pt x="40" y="216"/>
                  </a:cubicBezTo>
                  <a:cubicBezTo>
                    <a:pt x="7" y="250"/>
                    <a:pt x="0" y="294"/>
                    <a:pt x="19" y="337"/>
                  </a:cubicBezTo>
                  <a:cubicBezTo>
                    <a:pt x="37" y="375"/>
                    <a:pt x="68" y="398"/>
                    <a:pt x="113" y="405"/>
                  </a:cubicBezTo>
                  <a:cubicBezTo>
                    <a:pt x="130" y="408"/>
                    <a:pt x="130" y="408"/>
                    <a:pt x="130" y="408"/>
                  </a:cubicBezTo>
                  <a:cubicBezTo>
                    <a:pt x="145" y="400"/>
                    <a:pt x="145" y="400"/>
                    <a:pt x="145" y="400"/>
                  </a:cubicBezTo>
                  <a:cubicBezTo>
                    <a:pt x="148" y="398"/>
                    <a:pt x="152" y="396"/>
                    <a:pt x="157" y="393"/>
                  </a:cubicBezTo>
                  <a:cubicBezTo>
                    <a:pt x="170" y="387"/>
                    <a:pt x="187" y="379"/>
                    <a:pt x="201" y="365"/>
                  </a:cubicBezTo>
                  <a:cubicBezTo>
                    <a:pt x="261" y="308"/>
                    <a:pt x="321" y="247"/>
                    <a:pt x="374" y="193"/>
                  </a:cubicBezTo>
                  <a:cubicBezTo>
                    <a:pt x="420" y="146"/>
                    <a:pt x="422" y="79"/>
                    <a:pt x="379" y="35"/>
                  </a:cubicBezTo>
                  <a:cubicBezTo>
                    <a:pt x="357" y="13"/>
                    <a:pt x="330" y="0"/>
                    <a:pt x="3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7" name="Freeform 17">
              <a:extLst>
                <a:ext uri="{FF2B5EF4-FFF2-40B4-BE49-F238E27FC236}">
                  <a16:creationId xmlns:a16="http://schemas.microsoft.com/office/drawing/2014/main" id="{CC77DF32-B036-46AE-AFA0-9522D11CBCE2}"/>
                </a:ext>
              </a:extLst>
            </p:cNvPr>
            <p:cNvSpPr>
              <a:spLocks/>
            </p:cNvSpPr>
            <p:nvPr/>
          </p:nvSpPr>
          <p:spPr bwMode="auto">
            <a:xfrm>
              <a:off x="657225" y="2632075"/>
              <a:ext cx="104775" cy="101600"/>
            </a:xfrm>
            <a:custGeom>
              <a:avLst/>
              <a:gdLst>
                <a:gd name="T0" fmla="*/ 229 w 413"/>
                <a:gd name="T1" fmla="*/ 373 h 402"/>
                <a:gd name="T2" fmla="*/ 300 w 413"/>
                <a:gd name="T3" fmla="*/ 402 h 402"/>
                <a:gd name="T4" fmla="*/ 347 w 413"/>
                <a:gd name="T5" fmla="*/ 392 h 402"/>
                <a:gd name="T6" fmla="*/ 413 w 413"/>
                <a:gd name="T7" fmla="*/ 285 h 402"/>
                <a:gd name="T8" fmla="*/ 413 w 413"/>
                <a:gd name="T9" fmla="*/ 274 h 402"/>
                <a:gd name="T10" fmla="*/ 409 w 413"/>
                <a:gd name="T11" fmla="*/ 265 h 402"/>
                <a:gd name="T12" fmla="*/ 408 w 413"/>
                <a:gd name="T13" fmla="*/ 263 h 402"/>
                <a:gd name="T14" fmla="*/ 384 w 413"/>
                <a:gd name="T15" fmla="*/ 218 h 402"/>
                <a:gd name="T16" fmla="*/ 195 w 413"/>
                <a:gd name="T17" fmla="*/ 30 h 402"/>
                <a:gd name="T18" fmla="*/ 123 w 413"/>
                <a:gd name="T19" fmla="*/ 0 h 402"/>
                <a:gd name="T20" fmla="*/ 46 w 413"/>
                <a:gd name="T21" fmla="*/ 32 h 402"/>
                <a:gd name="T22" fmla="*/ 42 w 413"/>
                <a:gd name="T23" fmla="*/ 185 h 402"/>
                <a:gd name="T24" fmla="*/ 229 w 413"/>
                <a:gd name="T25" fmla="*/ 373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3" h="402">
                  <a:moveTo>
                    <a:pt x="229" y="373"/>
                  </a:moveTo>
                  <a:cubicBezTo>
                    <a:pt x="248" y="392"/>
                    <a:pt x="273" y="402"/>
                    <a:pt x="300" y="402"/>
                  </a:cubicBezTo>
                  <a:cubicBezTo>
                    <a:pt x="315" y="402"/>
                    <a:pt x="331" y="399"/>
                    <a:pt x="347" y="392"/>
                  </a:cubicBezTo>
                  <a:cubicBezTo>
                    <a:pt x="376" y="380"/>
                    <a:pt x="411" y="352"/>
                    <a:pt x="413" y="285"/>
                  </a:cubicBezTo>
                  <a:cubicBezTo>
                    <a:pt x="413" y="274"/>
                    <a:pt x="413" y="274"/>
                    <a:pt x="413" y="274"/>
                  </a:cubicBezTo>
                  <a:cubicBezTo>
                    <a:pt x="409" y="265"/>
                    <a:pt x="409" y="265"/>
                    <a:pt x="409" y="265"/>
                  </a:cubicBezTo>
                  <a:cubicBezTo>
                    <a:pt x="409" y="264"/>
                    <a:pt x="408" y="264"/>
                    <a:pt x="408" y="263"/>
                  </a:cubicBezTo>
                  <a:cubicBezTo>
                    <a:pt x="405" y="252"/>
                    <a:pt x="399" y="233"/>
                    <a:pt x="384" y="218"/>
                  </a:cubicBezTo>
                  <a:cubicBezTo>
                    <a:pt x="316" y="148"/>
                    <a:pt x="254" y="87"/>
                    <a:pt x="195" y="30"/>
                  </a:cubicBezTo>
                  <a:cubicBezTo>
                    <a:pt x="176" y="11"/>
                    <a:pt x="150" y="0"/>
                    <a:pt x="123" y="0"/>
                  </a:cubicBezTo>
                  <a:cubicBezTo>
                    <a:pt x="95" y="0"/>
                    <a:pt x="67" y="12"/>
                    <a:pt x="46" y="32"/>
                  </a:cubicBezTo>
                  <a:cubicBezTo>
                    <a:pt x="2" y="75"/>
                    <a:pt x="0" y="142"/>
                    <a:pt x="42" y="185"/>
                  </a:cubicBezTo>
                  <a:cubicBezTo>
                    <a:pt x="109" y="255"/>
                    <a:pt x="177" y="322"/>
                    <a:pt x="229" y="3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8" name="Freeform 18">
              <a:extLst>
                <a:ext uri="{FF2B5EF4-FFF2-40B4-BE49-F238E27FC236}">
                  <a16:creationId xmlns:a16="http://schemas.microsoft.com/office/drawing/2014/main" id="{BC43E4BB-AB4D-48CA-8D66-D40D3992587F}"/>
                </a:ext>
              </a:extLst>
            </p:cNvPr>
            <p:cNvSpPr>
              <a:spLocks/>
            </p:cNvSpPr>
            <p:nvPr/>
          </p:nvSpPr>
          <p:spPr bwMode="auto">
            <a:xfrm>
              <a:off x="1020763" y="2632075"/>
              <a:ext cx="106363" cy="101600"/>
            </a:xfrm>
            <a:custGeom>
              <a:avLst/>
              <a:gdLst>
                <a:gd name="T0" fmla="*/ 117 w 421"/>
                <a:gd name="T1" fmla="*/ 404 h 405"/>
                <a:gd name="T2" fmla="*/ 130 w 421"/>
                <a:gd name="T3" fmla="*/ 405 h 405"/>
                <a:gd name="T4" fmla="*/ 141 w 421"/>
                <a:gd name="T5" fmla="*/ 400 h 405"/>
                <a:gd name="T6" fmla="*/ 150 w 421"/>
                <a:gd name="T7" fmla="*/ 397 h 405"/>
                <a:gd name="T8" fmla="*/ 192 w 421"/>
                <a:gd name="T9" fmla="*/ 373 h 405"/>
                <a:gd name="T10" fmla="*/ 380 w 421"/>
                <a:gd name="T11" fmla="*/ 185 h 405"/>
                <a:gd name="T12" fmla="*/ 379 w 421"/>
                <a:gd name="T13" fmla="*/ 36 h 405"/>
                <a:gd name="T14" fmla="*/ 299 w 421"/>
                <a:gd name="T15" fmla="*/ 0 h 405"/>
                <a:gd name="T16" fmla="*/ 226 w 421"/>
                <a:gd name="T17" fmla="*/ 30 h 405"/>
                <a:gd name="T18" fmla="*/ 37 w 421"/>
                <a:gd name="T19" fmla="*/ 220 h 405"/>
                <a:gd name="T20" fmla="*/ 20 w 421"/>
                <a:gd name="T21" fmla="*/ 340 h 405"/>
                <a:gd name="T22" fmla="*/ 117 w 421"/>
                <a:gd name="T23" fmla="*/ 404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1" h="405">
                  <a:moveTo>
                    <a:pt x="117" y="404"/>
                  </a:moveTo>
                  <a:cubicBezTo>
                    <a:pt x="130" y="405"/>
                    <a:pt x="130" y="405"/>
                    <a:pt x="130" y="405"/>
                  </a:cubicBezTo>
                  <a:cubicBezTo>
                    <a:pt x="141" y="400"/>
                    <a:pt x="141" y="400"/>
                    <a:pt x="141" y="400"/>
                  </a:cubicBezTo>
                  <a:cubicBezTo>
                    <a:pt x="143" y="399"/>
                    <a:pt x="147" y="398"/>
                    <a:pt x="150" y="397"/>
                  </a:cubicBezTo>
                  <a:cubicBezTo>
                    <a:pt x="162" y="392"/>
                    <a:pt x="178" y="387"/>
                    <a:pt x="192" y="373"/>
                  </a:cubicBezTo>
                  <a:cubicBezTo>
                    <a:pt x="262" y="305"/>
                    <a:pt x="323" y="244"/>
                    <a:pt x="380" y="185"/>
                  </a:cubicBezTo>
                  <a:cubicBezTo>
                    <a:pt x="421" y="143"/>
                    <a:pt x="420" y="79"/>
                    <a:pt x="379" y="36"/>
                  </a:cubicBezTo>
                  <a:cubicBezTo>
                    <a:pt x="358" y="13"/>
                    <a:pt x="328" y="0"/>
                    <a:pt x="299" y="0"/>
                  </a:cubicBezTo>
                  <a:cubicBezTo>
                    <a:pt x="272" y="0"/>
                    <a:pt x="246" y="11"/>
                    <a:pt x="226" y="30"/>
                  </a:cubicBezTo>
                  <a:cubicBezTo>
                    <a:pt x="168" y="86"/>
                    <a:pt x="106" y="148"/>
                    <a:pt x="37" y="220"/>
                  </a:cubicBezTo>
                  <a:cubicBezTo>
                    <a:pt x="6" y="252"/>
                    <a:pt x="0" y="296"/>
                    <a:pt x="20" y="340"/>
                  </a:cubicBezTo>
                  <a:cubicBezTo>
                    <a:pt x="39" y="378"/>
                    <a:pt x="73" y="401"/>
                    <a:pt x="117" y="4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9" name="Freeform 19">
              <a:extLst>
                <a:ext uri="{FF2B5EF4-FFF2-40B4-BE49-F238E27FC236}">
                  <a16:creationId xmlns:a16="http://schemas.microsoft.com/office/drawing/2014/main" id="{2FBA42B9-7E46-427F-869D-478BEBC31A67}"/>
                </a:ext>
              </a:extLst>
            </p:cNvPr>
            <p:cNvSpPr>
              <a:spLocks noEditPoints="1"/>
            </p:cNvSpPr>
            <p:nvPr/>
          </p:nvSpPr>
          <p:spPr bwMode="auto">
            <a:xfrm>
              <a:off x="719138" y="2693988"/>
              <a:ext cx="346075" cy="374650"/>
            </a:xfrm>
            <a:custGeom>
              <a:avLst/>
              <a:gdLst>
                <a:gd name="T0" fmla="*/ 334 w 1376"/>
                <a:gd name="T1" fmla="*/ 1494 h 1494"/>
                <a:gd name="T2" fmla="*/ 360 w 1376"/>
                <a:gd name="T3" fmla="*/ 1494 h 1494"/>
                <a:gd name="T4" fmla="*/ 563 w 1376"/>
                <a:gd name="T5" fmla="*/ 1494 h 1494"/>
                <a:gd name="T6" fmla="*/ 1044 w 1376"/>
                <a:gd name="T7" fmla="*/ 1494 h 1494"/>
                <a:gd name="T8" fmla="*/ 1131 w 1376"/>
                <a:gd name="T9" fmla="*/ 1260 h 1494"/>
                <a:gd name="T10" fmla="*/ 1267 w 1376"/>
                <a:gd name="T11" fmla="*/ 1040 h 1494"/>
                <a:gd name="T12" fmla="*/ 1365 w 1376"/>
                <a:gd name="T13" fmla="*/ 813 h 1494"/>
                <a:gd name="T14" fmla="*/ 1376 w 1376"/>
                <a:gd name="T15" fmla="*/ 750 h 1494"/>
                <a:gd name="T16" fmla="*/ 1376 w 1376"/>
                <a:gd name="T17" fmla="*/ 648 h 1494"/>
                <a:gd name="T18" fmla="*/ 1372 w 1376"/>
                <a:gd name="T19" fmla="*/ 633 h 1494"/>
                <a:gd name="T20" fmla="*/ 1188 w 1376"/>
                <a:gd name="T21" fmla="*/ 242 h 1494"/>
                <a:gd name="T22" fmla="*/ 564 w 1376"/>
                <a:gd name="T23" fmla="*/ 44 h 1494"/>
                <a:gd name="T24" fmla="*/ 28 w 1376"/>
                <a:gd name="T25" fmla="*/ 514 h 1494"/>
                <a:gd name="T26" fmla="*/ 0 w 1376"/>
                <a:gd name="T27" fmla="*/ 653 h 1494"/>
                <a:gd name="T28" fmla="*/ 0 w 1376"/>
                <a:gd name="T29" fmla="*/ 750 h 1494"/>
                <a:gd name="T30" fmla="*/ 4 w 1376"/>
                <a:gd name="T31" fmla="*/ 763 h 1494"/>
                <a:gd name="T32" fmla="*/ 55 w 1376"/>
                <a:gd name="T33" fmla="*/ 939 h 1494"/>
                <a:gd name="T34" fmla="*/ 196 w 1376"/>
                <a:gd name="T35" fmla="*/ 1174 h 1494"/>
                <a:gd name="T36" fmla="*/ 316 w 1376"/>
                <a:gd name="T37" fmla="*/ 1424 h 1494"/>
                <a:gd name="T38" fmla="*/ 334 w 1376"/>
                <a:gd name="T39" fmla="*/ 1494 h 1494"/>
                <a:gd name="T40" fmla="*/ 288 w 1376"/>
                <a:gd name="T41" fmla="*/ 676 h 1494"/>
                <a:gd name="T42" fmla="*/ 216 w 1376"/>
                <a:gd name="T43" fmla="*/ 583 h 1494"/>
                <a:gd name="T44" fmla="*/ 220 w 1376"/>
                <a:gd name="T45" fmla="*/ 560 h 1494"/>
                <a:gd name="T46" fmla="*/ 381 w 1376"/>
                <a:gd name="T47" fmla="*/ 327 h 1494"/>
                <a:gd name="T48" fmla="*/ 547 w 1376"/>
                <a:gd name="T49" fmla="*/ 248 h 1494"/>
                <a:gd name="T50" fmla="*/ 642 w 1376"/>
                <a:gd name="T51" fmla="*/ 314 h 1494"/>
                <a:gd name="T52" fmla="*/ 582 w 1376"/>
                <a:gd name="T53" fmla="*/ 417 h 1494"/>
                <a:gd name="T54" fmla="*/ 383 w 1376"/>
                <a:gd name="T55" fmla="*/ 614 h 1494"/>
                <a:gd name="T56" fmla="*/ 288 w 1376"/>
                <a:gd name="T57" fmla="*/ 676 h 1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76" h="1494">
                  <a:moveTo>
                    <a:pt x="334" y="1494"/>
                  </a:moveTo>
                  <a:cubicBezTo>
                    <a:pt x="343" y="1494"/>
                    <a:pt x="352" y="1494"/>
                    <a:pt x="360" y="1494"/>
                  </a:cubicBezTo>
                  <a:cubicBezTo>
                    <a:pt x="428" y="1494"/>
                    <a:pt x="496" y="1494"/>
                    <a:pt x="563" y="1494"/>
                  </a:cubicBezTo>
                  <a:cubicBezTo>
                    <a:pt x="1044" y="1494"/>
                    <a:pt x="1044" y="1494"/>
                    <a:pt x="1044" y="1494"/>
                  </a:cubicBezTo>
                  <a:cubicBezTo>
                    <a:pt x="1058" y="1412"/>
                    <a:pt x="1087" y="1334"/>
                    <a:pt x="1131" y="1260"/>
                  </a:cubicBezTo>
                  <a:cubicBezTo>
                    <a:pt x="1174" y="1185"/>
                    <a:pt x="1222" y="1114"/>
                    <a:pt x="1267" y="1040"/>
                  </a:cubicBezTo>
                  <a:cubicBezTo>
                    <a:pt x="1311" y="970"/>
                    <a:pt x="1348" y="895"/>
                    <a:pt x="1365" y="813"/>
                  </a:cubicBezTo>
                  <a:cubicBezTo>
                    <a:pt x="1369" y="792"/>
                    <a:pt x="1373" y="771"/>
                    <a:pt x="1376" y="750"/>
                  </a:cubicBezTo>
                  <a:cubicBezTo>
                    <a:pt x="1376" y="716"/>
                    <a:pt x="1376" y="682"/>
                    <a:pt x="1376" y="648"/>
                  </a:cubicBezTo>
                  <a:cubicBezTo>
                    <a:pt x="1375" y="643"/>
                    <a:pt x="1373" y="638"/>
                    <a:pt x="1372" y="633"/>
                  </a:cubicBezTo>
                  <a:cubicBezTo>
                    <a:pt x="1356" y="481"/>
                    <a:pt x="1295" y="350"/>
                    <a:pt x="1188" y="242"/>
                  </a:cubicBezTo>
                  <a:cubicBezTo>
                    <a:pt x="1015" y="69"/>
                    <a:pt x="804" y="0"/>
                    <a:pt x="564" y="44"/>
                  </a:cubicBezTo>
                  <a:cubicBezTo>
                    <a:pt x="296" y="94"/>
                    <a:pt x="115" y="253"/>
                    <a:pt x="28" y="514"/>
                  </a:cubicBezTo>
                  <a:cubicBezTo>
                    <a:pt x="14" y="558"/>
                    <a:pt x="9" y="606"/>
                    <a:pt x="0" y="653"/>
                  </a:cubicBezTo>
                  <a:cubicBezTo>
                    <a:pt x="0" y="685"/>
                    <a:pt x="0" y="717"/>
                    <a:pt x="0" y="750"/>
                  </a:cubicBezTo>
                  <a:cubicBezTo>
                    <a:pt x="1" y="754"/>
                    <a:pt x="3" y="758"/>
                    <a:pt x="4" y="763"/>
                  </a:cubicBezTo>
                  <a:cubicBezTo>
                    <a:pt x="10" y="825"/>
                    <a:pt x="25" y="885"/>
                    <a:pt x="55" y="939"/>
                  </a:cubicBezTo>
                  <a:cubicBezTo>
                    <a:pt x="99" y="1018"/>
                    <a:pt x="148" y="1096"/>
                    <a:pt x="196" y="1174"/>
                  </a:cubicBezTo>
                  <a:cubicBezTo>
                    <a:pt x="245" y="1253"/>
                    <a:pt x="291" y="1334"/>
                    <a:pt x="316" y="1424"/>
                  </a:cubicBezTo>
                  <a:cubicBezTo>
                    <a:pt x="323" y="1447"/>
                    <a:pt x="328" y="1470"/>
                    <a:pt x="334" y="1494"/>
                  </a:cubicBezTo>
                  <a:close/>
                  <a:moveTo>
                    <a:pt x="288" y="676"/>
                  </a:moveTo>
                  <a:cubicBezTo>
                    <a:pt x="246" y="669"/>
                    <a:pt x="216" y="633"/>
                    <a:pt x="216" y="583"/>
                  </a:cubicBezTo>
                  <a:cubicBezTo>
                    <a:pt x="217" y="580"/>
                    <a:pt x="217" y="570"/>
                    <a:pt x="220" y="560"/>
                  </a:cubicBezTo>
                  <a:cubicBezTo>
                    <a:pt x="245" y="463"/>
                    <a:pt x="306" y="389"/>
                    <a:pt x="381" y="327"/>
                  </a:cubicBezTo>
                  <a:cubicBezTo>
                    <a:pt x="430" y="287"/>
                    <a:pt x="483" y="255"/>
                    <a:pt x="547" y="248"/>
                  </a:cubicBezTo>
                  <a:cubicBezTo>
                    <a:pt x="591" y="243"/>
                    <a:pt x="633" y="272"/>
                    <a:pt x="642" y="314"/>
                  </a:cubicBezTo>
                  <a:cubicBezTo>
                    <a:pt x="652" y="361"/>
                    <a:pt x="627" y="405"/>
                    <a:pt x="582" y="417"/>
                  </a:cubicBezTo>
                  <a:cubicBezTo>
                    <a:pt x="477" y="443"/>
                    <a:pt x="412" y="510"/>
                    <a:pt x="383" y="614"/>
                  </a:cubicBezTo>
                  <a:cubicBezTo>
                    <a:pt x="371" y="656"/>
                    <a:pt x="331" y="682"/>
                    <a:pt x="288" y="6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0" name="Freeform 20">
              <a:extLst>
                <a:ext uri="{FF2B5EF4-FFF2-40B4-BE49-F238E27FC236}">
                  <a16:creationId xmlns:a16="http://schemas.microsoft.com/office/drawing/2014/main" id="{5C5283AA-D5DD-484C-AC12-1DC836864520}"/>
                </a:ext>
              </a:extLst>
            </p:cNvPr>
            <p:cNvSpPr>
              <a:spLocks/>
            </p:cNvSpPr>
            <p:nvPr/>
          </p:nvSpPr>
          <p:spPr bwMode="auto">
            <a:xfrm>
              <a:off x="776288" y="3159125"/>
              <a:ext cx="233363" cy="93663"/>
            </a:xfrm>
            <a:custGeom>
              <a:avLst/>
              <a:gdLst>
                <a:gd name="T0" fmla="*/ 827 w 927"/>
                <a:gd name="T1" fmla="*/ 1 h 372"/>
                <a:gd name="T2" fmla="*/ 102 w 927"/>
                <a:gd name="T3" fmla="*/ 1 h 372"/>
                <a:gd name="T4" fmla="*/ 0 w 927"/>
                <a:gd name="T5" fmla="*/ 91 h 372"/>
                <a:gd name="T6" fmla="*/ 100 w 927"/>
                <a:gd name="T7" fmla="*/ 182 h 372"/>
                <a:gd name="T8" fmla="*/ 212 w 927"/>
                <a:gd name="T9" fmla="*/ 243 h 372"/>
                <a:gd name="T10" fmla="*/ 373 w 927"/>
                <a:gd name="T11" fmla="*/ 372 h 372"/>
                <a:gd name="T12" fmla="*/ 553 w 927"/>
                <a:gd name="T13" fmla="*/ 372 h 372"/>
                <a:gd name="T14" fmla="*/ 714 w 927"/>
                <a:gd name="T15" fmla="*/ 243 h 372"/>
                <a:gd name="T16" fmla="*/ 830 w 927"/>
                <a:gd name="T17" fmla="*/ 182 h 372"/>
                <a:gd name="T18" fmla="*/ 926 w 927"/>
                <a:gd name="T19" fmla="*/ 90 h 372"/>
                <a:gd name="T20" fmla="*/ 827 w 927"/>
                <a:gd name="T21" fmla="*/ 1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7" h="372">
                  <a:moveTo>
                    <a:pt x="827" y="1"/>
                  </a:moveTo>
                  <a:cubicBezTo>
                    <a:pt x="586" y="0"/>
                    <a:pt x="344" y="0"/>
                    <a:pt x="102" y="1"/>
                  </a:cubicBezTo>
                  <a:cubicBezTo>
                    <a:pt x="39" y="1"/>
                    <a:pt x="0" y="38"/>
                    <a:pt x="0" y="91"/>
                  </a:cubicBezTo>
                  <a:cubicBezTo>
                    <a:pt x="0" y="144"/>
                    <a:pt x="38" y="179"/>
                    <a:pt x="100" y="182"/>
                  </a:cubicBezTo>
                  <a:cubicBezTo>
                    <a:pt x="147" y="184"/>
                    <a:pt x="190" y="202"/>
                    <a:pt x="212" y="243"/>
                  </a:cubicBezTo>
                  <a:cubicBezTo>
                    <a:pt x="248" y="310"/>
                    <a:pt x="300" y="353"/>
                    <a:pt x="373" y="372"/>
                  </a:cubicBezTo>
                  <a:cubicBezTo>
                    <a:pt x="433" y="372"/>
                    <a:pt x="493" y="372"/>
                    <a:pt x="553" y="372"/>
                  </a:cubicBezTo>
                  <a:cubicBezTo>
                    <a:pt x="626" y="353"/>
                    <a:pt x="678" y="309"/>
                    <a:pt x="714" y="243"/>
                  </a:cubicBezTo>
                  <a:cubicBezTo>
                    <a:pt x="737" y="200"/>
                    <a:pt x="781" y="184"/>
                    <a:pt x="830" y="182"/>
                  </a:cubicBezTo>
                  <a:cubicBezTo>
                    <a:pt x="888" y="179"/>
                    <a:pt x="927" y="142"/>
                    <a:pt x="926" y="90"/>
                  </a:cubicBezTo>
                  <a:cubicBezTo>
                    <a:pt x="926" y="40"/>
                    <a:pt x="885" y="1"/>
                    <a:pt x="82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1" name="Freeform 21">
              <a:extLst>
                <a:ext uri="{FF2B5EF4-FFF2-40B4-BE49-F238E27FC236}">
                  <a16:creationId xmlns:a16="http://schemas.microsoft.com/office/drawing/2014/main" id="{82795075-528F-4497-B85B-95D3F898338E}"/>
                </a:ext>
              </a:extLst>
            </p:cNvPr>
            <p:cNvSpPr>
              <a:spLocks/>
            </p:cNvSpPr>
            <p:nvPr/>
          </p:nvSpPr>
          <p:spPr bwMode="auto">
            <a:xfrm>
              <a:off x="776288" y="3090863"/>
              <a:ext cx="238125" cy="46038"/>
            </a:xfrm>
            <a:custGeom>
              <a:avLst/>
              <a:gdLst>
                <a:gd name="T0" fmla="*/ 827 w 947"/>
                <a:gd name="T1" fmla="*/ 2 h 184"/>
                <a:gd name="T2" fmla="*/ 464 w 947"/>
                <a:gd name="T3" fmla="*/ 1 h 184"/>
                <a:gd name="T4" fmla="*/ 464 w 947"/>
                <a:gd name="T5" fmla="*/ 1 h 184"/>
                <a:gd name="T6" fmla="*/ 101 w 947"/>
                <a:gd name="T7" fmla="*/ 2 h 184"/>
                <a:gd name="T8" fmla="*/ 0 w 947"/>
                <a:gd name="T9" fmla="*/ 92 h 184"/>
                <a:gd name="T10" fmla="*/ 96 w 947"/>
                <a:gd name="T11" fmla="*/ 183 h 184"/>
                <a:gd name="T12" fmla="*/ 830 w 947"/>
                <a:gd name="T13" fmla="*/ 183 h 184"/>
                <a:gd name="T14" fmla="*/ 916 w 947"/>
                <a:gd name="T15" fmla="*/ 132 h 184"/>
                <a:gd name="T16" fmla="*/ 827 w 947"/>
                <a:gd name="T17" fmla="*/ 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7" h="184">
                  <a:moveTo>
                    <a:pt x="827" y="2"/>
                  </a:moveTo>
                  <a:cubicBezTo>
                    <a:pt x="706" y="0"/>
                    <a:pt x="585" y="1"/>
                    <a:pt x="464" y="1"/>
                  </a:cubicBezTo>
                  <a:cubicBezTo>
                    <a:pt x="464" y="1"/>
                    <a:pt x="464" y="1"/>
                    <a:pt x="464" y="1"/>
                  </a:cubicBezTo>
                  <a:cubicBezTo>
                    <a:pt x="343" y="1"/>
                    <a:pt x="222" y="1"/>
                    <a:pt x="101" y="2"/>
                  </a:cubicBezTo>
                  <a:cubicBezTo>
                    <a:pt x="41" y="2"/>
                    <a:pt x="0" y="39"/>
                    <a:pt x="0" y="92"/>
                  </a:cubicBezTo>
                  <a:cubicBezTo>
                    <a:pt x="0" y="143"/>
                    <a:pt x="39" y="183"/>
                    <a:pt x="96" y="183"/>
                  </a:cubicBezTo>
                  <a:cubicBezTo>
                    <a:pt x="341" y="184"/>
                    <a:pt x="585" y="184"/>
                    <a:pt x="830" y="183"/>
                  </a:cubicBezTo>
                  <a:cubicBezTo>
                    <a:pt x="868" y="183"/>
                    <a:pt x="898" y="167"/>
                    <a:pt x="916" y="132"/>
                  </a:cubicBezTo>
                  <a:cubicBezTo>
                    <a:pt x="947" y="70"/>
                    <a:pt x="903" y="2"/>
                    <a:pt x="8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Tree>
    <p:extLst>
      <p:ext uri="{BB962C8B-B14F-4D97-AF65-F5344CB8AC3E}">
        <p14:creationId xmlns:p14="http://schemas.microsoft.com/office/powerpoint/2010/main" val="218309845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27013"/>
            <a:ext cx="10962219" cy="498475"/>
          </a:xfrm>
        </p:spPr>
        <p:txBody>
          <a:bodyPr/>
          <a:lstStyle>
            <a:lvl1pPr>
              <a:defRPr baseline="0"/>
            </a:lvl1pPr>
          </a:lstStyle>
          <a:p>
            <a:r>
              <a:rPr lang="en-US" dirty="0"/>
              <a:t>Text layout</a:t>
            </a:r>
          </a:p>
        </p:txBody>
      </p:sp>
      <p:sp>
        <p:nvSpPr>
          <p:cNvPr id="3" name="Text Placeholder 20"/>
          <p:cNvSpPr>
            <a:spLocks noGrp="1"/>
          </p:cNvSpPr>
          <p:nvPr>
            <p:ph type="body" sz="quarter" idx="10"/>
          </p:nvPr>
        </p:nvSpPr>
        <p:spPr>
          <a:xfrm>
            <a:off x="609601" y="1530351"/>
            <a:ext cx="10962217" cy="4660900"/>
          </a:xfrm>
          <a:prstGeom prst="rect">
            <a:avLst/>
          </a:prstGeom>
        </p:spPr>
        <p:txBody>
          <a:bodyPr lIns="0" tIns="91440" bIns="91440" anchor="ctr" anchorCtr="0"/>
          <a:lstStyle>
            <a:lvl1pPr marL="224361" indent="-224361">
              <a:spcBef>
                <a:spcPts val="2400"/>
              </a:spcBef>
              <a:buSzPct val="100000"/>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1pPr>
            <a:lvl2pPr marL="537620" indent="-234945">
              <a:lnSpc>
                <a:spcPct val="90000"/>
              </a:lnSpc>
              <a:spcBef>
                <a:spcPts val="0"/>
              </a:spcBef>
              <a:tabLst>
                <a:tab pos="537620" algn="l"/>
              </a:tabLst>
              <a:defRPr sz="2133">
                <a:solidFill>
                  <a:schemeClr val="tx1"/>
                </a:solidFill>
                <a:latin typeface="Arial" panose="020B0604020202020204" pitchFamily="34" charset="0"/>
                <a:cs typeface="Arial" panose="020B0604020202020204" pitchFamily="34" charset="0"/>
              </a:defRPr>
            </a:lvl2pPr>
            <a:lvl3pPr marL="838179" indent="-222245">
              <a:lnSpc>
                <a:spcPct val="90000"/>
              </a:lnSpc>
              <a:spcBef>
                <a:spcPts val="0"/>
              </a:spcBef>
              <a:buFont typeface="Courier New" panose="02070309020205020404" pitchFamily="49" charset="0"/>
              <a:buChar char="o"/>
              <a:defRPr sz="1867">
                <a:solidFill>
                  <a:schemeClr val="tx1"/>
                </a:solidFill>
                <a:latin typeface="Arial" panose="020B0604020202020204" pitchFamily="34" charset="0"/>
                <a:cs typeface="Arial" panose="020B0604020202020204" pitchFamily="34" charset="0"/>
              </a:defRPr>
            </a:lvl3pPr>
            <a:lvl4pPr marL="1979035" indent="-222245">
              <a:lnSpc>
                <a:spcPct val="90000"/>
              </a:lnSpc>
              <a:spcBef>
                <a:spcPts val="0"/>
              </a:spcBef>
              <a:buFont typeface="Arial" panose="020B0604020202020204" pitchFamily="34" charset="0"/>
              <a:buChar char="»"/>
              <a:defRPr lang="en-US" sz="2400" kern="1200" dirty="0" smtClean="0">
                <a:solidFill>
                  <a:srgbClr val="646464"/>
                </a:solidFill>
                <a:latin typeface="Arial" panose="020B0604020202020204" pitchFamily="34" charset="0"/>
                <a:ea typeface="+mn-ea"/>
                <a:cs typeface="Arial" panose="020B0604020202020204" pitchFamily="34" charset="0"/>
              </a:defRPr>
            </a:lvl4pPr>
            <a:lvl5pPr>
              <a:defRPr sz="2133">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4" name="Text Placeholder 4"/>
          <p:cNvSpPr>
            <a:spLocks noGrp="1"/>
          </p:cNvSpPr>
          <p:nvPr>
            <p:ph type="body" sz="quarter" idx="11" hasCustomPrompt="1"/>
          </p:nvPr>
        </p:nvSpPr>
        <p:spPr>
          <a:xfrm>
            <a:off x="600428" y="881767"/>
            <a:ext cx="10972800" cy="366932"/>
          </a:xfrm>
        </p:spPr>
        <p:txBody>
          <a:bodyPr/>
          <a:lstStyle>
            <a:lvl1pPr marL="0" indent="0">
              <a:buNone/>
              <a:defRPr sz="2667" baseline="0"/>
            </a:lvl1pPr>
            <a:lvl2pPr marL="302675" indent="0">
              <a:buNone/>
              <a:defRPr/>
            </a:lvl2pPr>
          </a:lstStyle>
          <a:p>
            <a:pPr lvl="0"/>
            <a:r>
              <a:rPr lang="en-US" dirty="0"/>
              <a:t>Subheader optional—delete if not needed</a:t>
            </a:r>
          </a:p>
        </p:txBody>
      </p:sp>
    </p:spTree>
    <p:extLst>
      <p:ext uri="{BB962C8B-B14F-4D97-AF65-F5344CB8AC3E}">
        <p14:creationId xmlns:p14="http://schemas.microsoft.com/office/powerpoint/2010/main" val="2817047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Blank Slide with title (customiz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Blank Slide (Customize)</a:t>
            </a:r>
          </a:p>
        </p:txBody>
      </p:sp>
    </p:spTree>
    <p:extLst>
      <p:ext uri="{BB962C8B-B14F-4D97-AF65-F5344CB8AC3E}">
        <p14:creationId xmlns:p14="http://schemas.microsoft.com/office/powerpoint/2010/main" val="3670036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TWO images and text">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p:txBody>
          <a:bodyPr/>
          <a:lstStyle>
            <a:lvl1pPr>
              <a:defRPr sz="3200"/>
            </a:lvl1pPr>
          </a:lstStyle>
          <a:p>
            <a:r>
              <a:rPr lang="en-US" dirty="0"/>
              <a:t>Comparing two items or features</a:t>
            </a:r>
          </a:p>
        </p:txBody>
      </p:sp>
      <p:sp>
        <p:nvSpPr>
          <p:cNvPr id="4" name="Text Placeholder 3"/>
          <p:cNvSpPr>
            <a:spLocks noGrp="1"/>
          </p:cNvSpPr>
          <p:nvPr userDrawn="1">
            <p:ph type="body" sz="quarter" idx="10" hasCustomPrompt="1"/>
          </p:nvPr>
        </p:nvSpPr>
        <p:spPr>
          <a:xfrm>
            <a:off x="3676357" y="1535378"/>
            <a:ext cx="7908160" cy="2103396"/>
          </a:xfrm>
        </p:spPr>
        <p:txBody>
          <a:bodyPr/>
          <a:lstStyle>
            <a:lvl1pPr marL="0" indent="0">
              <a:buNone/>
              <a:defRPr sz="2133" baseline="0"/>
            </a:lvl1pPr>
          </a:lstStyle>
          <a:p>
            <a:pPr lvl="0"/>
            <a:r>
              <a:rPr lang="en-US" dirty="0"/>
              <a:t>Enter your text here</a:t>
            </a:r>
          </a:p>
        </p:txBody>
      </p:sp>
      <p:sp>
        <p:nvSpPr>
          <p:cNvPr id="5" name="Text Placeholder 3"/>
          <p:cNvSpPr>
            <a:spLocks noGrp="1"/>
          </p:cNvSpPr>
          <p:nvPr userDrawn="1">
            <p:ph type="body" sz="quarter" idx="11" hasCustomPrompt="1"/>
          </p:nvPr>
        </p:nvSpPr>
        <p:spPr>
          <a:xfrm>
            <a:off x="3676357" y="4128454"/>
            <a:ext cx="7908160" cy="2058407"/>
          </a:xfrm>
        </p:spPr>
        <p:txBody>
          <a:bodyPr/>
          <a:lstStyle>
            <a:lvl1pPr marL="0" indent="0">
              <a:buNone/>
              <a:defRPr sz="2133"/>
            </a:lvl1pPr>
          </a:lstStyle>
          <a:p>
            <a:pPr lvl="0"/>
            <a:r>
              <a:rPr lang="en-US" dirty="0"/>
              <a:t>Enter your text here</a:t>
            </a:r>
          </a:p>
        </p:txBody>
      </p:sp>
      <p:cxnSp>
        <p:nvCxnSpPr>
          <p:cNvPr id="7" name="Straight Connector 6"/>
          <p:cNvCxnSpPr/>
          <p:nvPr userDrawn="1"/>
        </p:nvCxnSpPr>
        <p:spPr>
          <a:xfrm>
            <a:off x="611717" y="3860359"/>
            <a:ext cx="11580283"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21" name="Text Placeholder 4"/>
          <p:cNvSpPr>
            <a:spLocks noGrp="1"/>
          </p:cNvSpPr>
          <p:nvPr userDrawn="1">
            <p:ph type="body" sz="quarter" idx="14" hasCustomPrompt="1"/>
          </p:nvPr>
        </p:nvSpPr>
        <p:spPr>
          <a:xfrm>
            <a:off x="589139" y="881767"/>
            <a:ext cx="10972800" cy="366932"/>
          </a:xfrm>
        </p:spPr>
        <p:txBody>
          <a:bodyPr/>
          <a:lstStyle>
            <a:lvl1pPr marL="0" indent="0">
              <a:buNone/>
              <a:defRPr sz="2667" baseline="0"/>
            </a:lvl1pPr>
            <a:lvl2pPr marL="302675" indent="0">
              <a:buNone/>
              <a:defRPr/>
            </a:lvl2pPr>
          </a:lstStyle>
          <a:p>
            <a:pPr lvl="0"/>
            <a:r>
              <a:rPr lang="en-US" dirty="0"/>
              <a:t>Sub-header optional—delete if not needed</a:t>
            </a:r>
          </a:p>
        </p:txBody>
      </p:sp>
      <p:sp>
        <p:nvSpPr>
          <p:cNvPr id="22" name="Text Placeholder 5"/>
          <p:cNvSpPr>
            <a:spLocks noGrp="1"/>
          </p:cNvSpPr>
          <p:nvPr userDrawn="1">
            <p:ph type="body" sz="quarter" idx="15" hasCustomPrompt="1"/>
          </p:nvPr>
        </p:nvSpPr>
        <p:spPr>
          <a:xfrm>
            <a:off x="3138793" y="6560363"/>
            <a:ext cx="5927388" cy="214955"/>
          </a:xfrm>
        </p:spPr>
        <p:txBody>
          <a:bodyPr/>
          <a:lstStyle>
            <a:lvl1pPr marL="0" indent="0" algn="ctr">
              <a:buNone/>
              <a:defRPr sz="933" baseline="0"/>
            </a:lvl1pPr>
          </a:lstStyle>
          <a:p>
            <a:pPr lvl="0"/>
            <a:r>
              <a:rPr lang="en-US" dirty="0"/>
              <a:t>For internal use only.</a:t>
            </a:r>
          </a:p>
        </p:txBody>
      </p:sp>
      <p:grpSp>
        <p:nvGrpSpPr>
          <p:cNvPr id="23" name="Group 22"/>
          <p:cNvGrpSpPr/>
          <p:nvPr userDrawn="1"/>
        </p:nvGrpSpPr>
        <p:grpSpPr>
          <a:xfrm>
            <a:off x="-2120087" y="1725355"/>
            <a:ext cx="1879365" cy="2359171"/>
            <a:chOff x="-1663544" y="2872984"/>
            <a:chExt cx="1409524" cy="2359171"/>
          </a:xfrm>
        </p:grpSpPr>
        <p:pic>
          <p:nvPicPr>
            <p:cNvPr id="2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663544" y="4584536"/>
              <a:ext cx="1409524" cy="6476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TextBox 24"/>
            <p:cNvSpPr txBox="1"/>
            <p:nvPr/>
          </p:nvSpPr>
          <p:spPr>
            <a:xfrm>
              <a:off x="-1663544" y="2872984"/>
              <a:ext cx="1386540" cy="1384995"/>
            </a:xfrm>
            <a:prstGeom prst="rect">
              <a:avLst/>
            </a:prstGeom>
            <a:noFill/>
          </p:spPr>
          <p:txBody>
            <a:bodyPr wrap="square" rtlCol="0">
              <a:spAutoFit/>
            </a:bodyPr>
            <a:lstStyle/>
            <a:p>
              <a:r>
                <a:rPr lang="en-US" sz="1400" dirty="0"/>
                <a:t>To crop image or reposition image inside of frame, right click on the image and select the crop tool</a:t>
              </a:r>
            </a:p>
          </p:txBody>
        </p:sp>
      </p:grpSp>
    </p:spTree>
    <p:extLst>
      <p:ext uri="{BB962C8B-B14F-4D97-AF65-F5344CB8AC3E}">
        <p14:creationId xmlns:p14="http://schemas.microsoft.com/office/powerpoint/2010/main" val="4267631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6" name="Rectangle 5"/>
          <p:cNvSpPr/>
          <p:nvPr userDrawn="1"/>
        </p:nvSpPr>
        <p:spPr>
          <a:xfrm>
            <a:off x="0" y="5981701"/>
            <a:ext cx="12192000" cy="876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9" name="Title 1"/>
          <p:cNvSpPr>
            <a:spLocks noGrp="1"/>
          </p:cNvSpPr>
          <p:nvPr>
            <p:ph type="title" hasCustomPrompt="1"/>
          </p:nvPr>
        </p:nvSpPr>
        <p:spPr>
          <a:xfrm>
            <a:off x="1125416" y="3263706"/>
            <a:ext cx="10445704" cy="1570447"/>
          </a:xfrm>
        </p:spPr>
        <p:txBody>
          <a:bodyPr bIns="91440" anchor="b" anchorCtr="0">
            <a:noAutofit/>
          </a:bodyPr>
          <a:lstStyle>
            <a:lvl1pPr>
              <a:defRPr sz="3733" b="0" baseline="0">
                <a:solidFill>
                  <a:srgbClr val="000000"/>
                </a:solidFill>
              </a:defRPr>
            </a:lvl1pPr>
          </a:lstStyle>
          <a:p>
            <a:r>
              <a:rPr lang="en-US" dirty="0"/>
              <a:t>Protective Template – Widescreen  (16:9)</a:t>
            </a:r>
          </a:p>
        </p:txBody>
      </p:sp>
      <p:sp>
        <p:nvSpPr>
          <p:cNvPr id="20" name="Text Placeholder 6"/>
          <p:cNvSpPr>
            <a:spLocks noGrp="1"/>
          </p:cNvSpPr>
          <p:nvPr>
            <p:ph type="body" sz="quarter" idx="10" hasCustomPrompt="1"/>
          </p:nvPr>
        </p:nvSpPr>
        <p:spPr>
          <a:xfrm>
            <a:off x="1125416" y="4871580"/>
            <a:ext cx="10445704" cy="332117"/>
          </a:xfrm>
          <a:prstGeom prst="rect">
            <a:avLst/>
          </a:prstGeom>
        </p:spPr>
        <p:txBody>
          <a:bodyPr lIns="0" tIns="0" rIns="0" bIns="0" anchor="ctr" anchorCtr="0">
            <a:noAutofit/>
          </a:bodyPr>
          <a:lstStyle>
            <a:lvl1pPr marL="0" indent="0">
              <a:buNone/>
              <a:defRPr sz="2133">
                <a:solidFill>
                  <a:srgbClr val="000000"/>
                </a:solidFill>
              </a:defRPr>
            </a:lvl1pPr>
            <a:lvl5pPr marL="2438339" indent="0">
              <a:buNone/>
              <a:defRPr/>
            </a:lvl5pPr>
          </a:lstStyle>
          <a:p>
            <a:pPr lvl="0"/>
            <a:r>
              <a:rPr lang="en-US" dirty="0"/>
              <a:t>Name</a:t>
            </a:r>
          </a:p>
        </p:txBody>
      </p:sp>
      <p:sp>
        <p:nvSpPr>
          <p:cNvPr id="13" name="Text Placeholder 6"/>
          <p:cNvSpPr>
            <a:spLocks noGrp="1"/>
          </p:cNvSpPr>
          <p:nvPr>
            <p:ph type="body" sz="quarter" idx="11" hasCustomPrompt="1"/>
          </p:nvPr>
        </p:nvSpPr>
        <p:spPr>
          <a:xfrm>
            <a:off x="1125416" y="5241123"/>
            <a:ext cx="10445704" cy="332117"/>
          </a:xfrm>
          <a:prstGeom prst="rect">
            <a:avLst/>
          </a:prstGeom>
        </p:spPr>
        <p:txBody>
          <a:bodyPr lIns="0" tIns="0" rIns="0" bIns="0" anchor="ctr" anchorCtr="0">
            <a:noAutofit/>
          </a:bodyPr>
          <a:lstStyle>
            <a:lvl1pPr marL="0" indent="0">
              <a:buNone/>
              <a:defRPr sz="1467">
                <a:solidFill>
                  <a:srgbClr val="000000"/>
                </a:solidFill>
              </a:defRPr>
            </a:lvl1pPr>
            <a:lvl5pPr marL="2438339" indent="0">
              <a:buNone/>
              <a:defRPr/>
            </a:lvl5pPr>
          </a:lstStyle>
          <a:p>
            <a:pPr lvl="0"/>
            <a:r>
              <a:rPr lang="en-US" dirty="0"/>
              <a:t>Designations</a:t>
            </a:r>
          </a:p>
        </p:txBody>
      </p:sp>
      <p:pic>
        <p:nvPicPr>
          <p:cNvPr id="16"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125417" y="1788608"/>
            <a:ext cx="3232095" cy="10851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7" name="Rectangle 116"/>
          <p:cNvSpPr/>
          <p:nvPr userDrawn="1"/>
        </p:nvSpPr>
        <p:spPr>
          <a:xfrm>
            <a:off x="723481" y="1"/>
            <a:ext cx="830664" cy="8359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nvGrpSpPr>
          <p:cNvPr id="113" name="Group 112"/>
          <p:cNvGrpSpPr/>
          <p:nvPr userDrawn="1"/>
        </p:nvGrpSpPr>
        <p:grpSpPr>
          <a:xfrm>
            <a:off x="3" y="-1"/>
            <a:ext cx="12191999" cy="1319215"/>
            <a:chOff x="1" y="-1"/>
            <a:chExt cx="9143999" cy="937029"/>
          </a:xfrm>
        </p:grpSpPr>
        <p:sp>
          <p:nvSpPr>
            <p:cNvPr id="114" name="Rectangle 113"/>
            <p:cNvSpPr/>
            <p:nvPr userDrawn="1"/>
          </p:nvSpPr>
          <p:spPr>
            <a:xfrm>
              <a:off x="844062" y="-1"/>
              <a:ext cx="8299938" cy="937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15" name="Rectangle 114"/>
            <p:cNvSpPr/>
            <p:nvPr userDrawn="1"/>
          </p:nvSpPr>
          <p:spPr>
            <a:xfrm>
              <a:off x="1" y="0"/>
              <a:ext cx="763674" cy="9370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grpSp>
        <p:nvGrpSpPr>
          <p:cNvPr id="3" name="Group 2"/>
          <p:cNvGrpSpPr/>
          <p:nvPr userDrawn="1"/>
        </p:nvGrpSpPr>
        <p:grpSpPr>
          <a:xfrm>
            <a:off x="6997331" y="2224645"/>
            <a:ext cx="4484059" cy="508473"/>
            <a:chOff x="4795076" y="2042524"/>
            <a:chExt cx="3944805" cy="443453"/>
          </a:xfrm>
        </p:grpSpPr>
        <p:grpSp>
          <p:nvGrpSpPr>
            <p:cNvPr id="23" name="Group 22"/>
            <p:cNvGrpSpPr/>
            <p:nvPr userDrawn="1"/>
          </p:nvGrpSpPr>
          <p:grpSpPr>
            <a:xfrm>
              <a:off x="5720391" y="2099300"/>
              <a:ext cx="332398" cy="321325"/>
              <a:chOff x="577850" y="3692517"/>
              <a:chExt cx="285750" cy="276230"/>
            </a:xfrm>
            <a:solidFill>
              <a:schemeClr val="tx2">
                <a:lumMod val="50000"/>
              </a:schemeClr>
            </a:solidFill>
          </p:grpSpPr>
          <p:sp>
            <p:nvSpPr>
              <p:cNvPr id="24" name="Freeform 12"/>
              <p:cNvSpPr>
                <a:spLocks/>
              </p:cNvSpPr>
              <p:nvPr/>
            </p:nvSpPr>
            <p:spPr bwMode="auto">
              <a:xfrm>
                <a:off x="596900" y="3692517"/>
                <a:ext cx="71437" cy="98425"/>
              </a:xfrm>
              <a:custGeom>
                <a:avLst/>
                <a:gdLst>
                  <a:gd name="T0" fmla="*/ 186 w 315"/>
                  <a:gd name="T1" fmla="*/ 433 h 433"/>
                  <a:gd name="T2" fmla="*/ 186 w 315"/>
                  <a:gd name="T3" fmla="*/ 399 h 433"/>
                  <a:gd name="T4" fmla="*/ 283 w 315"/>
                  <a:gd name="T5" fmla="*/ 365 h 433"/>
                  <a:gd name="T6" fmla="*/ 315 w 315"/>
                  <a:gd name="T7" fmla="*/ 288 h 433"/>
                  <a:gd name="T8" fmla="*/ 303 w 315"/>
                  <a:gd name="T9" fmla="*/ 237 h 433"/>
                  <a:gd name="T10" fmla="*/ 274 w 315"/>
                  <a:gd name="T11" fmla="*/ 205 h 433"/>
                  <a:gd name="T12" fmla="*/ 209 w 315"/>
                  <a:gd name="T13" fmla="*/ 173 h 433"/>
                  <a:gd name="T14" fmla="*/ 141 w 315"/>
                  <a:gd name="T15" fmla="*/ 140 h 433"/>
                  <a:gd name="T16" fmla="*/ 129 w 315"/>
                  <a:gd name="T17" fmla="*/ 110 h 433"/>
                  <a:gd name="T18" fmla="*/ 135 w 315"/>
                  <a:gd name="T19" fmla="*/ 90 h 433"/>
                  <a:gd name="T20" fmla="*/ 152 w 315"/>
                  <a:gd name="T21" fmla="*/ 84 h 433"/>
                  <a:gd name="T22" fmla="*/ 171 w 315"/>
                  <a:gd name="T23" fmla="*/ 91 h 433"/>
                  <a:gd name="T24" fmla="*/ 175 w 315"/>
                  <a:gd name="T25" fmla="*/ 123 h 433"/>
                  <a:gd name="T26" fmla="*/ 175 w 315"/>
                  <a:gd name="T27" fmla="*/ 138 h 433"/>
                  <a:gd name="T28" fmla="*/ 301 w 315"/>
                  <a:gd name="T29" fmla="*/ 138 h 433"/>
                  <a:gd name="T30" fmla="*/ 302 w 315"/>
                  <a:gd name="T31" fmla="*/ 121 h 433"/>
                  <a:gd name="T32" fmla="*/ 273 w 315"/>
                  <a:gd name="T33" fmla="*/ 57 h 433"/>
                  <a:gd name="T34" fmla="*/ 186 w 315"/>
                  <a:gd name="T35" fmla="*/ 29 h 433"/>
                  <a:gd name="T36" fmla="*/ 186 w 315"/>
                  <a:gd name="T37" fmla="*/ 0 h 433"/>
                  <a:gd name="T38" fmla="*/ 128 w 315"/>
                  <a:gd name="T39" fmla="*/ 0 h 433"/>
                  <a:gd name="T40" fmla="*/ 128 w 315"/>
                  <a:gd name="T41" fmla="*/ 29 h 433"/>
                  <a:gd name="T42" fmla="*/ 32 w 315"/>
                  <a:gd name="T43" fmla="*/ 58 h 433"/>
                  <a:gd name="T44" fmla="*/ 0 w 315"/>
                  <a:gd name="T45" fmla="*/ 122 h 433"/>
                  <a:gd name="T46" fmla="*/ 15 w 315"/>
                  <a:gd name="T47" fmla="*/ 173 h 433"/>
                  <a:gd name="T48" fmla="*/ 51 w 315"/>
                  <a:gd name="T49" fmla="*/ 207 h 433"/>
                  <a:gd name="T50" fmla="*/ 129 w 315"/>
                  <a:gd name="T51" fmla="*/ 246 h 433"/>
                  <a:gd name="T52" fmla="*/ 170 w 315"/>
                  <a:gd name="T53" fmla="*/ 275 h 433"/>
                  <a:gd name="T54" fmla="*/ 176 w 315"/>
                  <a:gd name="T55" fmla="*/ 319 h 433"/>
                  <a:gd name="T56" fmla="*/ 170 w 315"/>
                  <a:gd name="T57" fmla="*/ 337 h 433"/>
                  <a:gd name="T58" fmla="*/ 151 w 315"/>
                  <a:gd name="T59" fmla="*/ 343 h 433"/>
                  <a:gd name="T60" fmla="*/ 132 w 315"/>
                  <a:gd name="T61" fmla="*/ 334 h 433"/>
                  <a:gd name="T62" fmla="*/ 128 w 315"/>
                  <a:gd name="T63" fmla="*/ 289 h 433"/>
                  <a:gd name="T64" fmla="*/ 128 w 315"/>
                  <a:gd name="T65" fmla="*/ 266 h 433"/>
                  <a:gd name="T66" fmla="*/ 2 w 315"/>
                  <a:gd name="T67" fmla="*/ 266 h 433"/>
                  <a:gd name="T68" fmla="*/ 2 w 315"/>
                  <a:gd name="T69" fmla="*/ 284 h 433"/>
                  <a:gd name="T70" fmla="*/ 40 w 315"/>
                  <a:gd name="T71" fmla="*/ 370 h 433"/>
                  <a:gd name="T72" fmla="*/ 128 w 315"/>
                  <a:gd name="T73" fmla="*/ 398 h 433"/>
                  <a:gd name="T74" fmla="*/ 128 w 315"/>
                  <a:gd name="T75" fmla="*/ 433 h 433"/>
                  <a:gd name="T76" fmla="*/ 186 w 315"/>
                  <a:gd name="T77" fmla="*/ 433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5" h="433">
                    <a:moveTo>
                      <a:pt x="186" y="433"/>
                    </a:moveTo>
                    <a:cubicBezTo>
                      <a:pt x="186" y="399"/>
                      <a:pt x="186" y="399"/>
                      <a:pt x="186" y="399"/>
                    </a:cubicBezTo>
                    <a:cubicBezTo>
                      <a:pt x="229" y="395"/>
                      <a:pt x="261" y="383"/>
                      <a:pt x="283" y="365"/>
                    </a:cubicBezTo>
                    <a:cubicBezTo>
                      <a:pt x="305" y="346"/>
                      <a:pt x="315" y="320"/>
                      <a:pt x="315" y="288"/>
                    </a:cubicBezTo>
                    <a:cubicBezTo>
                      <a:pt x="315" y="268"/>
                      <a:pt x="311" y="251"/>
                      <a:pt x="303" y="237"/>
                    </a:cubicBezTo>
                    <a:cubicBezTo>
                      <a:pt x="295" y="223"/>
                      <a:pt x="286" y="213"/>
                      <a:pt x="274" y="205"/>
                    </a:cubicBezTo>
                    <a:cubicBezTo>
                      <a:pt x="262" y="198"/>
                      <a:pt x="241" y="187"/>
                      <a:pt x="209" y="173"/>
                    </a:cubicBezTo>
                    <a:cubicBezTo>
                      <a:pt x="171" y="156"/>
                      <a:pt x="148" y="145"/>
                      <a:pt x="141" y="140"/>
                    </a:cubicBezTo>
                    <a:cubicBezTo>
                      <a:pt x="133" y="134"/>
                      <a:pt x="129" y="124"/>
                      <a:pt x="129" y="110"/>
                    </a:cubicBezTo>
                    <a:cubicBezTo>
                      <a:pt x="129" y="101"/>
                      <a:pt x="131" y="95"/>
                      <a:pt x="135" y="90"/>
                    </a:cubicBezTo>
                    <a:cubicBezTo>
                      <a:pt x="138" y="86"/>
                      <a:pt x="144" y="84"/>
                      <a:pt x="152" y="84"/>
                    </a:cubicBezTo>
                    <a:cubicBezTo>
                      <a:pt x="161" y="84"/>
                      <a:pt x="168" y="86"/>
                      <a:pt x="171" y="91"/>
                    </a:cubicBezTo>
                    <a:cubicBezTo>
                      <a:pt x="173" y="96"/>
                      <a:pt x="175" y="107"/>
                      <a:pt x="175" y="123"/>
                    </a:cubicBezTo>
                    <a:cubicBezTo>
                      <a:pt x="175" y="138"/>
                      <a:pt x="175" y="138"/>
                      <a:pt x="175" y="138"/>
                    </a:cubicBezTo>
                    <a:cubicBezTo>
                      <a:pt x="301" y="138"/>
                      <a:pt x="301" y="138"/>
                      <a:pt x="301" y="138"/>
                    </a:cubicBezTo>
                    <a:cubicBezTo>
                      <a:pt x="302" y="130"/>
                      <a:pt x="302" y="125"/>
                      <a:pt x="302" y="121"/>
                    </a:cubicBezTo>
                    <a:cubicBezTo>
                      <a:pt x="302" y="94"/>
                      <a:pt x="292" y="73"/>
                      <a:pt x="273" y="57"/>
                    </a:cubicBezTo>
                    <a:cubicBezTo>
                      <a:pt x="254" y="42"/>
                      <a:pt x="225" y="33"/>
                      <a:pt x="186" y="29"/>
                    </a:cubicBezTo>
                    <a:cubicBezTo>
                      <a:pt x="186" y="0"/>
                      <a:pt x="186" y="0"/>
                      <a:pt x="186" y="0"/>
                    </a:cubicBezTo>
                    <a:cubicBezTo>
                      <a:pt x="128" y="0"/>
                      <a:pt x="128" y="0"/>
                      <a:pt x="128" y="0"/>
                    </a:cubicBezTo>
                    <a:cubicBezTo>
                      <a:pt x="128" y="29"/>
                      <a:pt x="128" y="29"/>
                      <a:pt x="128" y="29"/>
                    </a:cubicBezTo>
                    <a:cubicBezTo>
                      <a:pt x="85" y="33"/>
                      <a:pt x="53" y="42"/>
                      <a:pt x="32" y="58"/>
                    </a:cubicBezTo>
                    <a:cubicBezTo>
                      <a:pt x="11" y="73"/>
                      <a:pt x="0" y="95"/>
                      <a:pt x="0" y="122"/>
                    </a:cubicBezTo>
                    <a:cubicBezTo>
                      <a:pt x="0" y="141"/>
                      <a:pt x="5" y="158"/>
                      <a:pt x="15" y="173"/>
                    </a:cubicBezTo>
                    <a:cubicBezTo>
                      <a:pt x="25" y="188"/>
                      <a:pt x="37" y="199"/>
                      <a:pt x="51" y="207"/>
                    </a:cubicBezTo>
                    <a:cubicBezTo>
                      <a:pt x="65" y="216"/>
                      <a:pt x="91" y="228"/>
                      <a:pt x="129" y="246"/>
                    </a:cubicBezTo>
                    <a:cubicBezTo>
                      <a:pt x="152" y="256"/>
                      <a:pt x="166" y="266"/>
                      <a:pt x="170" y="275"/>
                    </a:cubicBezTo>
                    <a:cubicBezTo>
                      <a:pt x="174" y="283"/>
                      <a:pt x="176" y="298"/>
                      <a:pt x="176" y="319"/>
                    </a:cubicBezTo>
                    <a:cubicBezTo>
                      <a:pt x="176" y="327"/>
                      <a:pt x="174" y="333"/>
                      <a:pt x="170" y="337"/>
                    </a:cubicBezTo>
                    <a:cubicBezTo>
                      <a:pt x="165" y="341"/>
                      <a:pt x="159" y="343"/>
                      <a:pt x="151" y="343"/>
                    </a:cubicBezTo>
                    <a:cubicBezTo>
                      <a:pt x="141" y="343"/>
                      <a:pt x="134" y="340"/>
                      <a:pt x="132" y="334"/>
                    </a:cubicBezTo>
                    <a:cubicBezTo>
                      <a:pt x="129" y="328"/>
                      <a:pt x="128" y="313"/>
                      <a:pt x="128" y="289"/>
                    </a:cubicBezTo>
                    <a:cubicBezTo>
                      <a:pt x="128" y="266"/>
                      <a:pt x="128" y="266"/>
                      <a:pt x="128" y="266"/>
                    </a:cubicBezTo>
                    <a:cubicBezTo>
                      <a:pt x="2" y="266"/>
                      <a:pt x="2" y="266"/>
                      <a:pt x="2" y="266"/>
                    </a:cubicBezTo>
                    <a:cubicBezTo>
                      <a:pt x="2" y="284"/>
                      <a:pt x="2" y="284"/>
                      <a:pt x="2" y="284"/>
                    </a:cubicBezTo>
                    <a:cubicBezTo>
                      <a:pt x="2" y="325"/>
                      <a:pt x="15" y="353"/>
                      <a:pt x="40" y="370"/>
                    </a:cubicBezTo>
                    <a:cubicBezTo>
                      <a:pt x="65" y="386"/>
                      <a:pt x="94" y="395"/>
                      <a:pt x="128" y="398"/>
                    </a:cubicBezTo>
                    <a:cubicBezTo>
                      <a:pt x="128" y="433"/>
                      <a:pt x="128" y="433"/>
                      <a:pt x="128" y="433"/>
                    </a:cubicBezTo>
                    <a:lnTo>
                      <a:pt x="186" y="433"/>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25" name="Freeform 13"/>
              <p:cNvSpPr>
                <a:spLocks/>
              </p:cNvSpPr>
              <p:nvPr/>
            </p:nvSpPr>
            <p:spPr bwMode="auto">
              <a:xfrm>
                <a:off x="581025" y="3889366"/>
                <a:ext cx="52387" cy="79375"/>
              </a:xfrm>
              <a:custGeom>
                <a:avLst/>
                <a:gdLst>
                  <a:gd name="T0" fmla="*/ 0 w 226"/>
                  <a:gd name="T1" fmla="*/ 106 h 348"/>
                  <a:gd name="T2" fmla="*/ 0 w 226"/>
                  <a:gd name="T3" fmla="*/ 316 h 348"/>
                  <a:gd name="T4" fmla="*/ 40 w 226"/>
                  <a:gd name="T5" fmla="*/ 348 h 348"/>
                  <a:gd name="T6" fmla="*/ 187 w 226"/>
                  <a:gd name="T7" fmla="*/ 348 h 348"/>
                  <a:gd name="T8" fmla="*/ 226 w 226"/>
                  <a:gd name="T9" fmla="*/ 316 h 348"/>
                  <a:gd name="T10" fmla="*/ 226 w 226"/>
                  <a:gd name="T11" fmla="*/ 0 h 348"/>
                  <a:gd name="T12" fmla="*/ 137 w 226"/>
                  <a:gd name="T13" fmla="*/ 89 h 348"/>
                  <a:gd name="T14" fmla="*/ 58 w 226"/>
                  <a:gd name="T15" fmla="*/ 122 h 348"/>
                  <a:gd name="T16" fmla="*/ 0 w 226"/>
                  <a:gd name="T17" fmla="*/ 10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348">
                    <a:moveTo>
                      <a:pt x="0" y="106"/>
                    </a:moveTo>
                    <a:cubicBezTo>
                      <a:pt x="0" y="316"/>
                      <a:pt x="0" y="316"/>
                      <a:pt x="0" y="316"/>
                    </a:cubicBezTo>
                    <a:cubicBezTo>
                      <a:pt x="0" y="334"/>
                      <a:pt x="18" y="348"/>
                      <a:pt x="40" y="348"/>
                    </a:cubicBezTo>
                    <a:cubicBezTo>
                      <a:pt x="187" y="348"/>
                      <a:pt x="187" y="348"/>
                      <a:pt x="187" y="348"/>
                    </a:cubicBezTo>
                    <a:cubicBezTo>
                      <a:pt x="208" y="348"/>
                      <a:pt x="226" y="334"/>
                      <a:pt x="226" y="316"/>
                    </a:cubicBezTo>
                    <a:cubicBezTo>
                      <a:pt x="226" y="0"/>
                      <a:pt x="226" y="0"/>
                      <a:pt x="226" y="0"/>
                    </a:cubicBezTo>
                    <a:cubicBezTo>
                      <a:pt x="137" y="89"/>
                      <a:pt x="137" y="89"/>
                      <a:pt x="137" y="89"/>
                    </a:cubicBezTo>
                    <a:cubicBezTo>
                      <a:pt x="116" y="110"/>
                      <a:pt x="88" y="122"/>
                      <a:pt x="58" y="122"/>
                    </a:cubicBezTo>
                    <a:cubicBezTo>
                      <a:pt x="37" y="122"/>
                      <a:pt x="18" y="116"/>
                      <a:pt x="0"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26" name="Freeform 14"/>
              <p:cNvSpPr>
                <a:spLocks/>
              </p:cNvSpPr>
              <p:nvPr/>
            </p:nvSpPr>
            <p:spPr bwMode="auto">
              <a:xfrm>
                <a:off x="658813" y="3825866"/>
                <a:ext cx="50800" cy="142875"/>
              </a:xfrm>
              <a:custGeom>
                <a:avLst/>
                <a:gdLst>
                  <a:gd name="T0" fmla="*/ 0 w 226"/>
                  <a:gd name="T1" fmla="*/ 168 h 628"/>
                  <a:gd name="T2" fmla="*/ 0 w 226"/>
                  <a:gd name="T3" fmla="*/ 576 h 628"/>
                  <a:gd name="T4" fmla="*/ 40 w 226"/>
                  <a:gd name="T5" fmla="*/ 628 h 628"/>
                  <a:gd name="T6" fmla="*/ 187 w 226"/>
                  <a:gd name="T7" fmla="*/ 628 h 628"/>
                  <a:gd name="T8" fmla="*/ 226 w 226"/>
                  <a:gd name="T9" fmla="*/ 576 h 628"/>
                  <a:gd name="T10" fmla="*/ 226 w 226"/>
                  <a:gd name="T11" fmla="*/ 57 h 628"/>
                  <a:gd name="T12" fmla="*/ 169 w 226"/>
                  <a:gd name="T13" fmla="*/ 0 h 628"/>
                  <a:gd name="T14" fmla="*/ 0 w 226"/>
                  <a:gd name="T15" fmla="*/ 168 h 6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 h="628">
                    <a:moveTo>
                      <a:pt x="0" y="168"/>
                    </a:moveTo>
                    <a:cubicBezTo>
                      <a:pt x="0" y="576"/>
                      <a:pt x="0" y="576"/>
                      <a:pt x="0" y="576"/>
                    </a:cubicBezTo>
                    <a:cubicBezTo>
                      <a:pt x="0" y="605"/>
                      <a:pt x="18" y="628"/>
                      <a:pt x="40" y="628"/>
                    </a:cubicBezTo>
                    <a:cubicBezTo>
                      <a:pt x="187" y="628"/>
                      <a:pt x="187" y="628"/>
                      <a:pt x="187" y="628"/>
                    </a:cubicBezTo>
                    <a:cubicBezTo>
                      <a:pt x="208" y="628"/>
                      <a:pt x="226" y="605"/>
                      <a:pt x="226" y="576"/>
                    </a:cubicBezTo>
                    <a:cubicBezTo>
                      <a:pt x="226" y="57"/>
                      <a:pt x="226" y="57"/>
                      <a:pt x="226" y="57"/>
                    </a:cubicBezTo>
                    <a:cubicBezTo>
                      <a:pt x="169" y="0"/>
                      <a:pt x="169" y="0"/>
                      <a:pt x="169" y="0"/>
                    </a:cubicBezTo>
                    <a:lnTo>
                      <a:pt x="0" y="16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27" name="Freeform 15"/>
              <p:cNvSpPr>
                <a:spLocks/>
              </p:cNvSpPr>
              <p:nvPr/>
            </p:nvSpPr>
            <p:spPr bwMode="auto">
              <a:xfrm>
                <a:off x="735013" y="3819516"/>
                <a:ext cx="50800" cy="149225"/>
              </a:xfrm>
              <a:custGeom>
                <a:avLst/>
                <a:gdLst>
                  <a:gd name="T0" fmla="*/ 0 w 226"/>
                  <a:gd name="T1" fmla="*/ 164 h 656"/>
                  <a:gd name="T2" fmla="*/ 0 w 226"/>
                  <a:gd name="T3" fmla="*/ 619 h 656"/>
                  <a:gd name="T4" fmla="*/ 40 w 226"/>
                  <a:gd name="T5" fmla="*/ 656 h 656"/>
                  <a:gd name="T6" fmla="*/ 186 w 226"/>
                  <a:gd name="T7" fmla="*/ 656 h 656"/>
                  <a:gd name="T8" fmla="*/ 226 w 226"/>
                  <a:gd name="T9" fmla="*/ 619 h 656"/>
                  <a:gd name="T10" fmla="*/ 226 w 226"/>
                  <a:gd name="T11" fmla="*/ 0 h 656"/>
                  <a:gd name="T12" fmla="*/ 94 w 226"/>
                  <a:gd name="T13" fmla="*/ 132 h 656"/>
                  <a:gd name="T14" fmla="*/ 15 w 226"/>
                  <a:gd name="T15" fmla="*/ 165 h 656"/>
                  <a:gd name="T16" fmla="*/ 0 w 226"/>
                  <a:gd name="T17" fmla="*/ 164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656">
                    <a:moveTo>
                      <a:pt x="0" y="164"/>
                    </a:moveTo>
                    <a:cubicBezTo>
                      <a:pt x="0" y="619"/>
                      <a:pt x="0" y="619"/>
                      <a:pt x="0" y="619"/>
                    </a:cubicBezTo>
                    <a:cubicBezTo>
                      <a:pt x="0" y="640"/>
                      <a:pt x="18" y="656"/>
                      <a:pt x="40" y="656"/>
                    </a:cubicBezTo>
                    <a:cubicBezTo>
                      <a:pt x="186" y="656"/>
                      <a:pt x="186" y="656"/>
                      <a:pt x="186" y="656"/>
                    </a:cubicBezTo>
                    <a:cubicBezTo>
                      <a:pt x="208" y="656"/>
                      <a:pt x="226" y="640"/>
                      <a:pt x="226" y="619"/>
                    </a:cubicBezTo>
                    <a:cubicBezTo>
                      <a:pt x="226" y="0"/>
                      <a:pt x="226" y="0"/>
                      <a:pt x="226" y="0"/>
                    </a:cubicBezTo>
                    <a:cubicBezTo>
                      <a:pt x="94" y="132"/>
                      <a:pt x="94" y="132"/>
                      <a:pt x="94" y="132"/>
                    </a:cubicBezTo>
                    <a:cubicBezTo>
                      <a:pt x="73" y="153"/>
                      <a:pt x="44" y="165"/>
                      <a:pt x="15" y="165"/>
                    </a:cubicBezTo>
                    <a:cubicBezTo>
                      <a:pt x="10" y="165"/>
                      <a:pt x="5" y="165"/>
                      <a:pt x="0" y="16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28" name="Freeform 16"/>
              <p:cNvSpPr>
                <a:spLocks/>
              </p:cNvSpPr>
              <p:nvPr/>
            </p:nvSpPr>
            <p:spPr bwMode="auto">
              <a:xfrm>
                <a:off x="811213" y="3776660"/>
                <a:ext cx="52387" cy="192087"/>
              </a:xfrm>
              <a:custGeom>
                <a:avLst/>
                <a:gdLst>
                  <a:gd name="T0" fmla="*/ 78 w 226"/>
                  <a:gd name="T1" fmla="*/ 0 h 846"/>
                  <a:gd name="T2" fmla="*/ 0 w 226"/>
                  <a:gd name="T3" fmla="*/ 78 h 846"/>
                  <a:gd name="T4" fmla="*/ 0 w 226"/>
                  <a:gd name="T5" fmla="*/ 807 h 846"/>
                  <a:gd name="T6" fmla="*/ 40 w 226"/>
                  <a:gd name="T7" fmla="*/ 846 h 846"/>
                  <a:gd name="T8" fmla="*/ 186 w 226"/>
                  <a:gd name="T9" fmla="*/ 846 h 846"/>
                  <a:gd name="T10" fmla="*/ 226 w 226"/>
                  <a:gd name="T11" fmla="*/ 807 h 846"/>
                  <a:gd name="T12" fmla="*/ 226 w 226"/>
                  <a:gd name="T13" fmla="*/ 56 h 846"/>
                  <a:gd name="T14" fmla="*/ 173 w 226"/>
                  <a:gd name="T15" fmla="*/ 71 h 846"/>
                  <a:gd name="T16" fmla="*/ 78 w 226"/>
                  <a:gd name="T17" fmla="*/ 0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846">
                    <a:moveTo>
                      <a:pt x="78" y="0"/>
                    </a:moveTo>
                    <a:cubicBezTo>
                      <a:pt x="0" y="78"/>
                      <a:pt x="0" y="78"/>
                      <a:pt x="0" y="78"/>
                    </a:cubicBezTo>
                    <a:cubicBezTo>
                      <a:pt x="0" y="807"/>
                      <a:pt x="0" y="807"/>
                      <a:pt x="0" y="807"/>
                    </a:cubicBezTo>
                    <a:cubicBezTo>
                      <a:pt x="0" y="829"/>
                      <a:pt x="18" y="846"/>
                      <a:pt x="40" y="846"/>
                    </a:cubicBezTo>
                    <a:cubicBezTo>
                      <a:pt x="186" y="846"/>
                      <a:pt x="186" y="846"/>
                      <a:pt x="186" y="846"/>
                    </a:cubicBezTo>
                    <a:cubicBezTo>
                      <a:pt x="208" y="846"/>
                      <a:pt x="226" y="829"/>
                      <a:pt x="226" y="807"/>
                    </a:cubicBezTo>
                    <a:cubicBezTo>
                      <a:pt x="226" y="56"/>
                      <a:pt x="226" y="56"/>
                      <a:pt x="226" y="56"/>
                    </a:cubicBezTo>
                    <a:cubicBezTo>
                      <a:pt x="210" y="65"/>
                      <a:pt x="193" y="71"/>
                      <a:pt x="173" y="71"/>
                    </a:cubicBezTo>
                    <a:cubicBezTo>
                      <a:pt x="129" y="71"/>
                      <a:pt x="91" y="41"/>
                      <a:pt x="78"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29" name="Freeform 17"/>
              <p:cNvSpPr>
                <a:spLocks/>
              </p:cNvSpPr>
              <p:nvPr/>
            </p:nvSpPr>
            <p:spPr bwMode="auto">
              <a:xfrm>
                <a:off x="577850" y="3703638"/>
                <a:ext cx="285750" cy="203200"/>
              </a:xfrm>
              <a:custGeom>
                <a:avLst/>
                <a:gdLst>
                  <a:gd name="T0" fmla="*/ 73 w 1256"/>
                  <a:gd name="T1" fmla="*/ 890 h 890"/>
                  <a:gd name="T2" fmla="*/ 119 w 1256"/>
                  <a:gd name="T3" fmla="*/ 871 h 890"/>
                  <a:gd name="T4" fmla="*/ 522 w 1256"/>
                  <a:gd name="T5" fmla="*/ 469 h 890"/>
                  <a:gd name="T6" fmla="*/ 659 w 1256"/>
                  <a:gd name="T7" fmla="*/ 606 h 890"/>
                  <a:gd name="T8" fmla="*/ 706 w 1256"/>
                  <a:gd name="T9" fmla="*/ 626 h 890"/>
                  <a:gd name="T10" fmla="*/ 752 w 1256"/>
                  <a:gd name="T11" fmla="*/ 606 h 890"/>
                  <a:gd name="T12" fmla="*/ 1150 w 1256"/>
                  <a:gd name="T13" fmla="*/ 209 h 890"/>
                  <a:gd name="T14" fmla="*/ 1150 w 1256"/>
                  <a:gd name="T15" fmla="*/ 288 h 890"/>
                  <a:gd name="T16" fmla="*/ 1202 w 1256"/>
                  <a:gd name="T17" fmla="*/ 341 h 890"/>
                  <a:gd name="T18" fmla="*/ 1255 w 1256"/>
                  <a:gd name="T19" fmla="*/ 288 h 890"/>
                  <a:gd name="T20" fmla="*/ 1255 w 1256"/>
                  <a:gd name="T21" fmla="*/ 85 h 890"/>
                  <a:gd name="T22" fmla="*/ 1255 w 1256"/>
                  <a:gd name="T23" fmla="*/ 64 h 890"/>
                  <a:gd name="T24" fmla="*/ 1255 w 1256"/>
                  <a:gd name="T25" fmla="*/ 53 h 890"/>
                  <a:gd name="T26" fmla="*/ 1202 w 1256"/>
                  <a:gd name="T27" fmla="*/ 0 h 890"/>
                  <a:gd name="T28" fmla="*/ 963 w 1256"/>
                  <a:gd name="T29" fmla="*/ 0 h 890"/>
                  <a:gd name="T30" fmla="*/ 910 w 1256"/>
                  <a:gd name="T31" fmla="*/ 53 h 890"/>
                  <a:gd name="T32" fmla="*/ 963 w 1256"/>
                  <a:gd name="T33" fmla="*/ 106 h 890"/>
                  <a:gd name="T34" fmla="*/ 1065 w 1256"/>
                  <a:gd name="T35" fmla="*/ 106 h 890"/>
                  <a:gd name="T36" fmla="*/ 705 w 1256"/>
                  <a:gd name="T37" fmla="*/ 466 h 890"/>
                  <a:gd name="T38" fmla="*/ 568 w 1256"/>
                  <a:gd name="T39" fmla="*/ 329 h 890"/>
                  <a:gd name="T40" fmla="*/ 522 w 1256"/>
                  <a:gd name="T41" fmla="*/ 309 h 890"/>
                  <a:gd name="T42" fmla="*/ 475 w 1256"/>
                  <a:gd name="T43" fmla="*/ 329 h 890"/>
                  <a:gd name="T44" fmla="*/ 26 w 1256"/>
                  <a:gd name="T45" fmla="*/ 777 h 890"/>
                  <a:gd name="T46" fmla="*/ 26 w 1256"/>
                  <a:gd name="T47" fmla="*/ 871 h 890"/>
                  <a:gd name="T48" fmla="*/ 73 w 1256"/>
                  <a:gd name="T49" fmla="*/ 890 h 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56" h="890">
                    <a:moveTo>
                      <a:pt x="73" y="890"/>
                    </a:moveTo>
                    <a:cubicBezTo>
                      <a:pt x="90" y="890"/>
                      <a:pt x="107" y="884"/>
                      <a:pt x="119" y="871"/>
                    </a:cubicBezTo>
                    <a:cubicBezTo>
                      <a:pt x="522" y="469"/>
                      <a:pt x="522" y="469"/>
                      <a:pt x="522" y="469"/>
                    </a:cubicBezTo>
                    <a:cubicBezTo>
                      <a:pt x="659" y="606"/>
                      <a:pt x="659" y="606"/>
                      <a:pt x="659" y="606"/>
                    </a:cubicBezTo>
                    <a:cubicBezTo>
                      <a:pt x="671" y="619"/>
                      <a:pt x="688" y="626"/>
                      <a:pt x="706" y="626"/>
                    </a:cubicBezTo>
                    <a:cubicBezTo>
                      <a:pt x="723" y="626"/>
                      <a:pt x="740" y="619"/>
                      <a:pt x="752" y="606"/>
                    </a:cubicBezTo>
                    <a:cubicBezTo>
                      <a:pt x="1150" y="209"/>
                      <a:pt x="1150" y="209"/>
                      <a:pt x="1150" y="209"/>
                    </a:cubicBezTo>
                    <a:cubicBezTo>
                      <a:pt x="1150" y="288"/>
                      <a:pt x="1150" y="288"/>
                      <a:pt x="1150" y="288"/>
                    </a:cubicBezTo>
                    <a:cubicBezTo>
                      <a:pt x="1150" y="317"/>
                      <a:pt x="1173" y="341"/>
                      <a:pt x="1202" y="341"/>
                    </a:cubicBezTo>
                    <a:cubicBezTo>
                      <a:pt x="1232" y="341"/>
                      <a:pt x="1255" y="317"/>
                      <a:pt x="1255" y="288"/>
                    </a:cubicBezTo>
                    <a:cubicBezTo>
                      <a:pt x="1255" y="85"/>
                      <a:pt x="1255" y="85"/>
                      <a:pt x="1255" y="85"/>
                    </a:cubicBezTo>
                    <a:cubicBezTo>
                      <a:pt x="1256" y="78"/>
                      <a:pt x="1256" y="71"/>
                      <a:pt x="1255" y="64"/>
                    </a:cubicBezTo>
                    <a:cubicBezTo>
                      <a:pt x="1255" y="53"/>
                      <a:pt x="1255" y="53"/>
                      <a:pt x="1255" y="53"/>
                    </a:cubicBezTo>
                    <a:cubicBezTo>
                      <a:pt x="1255" y="24"/>
                      <a:pt x="1232" y="0"/>
                      <a:pt x="1202" y="0"/>
                    </a:cubicBezTo>
                    <a:cubicBezTo>
                      <a:pt x="963" y="0"/>
                      <a:pt x="963" y="0"/>
                      <a:pt x="963" y="0"/>
                    </a:cubicBezTo>
                    <a:cubicBezTo>
                      <a:pt x="934" y="0"/>
                      <a:pt x="910" y="24"/>
                      <a:pt x="910" y="53"/>
                    </a:cubicBezTo>
                    <a:cubicBezTo>
                      <a:pt x="910" y="82"/>
                      <a:pt x="934" y="106"/>
                      <a:pt x="963" y="106"/>
                    </a:cubicBezTo>
                    <a:cubicBezTo>
                      <a:pt x="1065" y="106"/>
                      <a:pt x="1065" y="106"/>
                      <a:pt x="1065" y="106"/>
                    </a:cubicBezTo>
                    <a:cubicBezTo>
                      <a:pt x="705" y="466"/>
                      <a:pt x="705" y="466"/>
                      <a:pt x="705" y="466"/>
                    </a:cubicBezTo>
                    <a:cubicBezTo>
                      <a:pt x="568" y="329"/>
                      <a:pt x="568" y="329"/>
                      <a:pt x="568" y="329"/>
                    </a:cubicBezTo>
                    <a:cubicBezTo>
                      <a:pt x="555" y="316"/>
                      <a:pt x="538" y="309"/>
                      <a:pt x="522" y="309"/>
                    </a:cubicBezTo>
                    <a:cubicBezTo>
                      <a:pt x="505" y="309"/>
                      <a:pt x="488" y="316"/>
                      <a:pt x="475" y="329"/>
                    </a:cubicBezTo>
                    <a:cubicBezTo>
                      <a:pt x="26" y="777"/>
                      <a:pt x="26" y="777"/>
                      <a:pt x="26" y="777"/>
                    </a:cubicBezTo>
                    <a:cubicBezTo>
                      <a:pt x="0" y="803"/>
                      <a:pt x="0" y="845"/>
                      <a:pt x="26" y="871"/>
                    </a:cubicBezTo>
                    <a:cubicBezTo>
                      <a:pt x="39" y="884"/>
                      <a:pt x="56" y="890"/>
                      <a:pt x="73" y="89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2400" dirty="0"/>
              </a:p>
            </p:txBody>
          </p:sp>
        </p:grpSp>
        <p:grpSp>
          <p:nvGrpSpPr>
            <p:cNvPr id="43" name="Group 42"/>
            <p:cNvGrpSpPr/>
            <p:nvPr userDrawn="1"/>
          </p:nvGrpSpPr>
          <p:grpSpPr>
            <a:xfrm>
              <a:off x="7549640" y="2052511"/>
              <a:ext cx="315101" cy="382457"/>
              <a:chOff x="3375026" y="2760657"/>
              <a:chExt cx="1084263" cy="1316038"/>
            </a:xfrm>
            <a:solidFill>
              <a:schemeClr val="tx2"/>
            </a:solidFill>
          </p:grpSpPr>
          <p:sp>
            <p:nvSpPr>
              <p:cNvPr id="44" name="Freeform 43"/>
              <p:cNvSpPr>
                <a:spLocks noEditPoints="1"/>
              </p:cNvSpPr>
              <p:nvPr/>
            </p:nvSpPr>
            <p:spPr bwMode="auto">
              <a:xfrm>
                <a:off x="3375026" y="2862260"/>
                <a:ext cx="1084263" cy="1214435"/>
              </a:xfrm>
              <a:custGeom>
                <a:avLst/>
                <a:gdLst>
                  <a:gd name="T0" fmla="*/ 289 w 289"/>
                  <a:gd name="T1" fmla="*/ 290 h 324"/>
                  <a:gd name="T2" fmla="*/ 289 w 289"/>
                  <a:gd name="T3" fmla="*/ 287 h 324"/>
                  <a:gd name="T4" fmla="*/ 274 w 289"/>
                  <a:gd name="T5" fmla="*/ 221 h 324"/>
                  <a:gd name="T6" fmla="*/ 223 w 289"/>
                  <a:gd name="T7" fmla="*/ 186 h 324"/>
                  <a:gd name="T8" fmla="*/ 262 w 289"/>
                  <a:gd name="T9" fmla="*/ 188 h 324"/>
                  <a:gd name="T10" fmla="*/ 221 w 289"/>
                  <a:gd name="T11" fmla="*/ 132 h 324"/>
                  <a:gd name="T12" fmla="*/ 196 w 289"/>
                  <a:gd name="T13" fmla="*/ 139 h 324"/>
                  <a:gd name="T14" fmla="*/ 171 w 289"/>
                  <a:gd name="T15" fmla="*/ 149 h 324"/>
                  <a:gd name="T16" fmla="*/ 154 w 289"/>
                  <a:gd name="T17" fmla="*/ 156 h 324"/>
                  <a:gd name="T18" fmla="*/ 135 w 289"/>
                  <a:gd name="T19" fmla="*/ 140 h 324"/>
                  <a:gd name="T20" fmla="*/ 155 w 289"/>
                  <a:gd name="T21" fmla="*/ 126 h 324"/>
                  <a:gd name="T22" fmla="*/ 169 w 289"/>
                  <a:gd name="T23" fmla="*/ 130 h 324"/>
                  <a:gd name="T24" fmla="*/ 169 w 289"/>
                  <a:gd name="T25" fmla="*/ 130 h 324"/>
                  <a:gd name="T26" fmla="*/ 190 w 289"/>
                  <a:gd name="T27" fmla="*/ 120 h 324"/>
                  <a:gd name="T28" fmla="*/ 195 w 289"/>
                  <a:gd name="T29" fmla="*/ 77 h 324"/>
                  <a:gd name="T30" fmla="*/ 207 w 289"/>
                  <a:gd name="T31" fmla="*/ 70 h 324"/>
                  <a:gd name="T32" fmla="*/ 203 w 289"/>
                  <a:gd name="T33" fmla="*/ 35 h 324"/>
                  <a:gd name="T34" fmla="*/ 142 w 289"/>
                  <a:gd name="T35" fmla="*/ 0 h 324"/>
                  <a:gd name="T36" fmla="*/ 87 w 289"/>
                  <a:gd name="T37" fmla="*/ 31 h 324"/>
                  <a:gd name="T38" fmla="*/ 82 w 289"/>
                  <a:gd name="T39" fmla="*/ 70 h 324"/>
                  <a:gd name="T40" fmla="*/ 90 w 289"/>
                  <a:gd name="T41" fmla="*/ 77 h 324"/>
                  <a:gd name="T42" fmla="*/ 93 w 289"/>
                  <a:gd name="T43" fmla="*/ 137 h 324"/>
                  <a:gd name="T44" fmla="*/ 64 w 289"/>
                  <a:gd name="T45" fmla="*/ 134 h 324"/>
                  <a:gd name="T46" fmla="*/ 23 w 289"/>
                  <a:gd name="T47" fmla="*/ 191 h 324"/>
                  <a:gd name="T48" fmla="*/ 60 w 289"/>
                  <a:gd name="T49" fmla="*/ 189 h 324"/>
                  <a:gd name="T50" fmla="*/ 16 w 289"/>
                  <a:gd name="T51" fmla="*/ 221 h 324"/>
                  <a:gd name="T52" fmla="*/ 1 w 289"/>
                  <a:gd name="T53" fmla="*/ 287 h 324"/>
                  <a:gd name="T54" fmla="*/ 0 w 289"/>
                  <a:gd name="T55" fmla="*/ 290 h 324"/>
                  <a:gd name="T56" fmla="*/ 0 w 289"/>
                  <a:gd name="T57" fmla="*/ 290 h 324"/>
                  <a:gd name="T58" fmla="*/ 0 w 289"/>
                  <a:gd name="T59" fmla="*/ 291 h 324"/>
                  <a:gd name="T60" fmla="*/ 0 w 289"/>
                  <a:gd name="T61" fmla="*/ 291 h 324"/>
                  <a:gd name="T62" fmla="*/ 145 w 289"/>
                  <a:gd name="T63" fmla="*/ 324 h 324"/>
                  <a:gd name="T64" fmla="*/ 289 w 289"/>
                  <a:gd name="T65" fmla="*/ 291 h 324"/>
                  <a:gd name="T66" fmla="*/ 289 w 289"/>
                  <a:gd name="T67" fmla="*/ 291 h 324"/>
                  <a:gd name="T68" fmla="*/ 289 w 289"/>
                  <a:gd name="T69" fmla="*/ 290 h 324"/>
                  <a:gd name="T70" fmla="*/ 289 w 289"/>
                  <a:gd name="T71" fmla="*/ 290 h 324"/>
                  <a:gd name="T72" fmla="*/ 113 w 289"/>
                  <a:gd name="T73" fmla="*/ 210 h 324"/>
                  <a:gd name="T74" fmla="*/ 124 w 289"/>
                  <a:gd name="T75" fmla="*/ 196 h 324"/>
                  <a:gd name="T76" fmla="*/ 97 w 289"/>
                  <a:gd name="T77" fmla="*/ 216 h 324"/>
                  <a:gd name="T78" fmla="*/ 102 w 289"/>
                  <a:gd name="T79" fmla="*/ 181 h 324"/>
                  <a:gd name="T80" fmla="*/ 113 w 289"/>
                  <a:gd name="T81" fmla="*/ 164 h 324"/>
                  <a:gd name="T82" fmla="*/ 139 w 289"/>
                  <a:gd name="T83" fmla="*/ 184 h 324"/>
                  <a:gd name="T84" fmla="*/ 129 w 289"/>
                  <a:gd name="T85" fmla="*/ 194 h 324"/>
                  <a:gd name="T86" fmla="*/ 151 w 289"/>
                  <a:gd name="T87" fmla="*/ 276 h 324"/>
                  <a:gd name="T88" fmla="*/ 113 w 289"/>
                  <a:gd name="T89" fmla="*/ 210 h 324"/>
                  <a:gd name="T90" fmla="*/ 183 w 289"/>
                  <a:gd name="T91" fmla="*/ 210 h 324"/>
                  <a:gd name="T92" fmla="*/ 152 w 289"/>
                  <a:gd name="T93" fmla="*/ 276 h 324"/>
                  <a:gd name="T94" fmla="*/ 164 w 289"/>
                  <a:gd name="T95" fmla="*/ 192 h 324"/>
                  <a:gd name="T96" fmla="*/ 154 w 289"/>
                  <a:gd name="T97" fmla="*/ 183 h 324"/>
                  <a:gd name="T98" fmla="*/ 176 w 289"/>
                  <a:gd name="T99" fmla="*/ 163 h 324"/>
                  <a:gd name="T100" fmla="*/ 188 w 289"/>
                  <a:gd name="T101" fmla="*/ 179 h 324"/>
                  <a:gd name="T102" fmla="*/ 200 w 289"/>
                  <a:gd name="T103" fmla="*/ 218 h 324"/>
                  <a:gd name="T104" fmla="*/ 172 w 289"/>
                  <a:gd name="T105" fmla="*/ 196 h 324"/>
                  <a:gd name="T106" fmla="*/ 183 w 289"/>
                  <a:gd name="T107" fmla="*/ 21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9" h="324">
                    <a:moveTo>
                      <a:pt x="289" y="290"/>
                    </a:moveTo>
                    <a:cubicBezTo>
                      <a:pt x="289" y="289"/>
                      <a:pt x="289" y="288"/>
                      <a:pt x="289" y="287"/>
                    </a:cubicBezTo>
                    <a:cubicBezTo>
                      <a:pt x="287" y="272"/>
                      <a:pt x="281" y="229"/>
                      <a:pt x="274" y="221"/>
                    </a:cubicBezTo>
                    <a:cubicBezTo>
                      <a:pt x="261" y="207"/>
                      <a:pt x="240" y="195"/>
                      <a:pt x="223" y="186"/>
                    </a:cubicBezTo>
                    <a:cubicBezTo>
                      <a:pt x="237" y="190"/>
                      <a:pt x="251" y="191"/>
                      <a:pt x="262" y="188"/>
                    </a:cubicBezTo>
                    <a:cubicBezTo>
                      <a:pt x="248" y="185"/>
                      <a:pt x="229" y="161"/>
                      <a:pt x="221" y="132"/>
                    </a:cubicBezTo>
                    <a:cubicBezTo>
                      <a:pt x="217" y="134"/>
                      <a:pt x="204" y="141"/>
                      <a:pt x="196" y="139"/>
                    </a:cubicBezTo>
                    <a:cubicBezTo>
                      <a:pt x="183" y="146"/>
                      <a:pt x="171" y="149"/>
                      <a:pt x="171" y="149"/>
                    </a:cubicBezTo>
                    <a:cubicBezTo>
                      <a:pt x="171" y="149"/>
                      <a:pt x="165" y="156"/>
                      <a:pt x="154" y="156"/>
                    </a:cubicBezTo>
                    <a:cubicBezTo>
                      <a:pt x="140" y="156"/>
                      <a:pt x="135" y="149"/>
                      <a:pt x="135" y="140"/>
                    </a:cubicBezTo>
                    <a:cubicBezTo>
                      <a:pt x="135" y="132"/>
                      <a:pt x="144" y="126"/>
                      <a:pt x="155" y="126"/>
                    </a:cubicBezTo>
                    <a:cubicBezTo>
                      <a:pt x="160" y="126"/>
                      <a:pt x="165" y="128"/>
                      <a:pt x="169" y="130"/>
                    </a:cubicBezTo>
                    <a:cubicBezTo>
                      <a:pt x="169" y="130"/>
                      <a:pt x="169" y="130"/>
                      <a:pt x="169" y="130"/>
                    </a:cubicBezTo>
                    <a:cubicBezTo>
                      <a:pt x="176" y="129"/>
                      <a:pt x="184" y="125"/>
                      <a:pt x="190" y="120"/>
                    </a:cubicBezTo>
                    <a:cubicBezTo>
                      <a:pt x="190" y="104"/>
                      <a:pt x="194" y="80"/>
                      <a:pt x="195" y="77"/>
                    </a:cubicBezTo>
                    <a:cubicBezTo>
                      <a:pt x="195" y="71"/>
                      <a:pt x="201" y="70"/>
                      <a:pt x="207" y="70"/>
                    </a:cubicBezTo>
                    <a:cubicBezTo>
                      <a:pt x="208" y="57"/>
                      <a:pt x="208" y="44"/>
                      <a:pt x="203" y="35"/>
                    </a:cubicBezTo>
                    <a:cubicBezTo>
                      <a:pt x="192" y="13"/>
                      <a:pt x="162" y="0"/>
                      <a:pt x="142" y="0"/>
                    </a:cubicBezTo>
                    <a:cubicBezTo>
                      <a:pt x="123" y="0"/>
                      <a:pt x="98" y="11"/>
                      <a:pt x="87" y="31"/>
                    </a:cubicBezTo>
                    <a:cubicBezTo>
                      <a:pt x="81" y="42"/>
                      <a:pt x="81" y="56"/>
                      <a:pt x="82" y="70"/>
                    </a:cubicBezTo>
                    <a:cubicBezTo>
                      <a:pt x="86" y="70"/>
                      <a:pt x="89" y="72"/>
                      <a:pt x="90" y="77"/>
                    </a:cubicBezTo>
                    <a:cubicBezTo>
                      <a:pt x="91" y="82"/>
                      <a:pt x="97" y="129"/>
                      <a:pt x="93" y="137"/>
                    </a:cubicBezTo>
                    <a:cubicBezTo>
                      <a:pt x="90" y="145"/>
                      <a:pt x="68" y="136"/>
                      <a:pt x="64" y="134"/>
                    </a:cubicBezTo>
                    <a:cubicBezTo>
                      <a:pt x="57" y="163"/>
                      <a:pt x="37" y="188"/>
                      <a:pt x="23" y="191"/>
                    </a:cubicBezTo>
                    <a:cubicBezTo>
                      <a:pt x="33" y="194"/>
                      <a:pt x="47" y="193"/>
                      <a:pt x="60" y="189"/>
                    </a:cubicBezTo>
                    <a:cubicBezTo>
                      <a:pt x="45" y="197"/>
                      <a:pt x="27" y="208"/>
                      <a:pt x="16" y="221"/>
                    </a:cubicBezTo>
                    <a:cubicBezTo>
                      <a:pt x="9" y="229"/>
                      <a:pt x="3" y="272"/>
                      <a:pt x="1" y="287"/>
                    </a:cubicBezTo>
                    <a:cubicBezTo>
                      <a:pt x="1" y="288"/>
                      <a:pt x="0" y="289"/>
                      <a:pt x="0" y="290"/>
                    </a:cubicBezTo>
                    <a:cubicBezTo>
                      <a:pt x="0" y="290"/>
                      <a:pt x="0" y="290"/>
                      <a:pt x="0" y="290"/>
                    </a:cubicBezTo>
                    <a:cubicBezTo>
                      <a:pt x="0" y="291"/>
                      <a:pt x="0" y="291"/>
                      <a:pt x="0" y="291"/>
                    </a:cubicBezTo>
                    <a:cubicBezTo>
                      <a:pt x="0" y="291"/>
                      <a:pt x="0" y="291"/>
                      <a:pt x="0" y="291"/>
                    </a:cubicBezTo>
                    <a:cubicBezTo>
                      <a:pt x="4" y="309"/>
                      <a:pt x="67" y="324"/>
                      <a:pt x="145" y="324"/>
                    </a:cubicBezTo>
                    <a:cubicBezTo>
                      <a:pt x="222" y="324"/>
                      <a:pt x="286" y="309"/>
                      <a:pt x="289" y="291"/>
                    </a:cubicBezTo>
                    <a:cubicBezTo>
                      <a:pt x="289" y="291"/>
                      <a:pt x="289" y="291"/>
                      <a:pt x="289" y="291"/>
                    </a:cubicBezTo>
                    <a:cubicBezTo>
                      <a:pt x="289" y="291"/>
                      <a:pt x="289" y="291"/>
                      <a:pt x="289" y="290"/>
                    </a:cubicBezTo>
                    <a:cubicBezTo>
                      <a:pt x="289" y="290"/>
                      <a:pt x="289" y="290"/>
                      <a:pt x="289" y="290"/>
                    </a:cubicBezTo>
                    <a:close/>
                    <a:moveTo>
                      <a:pt x="113" y="210"/>
                    </a:moveTo>
                    <a:cubicBezTo>
                      <a:pt x="124" y="196"/>
                      <a:pt x="124" y="196"/>
                      <a:pt x="124" y="196"/>
                    </a:cubicBezTo>
                    <a:cubicBezTo>
                      <a:pt x="97" y="216"/>
                      <a:pt x="97" y="216"/>
                      <a:pt x="97" y="216"/>
                    </a:cubicBezTo>
                    <a:cubicBezTo>
                      <a:pt x="102" y="181"/>
                      <a:pt x="102" y="181"/>
                      <a:pt x="102" y="181"/>
                    </a:cubicBezTo>
                    <a:cubicBezTo>
                      <a:pt x="113" y="164"/>
                      <a:pt x="113" y="164"/>
                      <a:pt x="113" y="164"/>
                    </a:cubicBezTo>
                    <a:cubicBezTo>
                      <a:pt x="139" y="184"/>
                      <a:pt x="139" y="184"/>
                      <a:pt x="139" y="184"/>
                    </a:cubicBezTo>
                    <a:cubicBezTo>
                      <a:pt x="129" y="194"/>
                      <a:pt x="129" y="194"/>
                      <a:pt x="129" y="194"/>
                    </a:cubicBezTo>
                    <a:cubicBezTo>
                      <a:pt x="151" y="276"/>
                      <a:pt x="151" y="276"/>
                      <a:pt x="151" y="276"/>
                    </a:cubicBezTo>
                    <a:lnTo>
                      <a:pt x="113" y="210"/>
                    </a:lnTo>
                    <a:close/>
                    <a:moveTo>
                      <a:pt x="183" y="210"/>
                    </a:moveTo>
                    <a:cubicBezTo>
                      <a:pt x="152" y="276"/>
                      <a:pt x="152" y="276"/>
                      <a:pt x="152" y="276"/>
                    </a:cubicBezTo>
                    <a:cubicBezTo>
                      <a:pt x="164" y="192"/>
                      <a:pt x="164" y="192"/>
                      <a:pt x="164" y="192"/>
                    </a:cubicBezTo>
                    <a:cubicBezTo>
                      <a:pt x="154" y="183"/>
                      <a:pt x="154" y="183"/>
                      <a:pt x="154" y="183"/>
                    </a:cubicBezTo>
                    <a:cubicBezTo>
                      <a:pt x="176" y="163"/>
                      <a:pt x="176" y="163"/>
                      <a:pt x="176" y="163"/>
                    </a:cubicBezTo>
                    <a:cubicBezTo>
                      <a:pt x="188" y="179"/>
                      <a:pt x="188" y="179"/>
                      <a:pt x="188" y="179"/>
                    </a:cubicBezTo>
                    <a:cubicBezTo>
                      <a:pt x="200" y="218"/>
                      <a:pt x="200" y="218"/>
                      <a:pt x="200" y="218"/>
                    </a:cubicBezTo>
                    <a:cubicBezTo>
                      <a:pt x="172" y="196"/>
                      <a:pt x="172" y="196"/>
                      <a:pt x="172" y="196"/>
                    </a:cubicBezTo>
                    <a:lnTo>
                      <a:pt x="183"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45" name="Freeform 44"/>
              <p:cNvSpPr>
                <a:spLocks/>
              </p:cNvSpPr>
              <p:nvPr/>
            </p:nvSpPr>
            <p:spPr bwMode="auto">
              <a:xfrm>
                <a:off x="3567113" y="2760657"/>
                <a:ext cx="682626" cy="600074"/>
              </a:xfrm>
              <a:custGeom>
                <a:avLst/>
                <a:gdLst>
                  <a:gd name="T0" fmla="*/ 180 w 182"/>
                  <a:gd name="T1" fmla="*/ 110 h 160"/>
                  <a:gd name="T2" fmla="*/ 176 w 182"/>
                  <a:gd name="T3" fmla="*/ 101 h 160"/>
                  <a:gd name="T4" fmla="*/ 177 w 182"/>
                  <a:gd name="T5" fmla="*/ 87 h 160"/>
                  <a:gd name="T6" fmla="*/ 91 w 182"/>
                  <a:gd name="T7" fmla="*/ 0 h 160"/>
                  <a:gd name="T8" fmla="*/ 5 w 182"/>
                  <a:gd name="T9" fmla="*/ 87 h 160"/>
                  <a:gd name="T10" fmla="*/ 6 w 182"/>
                  <a:gd name="T11" fmla="*/ 101 h 160"/>
                  <a:gd name="T12" fmla="*/ 2 w 182"/>
                  <a:gd name="T13" fmla="*/ 111 h 160"/>
                  <a:gd name="T14" fmla="*/ 4 w 182"/>
                  <a:gd name="T15" fmla="*/ 146 h 160"/>
                  <a:gd name="T16" fmla="*/ 29 w 182"/>
                  <a:gd name="T17" fmla="*/ 159 h 160"/>
                  <a:gd name="T18" fmla="*/ 33 w 182"/>
                  <a:gd name="T19" fmla="*/ 160 h 160"/>
                  <a:gd name="T20" fmla="*/ 37 w 182"/>
                  <a:gd name="T21" fmla="*/ 155 h 160"/>
                  <a:gd name="T22" fmla="*/ 33 w 182"/>
                  <a:gd name="T23" fmla="*/ 108 h 160"/>
                  <a:gd name="T24" fmla="*/ 28 w 182"/>
                  <a:gd name="T25" fmla="*/ 104 h 160"/>
                  <a:gd name="T26" fmla="*/ 25 w 182"/>
                  <a:gd name="T27" fmla="*/ 105 h 160"/>
                  <a:gd name="T28" fmla="*/ 24 w 182"/>
                  <a:gd name="T29" fmla="*/ 105 h 160"/>
                  <a:gd name="T30" fmla="*/ 16 w 182"/>
                  <a:gd name="T31" fmla="*/ 99 h 160"/>
                  <a:gd name="T32" fmla="*/ 15 w 182"/>
                  <a:gd name="T33" fmla="*/ 87 h 160"/>
                  <a:gd name="T34" fmla="*/ 91 w 182"/>
                  <a:gd name="T35" fmla="*/ 15 h 160"/>
                  <a:gd name="T36" fmla="*/ 168 w 182"/>
                  <a:gd name="T37" fmla="*/ 87 h 160"/>
                  <a:gd name="T38" fmla="*/ 167 w 182"/>
                  <a:gd name="T39" fmla="*/ 99 h 160"/>
                  <a:gd name="T40" fmla="*/ 159 w 182"/>
                  <a:gd name="T41" fmla="*/ 105 h 160"/>
                  <a:gd name="T42" fmla="*/ 158 w 182"/>
                  <a:gd name="T43" fmla="*/ 105 h 160"/>
                  <a:gd name="T44" fmla="*/ 155 w 182"/>
                  <a:gd name="T45" fmla="*/ 104 h 160"/>
                  <a:gd name="T46" fmla="*/ 150 w 182"/>
                  <a:gd name="T47" fmla="*/ 108 h 160"/>
                  <a:gd name="T48" fmla="*/ 145 w 182"/>
                  <a:gd name="T49" fmla="*/ 155 h 160"/>
                  <a:gd name="T50" fmla="*/ 150 w 182"/>
                  <a:gd name="T51" fmla="*/ 160 h 160"/>
                  <a:gd name="T52" fmla="*/ 153 w 182"/>
                  <a:gd name="T53" fmla="*/ 158 h 160"/>
                  <a:gd name="T54" fmla="*/ 178 w 182"/>
                  <a:gd name="T55" fmla="*/ 146 h 160"/>
                  <a:gd name="T56" fmla="*/ 180 w 182"/>
                  <a:gd name="T57" fmla="*/ 11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2" h="160">
                    <a:moveTo>
                      <a:pt x="180" y="110"/>
                    </a:moveTo>
                    <a:cubicBezTo>
                      <a:pt x="179" y="107"/>
                      <a:pt x="177" y="103"/>
                      <a:pt x="176" y="101"/>
                    </a:cubicBezTo>
                    <a:cubicBezTo>
                      <a:pt x="177" y="96"/>
                      <a:pt x="177" y="92"/>
                      <a:pt x="177" y="87"/>
                    </a:cubicBezTo>
                    <a:cubicBezTo>
                      <a:pt x="177" y="39"/>
                      <a:pt x="139" y="0"/>
                      <a:pt x="91" y="0"/>
                    </a:cubicBezTo>
                    <a:cubicBezTo>
                      <a:pt x="44" y="0"/>
                      <a:pt x="5" y="39"/>
                      <a:pt x="5" y="87"/>
                    </a:cubicBezTo>
                    <a:cubicBezTo>
                      <a:pt x="5" y="92"/>
                      <a:pt x="6" y="97"/>
                      <a:pt x="6" y="101"/>
                    </a:cubicBezTo>
                    <a:cubicBezTo>
                      <a:pt x="5" y="104"/>
                      <a:pt x="4" y="107"/>
                      <a:pt x="2" y="111"/>
                    </a:cubicBezTo>
                    <a:cubicBezTo>
                      <a:pt x="0" y="116"/>
                      <a:pt x="2" y="142"/>
                      <a:pt x="4" y="146"/>
                    </a:cubicBezTo>
                    <a:cubicBezTo>
                      <a:pt x="9" y="153"/>
                      <a:pt x="21" y="158"/>
                      <a:pt x="29" y="159"/>
                    </a:cubicBezTo>
                    <a:cubicBezTo>
                      <a:pt x="30" y="160"/>
                      <a:pt x="31" y="160"/>
                      <a:pt x="33" y="160"/>
                    </a:cubicBezTo>
                    <a:cubicBezTo>
                      <a:pt x="35" y="160"/>
                      <a:pt x="37" y="158"/>
                      <a:pt x="37" y="155"/>
                    </a:cubicBezTo>
                    <a:cubicBezTo>
                      <a:pt x="33" y="108"/>
                      <a:pt x="33" y="108"/>
                      <a:pt x="33" y="108"/>
                    </a:cubicBezTo>
                    <a:cubicBezTo>
                      <a:pt x="33" y="105"/>
                      <a:pt x="30" y="104"/>
                      <a:pt x="28" y="104"/>
                    </a:cubicBezTo>
                    <a:cubicBezTo>
                      <a:pt x="27" y="104"/>
                      <a:pt x="26" y="104"/>
                      <a:pt x="25" y="105"/>
                    </a:cubicBezTo>
                    <a:cubicBezTo>
                      <a:pt x="24" y="105"/>
                      <a:pt x="24" y="105"/>
                      <a:pt x="24" y="105"/>
                    </a:cubicBezTo>
                    <a:cubicBezTo>
                      <a:pt x="21" y="105"/>
                      <a:pt x="17" y="102"/>
                      <a:pt x="16" y="99"/>
                    </a:cubicBezTo>
                    <a:cubicBezTo>
                      <a:pt x="15" y="95"/>
                      <a:pt x="15" y="91"/>
                      <a:pt x="15" y="87"/>
                    </a:cubicBezTo>
                    <a:cubicBezTo>
                      <a:pt x="15" y="44"/>
                      <a:pt x="49" y="15"/>
                      <a:pt x="91" y="15"/>
                    </a:cubicBezTo>
                    <a:cubicBezTo>
                      <a:pt x="133" y="15"/>
                      <a:pt x="168" y="44"/>
                      <a:pt x="168" y="87"/>
                    </a:cubicBezTo>
                    <a:cubicBezTo>
                      <a:pt x="168" y="91"/>
                      <a:pt x="167" y="95"/>
                      <a:pt x="167" y="99"/>
                    </a:cubicBezTo>
                    <a:cubicBezTo>
                      <a:pt x="165" y="102"/>
                      <a:pt x="161" y="105"/>
                      <a:pt x="159" y="105"/>
                    </a:cubicBezTo>
                    <a:cubicBezTo>
                      <a:pt x="159" y="105"/>
                      <a:pt x="158" y="105"/>
                      <a:pt x="158" y="105"/>
                    </a:cubicBezTo>
                    <a:cubicBezTo>
                      <a:pt x="157" y="104"/>
                      <a:pt x="156" y="104"/>
                      <a:pt x="155" y="104"/>
                    </a:cubicBezTo>
                    <a:cubicBezTo>
                      <a:pt x="152" y="103"/>
                      <a:pt x="150" y="105"/>
                      <a:pt x="150" y="108"/>
                    </a:cubicBezTo>
                    <a:cubicBezTo>
                      <a:pt x="145" y="155"/>
                      <a:pt x="145" y="155"/>
                      <a:pt x="145" y="155"/>
                    </a:cubicBezTo>
                    <a:cubicBezTo>
                      <a:pt x="145" y="158"/>
                      <a:pt x="147" y="160"/>
                      <a:pt x="150" y="160"/>
                    </a:cubicBezTo>
                    <a:cubicBezTo>
                      <a:pt x="151" y="160"/>
                      <a:pt x="153" y="159"/>
                      <a:pt x="153" y="158"/>
                    </a:cubicBezTo>
                    <a:cubicBezTo>
                      <a:pt x="161" y="157"/>
                      <a:pt x="174" y="152"/>
                      <a:pt x="178" y="146"/>
                    </a:cubicBezTo>
                    <a:cubicBezTo>
                      <a:pt x="181" y="142"/>
                      <a:pt x="182" y="116"/>
                      <a:pt x="180" y="110"/>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46" name="Freeform 45"/>
              <p:cNvSpPr>
                <a:spLocks/>
              </p:cNvSpPr>
              <p:nvPr/>
            </p:nvSpPr>
            <p:spPr bwMode="auto">
              <a:xfrm>
                <a:off x="3903664" y="3225799"/>
                <a:ext cx="323850" cy="198436"/>
              </a:xfrm>
              <a:custGeom>
                <a:avLst/>
                <a:gdLst>
                  <a:gd name="T0" fmla="*/ 86 w 86"/>
                  <a:gd name="T1" fmla="*/ 4 h 53"/>
                  <a:gd name="T2" fmla="*/ 79 w 86"/>
                  <a:gd name="T3" fmla="*/ 4 h 53"/>
                  <a:gd name="T4" fmla="*/ 26 w 86"/>
                  <a:gd name="T5" fmla="*/ 41 h 53"/>
                  <a:gd name="T6" fmla="*/ 14 w 86"/>
                  <a:gd name="T7" fmla="*/ 36 h 53"/>
                  <a:gd name="T8" fmla="*/ 0 w 86"/>
                  <a:gd name="T9" fmla="*/ 45 h 53"/>
                  <a:gd name="T10" fmla="*/ 14 w 86"/>
                  <a:gd name="T11" fmla="*/ 53 h 53"/>
                  <a:gd name="T12" fmla="*/ 28 w 86"/>
                  <a:gd name="T13" fmla="*/ 45 h 53"/>
                  <a:gd name="T14" fmla="*/ 86 w 86"/>
                  <a:gd name="T15" fmla="*/ 4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53">
                    <a:moveTo>
                      <a:pt x="86" y="4"/>
                    </a:moveTo>
                    <a:cubicBezTo>
                      <a:pt x="81" y="0"/>
                      <a:pt x="79" y="4"/>
                      <a:pt x="79" y="4"/>
                    </a:cubicBezTo>
                    <a:cubicBezTo>
                      <a:pt x="76" y="9"/>
                      <a:pt x="60" y="31"/>
                      <a:pt x="26" y="41"/>
                    </a:cubicBezTo>
                    <a:cubicBezTo>
                      <a:pt x="24" y="38"/>
                      <a:pt x="19" y="36"/>
                      <a:pt x="14" y="36"/>
                    </a:cubicBezTo>
                    <a:cubicBezTo>
                      <a:pt x="6" y="36"/>
                      <a:pt x="0" y="40"/>
                      <a:pt x="0" y="45"/>
                    </a:cubicBezTo>
                    <a:cubicBezTo>
                      <a:pt x="0" y="49"/>
                      <a:pt x="6" y="53"/>
                      <a:pt x="14" y="53"/>
                    </a:cubicBezTo>
                    <a:cubicBezTo>
                      <a:pt x="21" y="53"/>
                      <a:pt x="28" y="49"/>
                      <a:pt x="28" y="45"/>
                    </a:cubicBezTo>
                    <a:cubicBezTo>
                      <a:pt x="40" y="41"/>
                      <a:pt x="70" y="30"/>
                      <a:pt x="86" y="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grpSp>
          <p:nvGrpSpPr>
            <p:cNvPr id="47" name="Group 46"/>
            <p:cNvGrpSpPr/>
            <p:nvPr userDrawn="1"/>
          </p:nvGrpSpPr>
          <p:grpSpPr>
            <a:xfrm>
              <a:off x="6624881" y="2042524"/>
              <a:ext cx="352669" cy="392441"/>
              <a:chOff x="576263" y="2547930"/>
              <a:chExt cx="633412" cy="704843"/>
            </a:xfrm>
            <a:solidFill>
              <a:schemeClr val="accent4"/>
            </a:solidFill>
          </p:grpSpPr>
          <p:sp>
            <p:nvSpPr>
              <p:cNvPr id="48" name="Freeform 12"/>
              <p:cNvSpPr>
                <a:spLocks/>
              </p:cNvSpPr>
              <p:nvPr/>
            </p:nvSpPr>
            <p:spPr bwMode="auto">
              <a:xfrm>
                <a:off x="863601" y="2547930"/>
                <a:ext cx="57150" cy="119062"/>
              </a:xfrm>
              <a:custGeom>
                <a:avLst/>
                <a:gdLst>
                  <a:gd name="T0" fmla="*/ 5 w 228"/>
                  <a:gd name="T1" fmla="*/ 287 h 477"/>
                  <a:gd name="T2" fmla="*/ 5 w 228"/>
                  <a:gd name="T3" fmla="*/ 364 h 477"/>
                  <a:gd name="T4" fmla="*/ 115 w 228"/>
                  <a:gd name="T5" fmla="*/ 477 h 477"/>
                  <a:gd name="T6" fmla="*/ 116 w 228"/>
                  <a:gd name="T7" fmla="*/ 477 h 477"/>
                  <a:gd name="T8" fmla="*/ 223 w 228"/>
                  <a:gd name="T9" fmla="*/ 364 h 477"/>
                  <a:gd name="T10" fmla="*/ 223 w 228"/>
                  <a:gd name="T11" fmla="*/ 290 h 477"/>
                  <a:gd name="T12" fmla="*/ 224 w 228"/>
                  <a:gd name="T13" fmla="*/ 141 h 477"/>
                  <a:gd name="T14" fmla="*/ 148 w 228"/>
                  <a:gd name="T15" fmla="*/ 4 h 477"/>
                  <a:gd name="T16" fmla="*/ 138 w 228"/>
                  <a:gd name="T17" fmla="*/ 0 h 477"/>
                  <a:gd name="T18" fmla="*/ 90 w 228"/>
                  <a:gd name="T19" fmla="*/ 0 h 477"/>
                  <a:gd name="T20" fmla="*/ 81 w 228"/>
                  <a:gd name="T21" fmla="*/ 4 h 477"/>
                  <a:gd name="T22" fmla="*/ 4 w 228"/>
                  <a:gd name="T23" fmla="*/ 141 h 477"/>
                  <a:gd name="T24" fmla="*/ 5 w 228"/>
                  <a:gd name="T25" fmla="*/ 28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477">
                    <a:moveTo>
                      <a:pt x="5" y="287"/>
                    </a:moveTo>
                    <a:cubicBezTo>
                      <a:pt x="5" y="312"/>
                      <a:pt x="5" y="338"/>
                      <a:pt x="5" y="364"/>
                    </a:cubicBezTo>
                    <a:cubicBezTo>
                      <a:pt x="5" y="431"/>
                      <a:pt x="50" y="477"/>
                      <a:pt x="115" y="477"/>
                    </a:cubicBezTo>
                    <a:cubicBezTo>
                      <a:pt x="116" y="477"/>
                      <a:pt x="116" y="477"/>
                      <a:pt x="116" y="477"/>
                    </a:cubicBezTo>
                    <a:cubicBezTo>
                      <a:pt x="178" y="477"/>
                      <a:pt x="223" y="429"/>
                      <a:pt x="223" y="364"/>
                    </a:cubicBezTo>
                    <a:cubicBezTo>
                      <a:pt x="223" y="340"/>
                      <a:pt x="223" y="314"/>
                      <a:pt x="223" y="290"/>
                    </a:cubicBezTo>
                    <a:cubicBezTo>
                      <a:pt x="223" y="241"/>
                      <a:pt x="222" y="190"/>
                      <a:pt x="224" y="141"/>
                    </a:cubicBezTo>
                    <a:cubicBezTo>
                      <a:pt x="225" y="116"/>
                      <a:pt x="228" y="41"/>
                      <a:pt x="148" y="4"/>
                    </a:cubicBezTo>
                    <a:cubicBezTo>
                      <a:pt x="138" y="0"/>
                      <a:pt x="138" y="0"/>
                      <a:pt x="138" y="0"/>
                    </a:cubicBezTo>
                    <a:cubicBezTo>
                      <a:pt x="90" y="0"/>
                      <a:pt x="90" y="0"/>
                      <a:pt x="90" y="0"/>
                    </a:cubicBezTo>
                    <a:cubicBezTo>
                      <a:pt x="81" y="4"/>
                      <a:pt x="81" y="4"/>
                      <a:pt x="81" y="4"/>
                    </a:cubicBezTo>
                    <a:cubicBezTo>
                      <a:pt x="0" y="40"/>
                      <a:pt x="3" y="116"/>
                      <a:pt x="4" y="141"/>
                    </a:cubicBezTo>
                    <a:cubicBezTo>
                      <a:pt x="6" y="189"/>
                      <a:pt x="5" y="239"/>
                      <a:pt x="5" y="2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49" name="Freeform 13"/>
              <p:cNvSpPr>
                <a:spLocks/>
              </p:cNvSpPr>
              <p:nvPr/>
            </p:nvSpPr>
            <p:spPr bwMode="auto">
              <a:xfrm>
                <a:off x="576263" y="2836855"/>
                <a:ext cx="119062" cy="55563"/>
              </a:xfrm>
              <a:custGeom>
                <a:avLst/>
                <a:gdLst>
                  <a:gd name="T0" fmla="*/ 447 w 477"/>
                  <a:gd name="T1" fmla="*/ 187 h 221"/>
                  <a:gd name="T2" fmla="*/ 476 w 477"/>
                  <a:gd name="T3" fmla="*/ 109 h 221"/>
                  <a:gd name="T4" fmla="*/ 359 w 477"/>
                  <a:gd name="T5" fmla="*/ 1 h 221"/>
                  <a:gd name="T6" fmla="*/ 351 w 477"/>
                  <a:gd name="T7" fmla="*/ 1 h 221"/>
                  <a:gd name="T8" fmla="*/ 289 w 477"/>
                  <a:gd name="T9" fmla="*/ 1 h 221"/>
                  <a:gd name="T10" fmla="*/ 228 w 477"/>
                  <a:gd name="T11" fmla="*/ 1 h 221"/>
                  <a:gd name="T12" fmla="*/ 142 w 477"/>
                  <a:gd name="T13" fmla="*/ 0 h 221"/>
                  <a:gd name="T14" fmla="*/ 132 w 477"/>
                  <a:gd name="T15" fmla="*/ 0 h 221"/>
                  <a:gd name="T16" fmla="*/ 5 w 477"/>
                  <a:gd name="T17" fmla="*/ 74 h 221"/>
                  <a:gd name="T18" fmla="*/ 0 w 477"/>
                  <a:gd name="T19" fmla="*/ 85 h 221"/>
                  <a:gd name="T20" fmla="*/ 0 w 477"/>
                  <a:gd name="T21" fmla="*/ 132 h 221"/>
                  <a:gd name="T22" fmla="*/ 3 w 477"/>
                  <a:gd name="T23" fmla="*/ 141 h 221"/>
                  <a:gd name="T24" fmla="*/ 130 w 477"/>
                  <a:gd name="T25" fmla="*/ 221 h 221"/>
                  <a:gd name="T26" fmla="*/ 137 w 477"/>
                  <a:gd name="T27" fmla="*/ 221 h 221"/>
                  <a:gd name="T28" fmla="*/ 222 w 477"/>
                  <a:gd name="T29" fmla="*/ 220 h 221"/>
                  <a:gd name="T30" fmla="*/ 278 w 477"/>
                  <a:gd name="T31" fmla="*/ 220 h 221"/>
                  <a:gd name="T32" fmla="*/ 360 w 477"/>
                  <a:gd name="T33" fmla="*/ 220 h 221"/>
                  <a:gd name="T34" fmla="*/ 447 w 477"/>
                  <a:gd name="T35" fmla="*/ 18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7" h="221">
                    <a:moveTo>
                      <a:pt x="447" y="187"/>
                    </a:moveTo>
                    <a:cubicBezTo>
                      <a:pt x="467" y="167"/>
                      <a:pt x="477" y="140"/>
                      <a:pt x="476" y="109"/>
                    </a:cubicBezTo>
                    <a:cubicBezTo>
                      <a:pt x="475" y="44"/>
                      <a:pt x="428" y="1"/>
                      <a:pt x="359" y="1"/>
                    </a:cubicBezTo>
                    <a:cubicBezTo>
                      <a:pt x="351" y="1"/>
                      <a:pt x="351" y="1"/>
                      <a:pt x="351" y="1"/>
                    </a:cubicBezTo>
                    <a:cubicBezTo>
                      <a:pt x="331" y="1"/>
                      <a:pt x="310" y="1"/>
                      <a:pt x="289" y="1"/>
                    </a:cubicBezTo>
                    <a:cubicBezTo>
                      <a:pt x="269" y="1"/>
                      <a:pt x="248" y="1"/>
                      <a:pt x="228" y="1"/>
                    </a:cubicBezTo>
                    <a:cubicBezTo>
                      <a:pt x="194" y="1"/>
                      <a:pt x="167" y="1"/>
                      <a:pt x="142" y="0"/>
                    </a:cubicBezTo>
                    <a:cubicBezTo>
                      <a:pt x="139" y="0"/>
                      <a:pt x="135" y="0"/>
                      <a:pt x="132" y="0"/>
                    </a:cubicBezTo>
                    <a:cubicBezTo>
                      <a:pt x="72" y="0"/>
                      <a:pt x="29" y="25"/>
                      <a:pt x="5" y="74"/>
                    </a:cubicBezTo>
                    <a:cubicBezTo>
                      <a:pt x="0" y="85"/>
                      <a:pt x="0" y="85"/>
                      <a:pt x="0" y="85"/>
                    </a:cubicBezTo>
                    <a:cubicBezTo>
                      <a:pt x="0" y="132"/>
                      <a:pt x="0" y="132"/>
                      <a:pt x="0" y="132"/>
                    </a:cubicBezTo>
                    <a:cubicBezTo>
                      <a:pt x="3" y="141"/>
                      <a:pt x="3" y="141"/>
                      <a:pt x="3" y="141"/>
                    </a:cubicBezTo>
                    <a:cubicBezTo>
                      <a:pt x="25" y="194"/>
                      <a:pt x="68" y="221"/>
                      <a:pt x="130" y="221"/>
                    </a:cubicBezTo>
                    <a:cubicBezTo>
                      <a:pt x="132" y="221"/>
                      <a:pt x="135" y="221"/>
                      <a:pt x="137" y="221"/>
                    </a:cubicBezTo>
                    <a:cubicBezTo>
                      <a:pt x="162" y="220"/>
                      <a:pt x="189" y="220"/>
                      <a:pt x="222" y="220"/>
                    </a:cubicBezTo>
                    <a:cubicBezTo>
                      <a:pt x="241" y="220"/>
                      <a:pt x="260" y="220"/>
                      <a:pt x="278" y="220"/>
                    </a:cubicBezTo>
                    <a:cubicBezTo>
                      <a:pt x="306" y="220"/>
                      <a:pt x="333" y="220"/>
                      <a:pt x="360" y="220"/>
                    </a:cubicBezTo>
                    <a:cubicBezTo>
                      <a:pt x="396" y="220"/>
                      <a:pt x="426" y="208"/>
                      <a:pt x="447" y="1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50" name="Freeform 14"/>
              <p:cNvSpPr>
                <a:spLocks/>
              </p:cNvSpPr>
              <p:nvPr/>
            </p:nvSpPr>
            <p:spPr bwMode="auto">
              <a:xfrm>
                <a:off x="1089025" y="2836855"/>
                <a:ext cx="120650" cy="55563"/>
              </a:xfrm>
              <a:custGeom>
                <a:avLst/>
                <a:gdLst>
                  <a:gd name="T0" fmla="*/ 473 w 477"/>
                  <a:gd name="T1" fmla="*/ 81 h 221"/>
                  <a:gd name="T2" fmla="*/ 365 w 477"/>
                  <a:gd name="T3" fmla="*/ 1 h 221"/>
                  <a:gd name="T4" fmla="*/ 306 w 477"/>
                  <a:gd name="T5" fmla="*/ 0 h 221"/>
                  <a:gd name="T6" fmla="*/ 225 w 477"/>
                  <a:gd name="T7" fmla="*/ 0 h 221"/>
                  <a:gd name="T8" fmla="*/ 109 w 477"/>
                  <a:gd name="T9" fmla="*/ 1 h 221"/>
                  <a:gd name="T10" fmla="*/ 31 w 477"/>
                  <a:gd name="T11" fmla="*/ 33 h 221"/>
                  <a:gd name="T12" fmla="*/ 1 w 477"/>
                  <a:gd name="T13" fmla="*/ 115 h 221"/>
                  <a:gd name="T14" fmla="*/ 114 w 477"/>
                  <a:gd name="T15" fmla="*/ 220 h 221"/>
                  <a:gd name="T16" fmla="*/ 204 w 477"/>
                  <a:gd name="T17" fmla="*/ 220 h 221"/>
                  <a:gd name="T18" fmla="*/ 253 w 477"/>
                  <a:gd name="T19" fmla="*/ 220 h 221"/>
                  <a:gd name="T20" fmla="*/ 337 w 477"/>
                  <a:gd name="T21" fmla="*/ 221 h 221"/>
                  <a:gd name="T22" fmla="*/ 346 w 477"/>
                  <a:gd name="T23" fmla="*/ 221 h 221"/>
                  <a:gd name="T24" fmla="*/ 474 w 477"/>
                  <a:gd name="T25" fmla="*/ 141 h 221"/>
                  <a:gd name="T26" fmla="*/ 477 w 477"/>
                  <a:gd name="T27" fmla="*/ 132 h 221"/>
                  <a:gd name="T28" fmla="*/ 477 w 477"/>
                  <a:gd name="T29" fmla="*/ 91 h 221"/>
                  <a:gd name="T30" fmla="*/ 473 w 477"/>
                  <a:gd name="T31" fmla="*/ 8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77" h="221">
                    <a:moveTo>
                      <a:pt x="473" y="81"/>
                    </a:moveTo>
                    <a:cubicBezTo>
                      <a:pt x="463" y="59"/>
                      <a:pt x="436" y="1"/>
                      <a:pt x="365" y="1"/>
                    </a:cubicBezTo>
                    <a:cubicBezTo>
                      <a:pt x="346" y="0"/>
                      <a:pt x="326" y="0"/>
                      <a:pt x="306" y="0"/>
                    </a:cubicBezTo>
                    <a:cubicBezTo>
                      <a:pt x="279" y="0"/>
                      <a:pt x="252" y="0"/>
                      <a:pt x="225" y="0"/>
                    </a:cubicBezTo>
                    <a:cubicBezTo>
                      <a:pt x="180" y="0"/>
                      <a:pt x="143" y="0"/>
                      <a:pt x="109" y="1"/>
                    </a:cubicBezTo>
                    <a:cubicBezTo>
                      <a:pt x="78" y="1"/>
                      <a:pt x="51" y="13"/>
                      <a:pt x="31" y="33"/>
                    </a:cubicBezTo>
                    <a:cubicBezTo>
                      <a:pt x="10" y="54"/>
                      <a:pt x="0" y="83"/>
                      <a:pt x="1" y="115"/>
                    </a:cubicBezTo>
                    <a:cubicBezTo>
                      <a:pt x="3" y="177"/>
                      <a:pt x="48" y="219"/>
                      <a:pt x="114" y="220"/>
                    </a:cubicBezTo>
                    <a:cubicBezTo>
                      <a:pt x="144" y="220"/>
                      <a:pt x="174" y="220"/>
                      <a:pt x="204" y="220"/>
                    </a:cubicBezTo>
                    <a:cubicBezTo>
                      <a:pt x="220" y="220"/>
                      <a:pt x="237" y="220"/>
                      <a:pt x="253" y="220"/>
                    </a:cubicBezTo>
                    <a:cubicBezTo>
                      <a:pt x="287" y="220"/>
                      <a:pt x="313" y="220"/>
                      <a:pt x="337" y="221"/>
                    </a:cubicBezTo>
                    <a:cubicBezTo>
                      <a:pt x="340" y="221"/>
                      <a:pt x="343" y="221"/>
                      <a:pt x="346" y="221"/>
                    </a:cubicBezTo>
                    <a:cubicBezTo>
                      <a:pt x="408" y="221"/>
                      <a:pt x="451" y="194"/>
                      <a:pt x="474" y="141"/>
                    </a:cubicBezTo>
                    <a:cubicBezTo>
                      <a:pt x="477" y="132"/>
                      <a:pt x="477" y="132"/>
                      <a:pt x="477" y="132"/>
                    </a:cubicBezTo>
                    <a:cubicBezTo>
                      <a:pt x="477" y="91"/>
                      <a:pt x="477" y="91"/>
                      <a:pt x="477" y="91"/>
                    </a:cubicBezTo>
                    <a:lnTo>
                      <a:pt x="473"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51" name="Freeform 15"/>
              <p:cNvSpPr>
                <a:spLocks/>
              </p:cNvSpPr>
              <p:nvPr/>
            </p:nvSpPr>
            <p:spPr bwMode="auto">
              <a:xfrm>
                <a:off x="1020763" y="2995604"/>
                <a:ext cx="106362" cy="101601"/>
              </a:xfrm>
              <a:custGeom>
                <a:avLst/>
                <a:gdLst>
                  <a:gd name="T0" fmla="*/ 200 w 422"/>
                  <a:gd name="T1" fmla="*/ 34 h 407"/>
                  <a:gd name="T2" fmla="*/ 121 w 422"/>
                  <a:gd name="T3" fmla="*/ 0 h 407"/>
                  <a:gd name="T4" fmla="*/ 44 w 422"/>
                  <a:gd name="T5" fmla="*/ 34 h 407"/>
                  <a:gd name="T6" fmla="*/ 46 w 422"/>
                  <a:gd name="T7" fmla="*/ 190 h 407"/>
                  <a:gd name="T8" fmla="*/ 224 w 422"/>
                  <a:gd name="T9" fmla="*/ 369 h 407"/>
                  <a:gd name="T10" fmla="*/ 267 w 422"/>
                  <a:gd name="T11" fmla="*/ 395 h 407"/>
                  <a:gd name="T12" fmla="*/ 278 w 422"/>
                  <a:gd name="T13" fmla="*/ 400 h 407"/>
                  <a:gd name="T14" fmla="*/ 293 w 422"/>
                  <a:gd name="T15" fmla="*/ 407 h 407"/>
                  <a:gd name="T16" fmla="*/ 309 w 422"/>
                  <a:gd name="T17" fmla="*/ 405 h 407"/>
                  <a:gd name="T18" fmla="*/ 402 w 422"/>
                  <a:gd name="T19" fmla="*/ 337 h 407"/>
                  <a:gd name="T20" fmla="*/ 382 w 422"/>
                  <a:gd name="T21" fmla="*/ 216 h 407"/>
                  <a:gd name="T22" fmla="*/ 200 w 422"/>
                  <a:gd name="T23" fmla="*/ 34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2" h="407">
                    <a:moveTo>
                      <a:pt x="200" y="34"/>
                    </a:moveTo>
                    <a:cubicBezTo>
                      <a:pt x="178" y="12"/>
                      <a:pt x="150" y="0"/>
                      <a:pt x="121" y="0"/>
                    </a:cubicBezTo>
                    <a:cubicBezTo>
                      <a:pt x="93" y="0"/>
                      <a:pt x="65" y="12"/>
                      <a:pt x="44" y="34"/>
                    </a:cubicBezTo>
                    <a:cubicBezTo>
                      <a:pt x="0" y="78"/>
                      <a:pt x="1" y="145"/>
                      <a:pt x="46" y="190"/>
                    </a:cubicBezTo>
                    <a:cubicBezTo>
                      <a:pt x="117" y="263"/>
                      <a:pt x="172" y="318"/>
                      <a:pt x="224" y="369"/>
                    </a:cubicBezTo>
                    <a:cubicBezTo>
                      <a:pt x="238" y="382"/>
                      <a:pt x="254" y="389"/>
                      <a:pt x="267" y="395"/>
                    </a:cubicBezTo>
                    <a:cubicBezTo>
                      <a:pt x="271" y="397"/>
                      <a:pt x="275" y="398"/>
                      <a:pt x="278" y="400"/>
                    </a:cubicBezTo>
                    <a:cubicBezTo>
                      <a:pt x="293" y="407"/>
                      <a:pt x="293" y="407"/>
                      <a:pt x="293" y="407"/>
                    </a:cubicBezTo>
                    <a:cubicBezTo>
                      <a:pt x="309" y="405"/>
                      <a:pt x="309" y="405"/>
                      <a:pt x="309" y="405"/>
                    </a:cubicBezTo>
                    <a:cubicBezTo>
                      <a:pt x="353" y="398"/>
                      <a:pt x="385" y="375"/>
                      <a:pt x="402" y="337"/>
                    </a:cubicBezTo>
                    <a:cubicBezTo>
                      <a:pt x="422" y="294"/>
                      <a:pt x="415" y="249"/>
                      <a:pt x="382" y="216"/>
                    </a:cubicBezTo>
                    <a:cubicBezTo>
                      <a:pt x="318" y="151"/>
                      <a:pt x="258" y="91"/>
                      <a:pt x="200"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52" name="Freeform 16"/>
              <p:cNvSpPr>
                <a:spLocks/>
              </p:cNvSpPr>
              <p:nvPr/>
            </p:nvSpPr>
            <p:spPr bwMode="auto">
              <a:xfrm>
                <a:off x="658814" y="2995604"/>
                <a:ext cx="106362" cy="103188"/>
              </a:xfrm>
              <a:custGeom>
                <a:avLst/>
                <a:gdLst>
                  <a:gd name="T0" fmla="*/ 301 w 422"/>
                  <a:gd name="T1" fmla="*/ 0 h 408"/>
                  <a:gd name="T2" fmla="*/ 218 w 422"/>
                  <a:gd name="T3" fmla="*/ 37 h 408"/>
                  <a:gd name="T4" fmla="*/ 149 w 422"/>
                  <a:gd name="T5" fmla="*/ 106 h 408"/>
                  <a:gd name="T6" fmla="*/ 121 w 422"/>
                  <a:gd name="T7" fmla="*/ 134 h 408"/>
                  <a:gd name="T8" fmla="*/ 98 w 422"/>
                  <a:gd name="T9" fmla="*/ 157 h 408"/>
                  <a:gd name="T10" fmla="*/ 40 w 422"/>
                  <a:gd name="T11" fmla="*/ 216 h 408"/>
                  <a:gd name="T12" fmla="*/ 19 w 422"/>
                  <a:gd name="T13" fmla="*/ 337 h 408"/>
                  <a:gd name="T14" fmla="*/ 113 w 422"/>
                  <a:gd name="T15" fmla="*/ 405 h 408"/>
                  <a:gd name="T16" fmla="*/ 130 w 422"/>
                  <a:gd name="T17" fmla="*/ 408 h 408"/>
                  <a:gd name="T18" fmla="*/ 145 w 422"/>
                  <a:gd name="T19" fmla="*/ 400 h 408"/>
                  <a:gd name="T20" fmla="*/ 157 w 422"/>
                  <a:gd name="T21" fmla="*/ 393 h 408"/>
                  <a:gd name="T22" fmla="*/ 201 w 422"/>
                  <a:gd name="T23" fmla="*/ 365 h 408"/>
                  <a:gd name="T24" fmla="*/ 374 w 422"/>
                  <a:gd name="T25" fmla="*/ 193 h 408"/>
                  <a:gd name="T26" fmla="*/ 379 w 422"/>
                  <a:gd name="T27" fmla="*/ 35 h 408"/>
                  <a:gd name="T28" fmla="*/ 301 w 422"/>
                  <a:gd name="T29" fmla="*/ 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2" h="408">
                    <a:moveTo>
                      <a:pt x="301" y="0"/>
                    </a:moveTo>
                    <a:cubicBezTo>
                      <a:pt x="271" y="0"/>
                      <a:pt x="243" y="13"/>
                      <a:pt x="218" y="37"/>
                    </a:cubicBezTo>
                    <a:cubicBezTo>
                      <a:pt x="195" y="60"/>
                      <a:pt x="171" y="84"/>
                      <a:pt x="149" y="106"/>
                    </a:cubicBezTo>
                    <a:cubicBezTo>
                      <a:pt x="140" y="116"/>
                      <a:pt x="131" y="125"/>
                      <a:pt x="121" y="134"/>
                    </a:cubicBezTo>
                    <a:cubicBezTo>
                      <a:pt x="114" y="142"/>
                      <a:pt x="106" y="149"/>
                      <a:pt x="98" y="157"/>
                    </a:cubicBezTo>
                    <a:cubicBezTo>
                      <a:pt x="79" y="176"/>
                      <a:pt x="59" y="196"/>
                      <a:pt x="40" y="216"/>
                    </a:cubicBezTo>
                    <a:cubicBezTo>
                      <a:pt x="7" y="250"/>
                      <a:pt x="0" y="294"/>
                      <a:pt x="19" y="337"/>
                    </a:cubicBezTo>
                    <a:cubicBezTo>
                      <a:pt x="37" y="375"/>
                      <a:pt x="68" y="398"/>
                      <a:pt x="113" y="405"/>
                    </a:cubicBezTo>
                    <a:cubicBezTo>
                      <a:pt x="130" y="408"/>
                      <a:pt x="130" y="408"/>
                      <a:pt x="130" y="408"/>
                    </a:cubicBezTo>
                    <a:cubicBezTo>
                      <a:pt x="145" y="400"/>
                      <a:pt x="145" y="400"/>
                      <a:pt x="145" y="400"/>
                    </a:cubicBezTo>
                    <a:cubicBezTo>
                      <a:pt x="148" y="398"/>
                      <a:pt x="152" y="396"/>
                      <a:pt x="157" y="393"/>
                    </a:cubicBezTo>
                    <a:cubicBezTo>
                      <a:pt x="170" y="387"/>
                      <a:pt x="187" y="379"/>
                      <a:pt x="201" y="365"/>
                    </a:cubicBezTo>
                    <a:cubicBezTo>
                      <a:pt x="261" y="308"/>
                      <a:pt x="321" y="247"/>
                      <a:pt x="374" y="193"/>
                    </a:cubicBezTo>
                    <a:cubicBezTo>
                      <a:pt x="420" y="146"/>
                      <a:pt x="422" y="79"/>
                      <a:pt x="379" y="35"/>
                    </a:cubicBezTo>
                    <a:cubicBezTo>
                      <a:pt x="357" y="13"/>
                      <a:pt x="330" y="0"/>
                      <a:pt x="3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53" name="Freeform 17"/>
              <p:cNvSpPr>
                <a:spLocks/>
              </p:cNvSpPr>
              <p:nvPr/>
            </p:nvSpPr>
            <p:spPr bwMode="auto">
              <a:xfrm>
                <a:off x="657224" y="2632068"/>
                <a:ext cx="104774" cy="101601"/>
              </a:xfrm>
              <a:custGeom>
                <a:avLst/>
                <a:gdLst>
                  <a:gd name="T0" fmla="*/ 229 w 413"/>
                  <a:gd name="T1" fmla="*/ 373 h 402"/>
                  <a:gd name="T2" fmla="*/ 300 w 413"/>
                  <a:gd name="T3" fmla="*/ 402 h 402"/>
                  <a:gd name="T4" fmla="*/ 347 w 413"/>
                  <a:gd name="T5" fmla="*/ 392 h 402"/>
                  <a:gd name="T6" fmla="*/ 413 w 413"/>
                  <a:gd name="T7" fmla="*/ 285 h 402"/>
                  <a:gd name="T8" fmla="*/ 413 w 413"/>
                  <a:gd name="T9" fmla="*/ 274 h 402"/>
                  <a:gd name="T10" fmla="*/ 409 w 413"/>
                  <a:gd name="T11" fmla="*/ 265 h 402"/>
                  <a:gd name="T12" fmla="*/ 408 w 413"/>
                  <a:gd name="T13" fmla="*/ 263 h 402"/>
                  <a:gd name="T14" fmla="*/ 384 w 413"/>
                  <a:gd name="T15" fmla="*/ 218 h 402"/>
                  <a:gd name="T16" fmla="*/ 195 w 413"/>
                  <a:gd name="T17" fmla="*/ 30 h 402"/>
                  <a:gd name="T18" fmla="*/ 123 w 413"/>
                  <a:gd name="T19" fmla="*/ 0 h 402"/>
                  <a:gd name="T20" fmla="*/ 46 w 413"/>
                  <a:gd name="T21" fmla="*/ 32 h 402"/>
                  <a:gd name="T22" fmla="*/ 42 w 413"/>
                  <a:gd name="T23" fmla="*/ 185 h 402"/>
                  <a:gd name="T24" fmla="*/ 229 w 413"/>
                  <a:gd name="T25" fmla="*/ 373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3" h="402">
                    <a:moveTo>
                      <a:pt x="229" y="373"/>
                    </a:moveTo>
                    <a:cubicBezTo>
                      <a:pt x="248" y="392"/>
                      <a:pt x="273" y="402"/>
                      <a:pt x="300" y="402"/>
                    </a:cubicBezTo>
                    <a:cubicBezTo>
                      <a:pt x="315" y="402"/>
                      <a:pt x="331" y="399"/>
                      <a:pt x="347" y="392"/>
                    </a:cubicBezTo>
                    <a:cubicBezTo>
                      <a:pt x="376" y="380"/>
                      <a:pt x="411" y="352"/>
                      <a:pt x="413" y="285"/>
                    </a:cubicBezTo>
                    <a:cubicBezTo>
                      <a:pt x="413" y="274"/>
                      <a:pt x="413" y="274"/>
                      <a:pt x="413" y="274"/>
                    </a:cubicBezTo>
                    <a:cubicBezTo>
                      <a:pt x="409" y="265"/>
                      <a:pt x="409" y="265"/>
                      <a:pt x="409" y="265"/>
                    </a:cubicBezTo>
                    <a:cubicBezTo>
                      <a:pt x="409" y="264"/>
                      <a:pt x="408" y="264"/>
                      <a:pt x="408" y="263"/>
                    </a:cubicBezTo>
                    <a:cubicBezTo>
                      <a:pt x="405" y="252"/>
                      <a:pt x="399" y="233"/>
                      <a:pt x="384" y="218"/>
                    </a:cubicBezTo>
                    <a:cubicBezTo>
                      <a:pt x="316" y="148"/>
                      <a:pt x="254" y="87"/>
                      <a:pt x="195" y="30"/>
                    </a:cubicBezTo>
                    <a:cubicBezTo>
                      <a:pt x="176" y="11"/>
                      <a:pt x="150" y="0"/>
                      <a:pt x="123" y="0"/>
                    </a:cubicBezTo>
                    <a:cubicBezTo>
                      <a:pt x="95" y="0"/>
                      <a:pt x="67" y="12"/>
                      <a:pt x="46" y="32"/>
                    </a:cubicBezTo>
                    <a:cubicBezTo>
                      <a:pt x="2" y="75"/>
                      <a:pt x="0" y="142"/>
                      <a:pt x="42" y="185"/>
                    </a:cubicBezTo>
                    <a:cubicBezTo>
                      <a:pt x="109" y="255"/>
                      <a:pt x="177" y="322"/>
                      <a:pt x="229" y="3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54" name="Freeform 18"/>
              <p:cNvSpPr>
                <a:spLocks/>
              </p:cNvSpPr>
              <p:nvPr/>
            </p:nvSpPr>
            <p:spPr bwMode="auto">
              <a:xfrm>
                <a:off x="1020761" y="2632066"/>
                <a:ext cx="106362" cy="101601"/>
              </a:xfrm>
              <a:custGeom>
                <a:avLst/>
                <a:gdLst>
                  <a:gd name="T0" fmla="*/ 117 w 421"/>
                  <a:gd name="T1" fmla="*/ 404 h 405"/>
                  <a:gd name="T2" fmla="*/ 130 w 421"/>
                  <a:gd name="T3" fmla="*/ 405 h 405"/>
                  <a:gd name="T4" fmla="*/ 141 w 421"/>
                  <a:gd name="T5" fmla="*/ 400 h 405"/>
                  <a:gd name="T6" fmla="*/ 150 w 421"/>
                  <a:gd name="T7" fmla="*/ 397 h 405"/>
                  <a:gd name="T8" fmla="*/ 192 w 421"/>
                  <a:gd name="T9" fmla="*/ 373 h 405"/>
                  <a:gd name="T10" fmla="*/ 380 w 421"/>
                  <a:gd name="T11" fmla="*/ 185 h 405"/>
                  <a:gd name="T12" fmla="*/ 379 w 421"/>
                  <a:gd name="T13" fmla="*/ 36 h 405"/>
                  <a:gd name="T14" fmla="*/ 299 w 421"/>
                  <a:gd name="T15" fmla="*/ 0 h 405"/>
                  <a:gd name="T16" fmla="*/ 226 w 421"/>
                  <a:gd name="T17" fmla="*/ 30 h 405"/>
                  <a:gd name="T18" fmla="*/ 37 w 421"/>
                  <a:gd name="T19" fmla="*/ 220 h 405"/>
                  <a:gd name="T20" fmla="*/ 20 w 421"/>
                  <a:gd name="T21" fmla="*/ 340 h 405"/>
                  <a:gd name="T22" fmla="*/ 117 w 421"/>
                  <a:gd name="T23" fmla="*/ 404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1" h="405">
                    <a:moveTo>
                      <a:pt x="117" y="404"/>
                    </a:moveTo>
                    <a:cubicBezTo>
                      <a:pt x="130" y="405"/>
                      <a:pt x="130" y="405"/>
                      <a:pt x="130" y="405"/>
                    </a:cubicBezTo>
                    <a:cubicBezTo>
                      <a:pt x="141" y="400"/>
                      <a:pt x="141" y="400"/>
                      <a:pt x="141" y="400"/>
                    </a:cubicBezTo>
                    <a:cubicBezTo>
                      <a:pt x="143" y="399"/>
                      <a:pt x="147" y="398"/>
                      <a:pt x="150" y="397"/>
                    </a:cubicBezTo>
                    <a:cubicBezTo>
                      <a:pt x="162" y="392"/>
                      <a:pt x="178" y="387"/>
                      <a:pt x="192" y="373"/>
                    </a:cubicBezTo>
                    <a:cubicBezTo>
                      <a:pt x="262" y="305"/>
                      <a:pt x="323" y="244"/>
                      <a:pt x="380" y="185"/>
                    </a:cubicBezTo>
                    <a:cubicBezTo>
                      <a:pt x="421" y="143"/>
                      <a:pt x="420" y="79"/>
                      <a:pt x="379" y="36"/>
                    </a:cubicBezTo>
                    <a:cubicBezTo>
                      <a:pt x="358" y="13"/>
                      <a:pt x="328" y="0"/>
                      <a:pt x="299" y="0"/>
                    </a:cubicBezTo>
                    <a:cubicBezTo>
                      <a:pt x="272" y="0"/>
                      <a:pt x="246" y="11"/>
                      <a:pt x="226" y="30"/>
                    </a:cubicBezTo>
                    <a:cubicBezTo>
                      <a:pt x="168" y="86"/>
                      <a:pt x="106" y="148"/>
                      <a:pt x="37" y="220"/>
                    </a:cubicBezTo>
                    <a:cubicBezTo>
                      <a:pt x="6" y="252"/>
                      <a:pt x="0" y="296"/>
                      <a:pt x="20" y="340"/>
                    </a:cubicBezTo>
                    <a:cubicBezTo>
                      <a:pt x="39" y="378"/>
                      <a:pt x="73" y="401"/>
                      <a:pt x="117" y="4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55" name="Freeform 19"/>
              <p:cNvSpPr>
                <a:spLocks noEditPoints="1"/>
              </p:cNvSpPr>
              <p:nvPr/>
            </p:nvSpPr>
            <p:spPr bwMode="auto">
              <a:xfrm>
                <a:off x="719136" y="2693978"/>
                <a:ext cx="346074" cy="374648"/>
              </a:xfrm>
              <a:custGeom>
                <a:avLst/>
                <a:gdLst>
                  <a:gd name="T0" fmla="*/ 334 w 1376"/>
                  <a:gd name="T1" fmla="*/ 1494 h 1494"/>
                  <a:gd name="T2" fmla="*/ 360 w 1376"/>
                  <a:gd name="T3" fmla="*/ 1494 h 1494"/>
                  <a:gd name="T4" fmla="*/ 563 w 1376"/>
                  <a:gd name="T5" fmla="*/ 1494 h 1494"/>
                  <a:gd name="T6" fmla="*/ 1044 w 1376"/>
                  <a:gd name="T7" fmla="*/ 1494 h 1494"/>
                  <a:gd name="T8" fmla="*/ 1131 w 1376"/>
                  <a:gd name="T9" fmla="*/ 1260 h 1494"/>
                  <a:gd name="T10" fmla="*/ 1267 w 1376"/>
                  <a:gd name="T11" fmla="*/ 1040 h 1494"/>
                  <a:gd name="T12" fmla="*/ 1365 w 1376"/>
                  <a:gd name="T13" fmla="*/ 813 h 1494"/>
                  <a:gd name="T14" fmla="*/ 1376 w 1376"/>
                  <a:gd name="T15" fmla="*/ 750 h 1494"/>
                  <a:gd name="T16" fmla="*/ 1376 w 1376"/>
                  <a:gd name="T17" fmla="*/ 648 h 1494"/>
                  <a:gd name="T18" fmla="*/ 1372 w 1376"/>
                  <a:gd name="T19" fmla="*/ 633 h 1494"/>
                  <a:gd name="T20" fmla="*/ 1188 w 1376"/>
                  <a:gd name="T21" fmla="*/ 242 h 1494"/>
                  <a:gd name="T22" fmla="*/ 564 w 1376"/>
                  <a:gd name="T23" fmla="*/ 44 h 1494"/>
                  <a:gd name="T24" fmla="*/ 28 w 1376"/>
                  <a:gd name="T25" fmla="*/ 514 h 1494"/>
                  <a:gd name="T26" fmla="*/ 0 w 1376"/>
                  <a:gd name="T27" fmla="*/ 653 h 1494"/>
                  <a:gd name="T28" fmla="*/ 0 w 1376"/>
                  <a:gd name="T29" fmla="*/ 750 h 1494"/>
                  <a:gd name="T30" fmla="*/ 4 w 1376"/>
                  <a:gd name="T31" fmla="*/ 763 h 1494"/>
                  <a:gd name="T32" fmla="*/ 55 w 1376"/>
                  <a:gd name="T33" fmla="*/ 939 h 1494"/>
                  <a:gd name="T34" fmla="*/ 196 w 1376"/>
                  <a:gd name="T35" fmla="*/ 1174 h 1494"/>
                  <a:gd name="T36" fmla="*/ 316 w 1376"/>
                  <a:gd name="T37" fmla="*/ 1424 h 1494"/>
                  <a:gd name="T38" fmla="*/ 334 w 1376"/>
                  <a:gd name="T39" fmla="*/ 1494 h 1494"/>
                  <a:gd name="T40" fmla="*/ 288 w 1376"/>
                  <a:gd name="T41" fmla="*/ 676 h 1494"/>
                  <a:gd name="T42" fmla="*/ 216 w 1376"/>
                  <a:gd name="T43" fmla="*/ 583 h 1494"/>
                  <a:gd name="T44" fmla="*/ 220 w 1376"/>
                  <a:gd name="T45" fmla="*/ 560 h 1494"/>
                  <a:gd name="T46" fmla="*/ 381 w 1376"/>
                  <a:gd name="T47" fmla="*/ 327 h 1494"/>
                  <a:gd name="T48" fmla="*/ 547 w 1376"/>
                  <a:gd name="T49" fmla="*/ 248 h 1494"/>
                  <a:gd name="T50" fmla="*/ 642 w 1376"/>
                  <a:gd name="T51" fmla="*/ 314 h 1494"/>
                  <a:gd name="T52" fmla="*/ 582 w 1376"/>
                  <a:gd name="T53" fmla="*/ 417 h 1494"/>
                  <a:gd name="T54" fmla="*/ 383 w 1376"/>
                  <a:gd name="T55" fmla="*/ 614 h 1494"/>
                  <a:gd name="T56" fmla="*/ 288 w 1376"/>
                  <a:gd name="T57" fmla="*/ 676 h 1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76" h="1494">
                    <a:moveTo>
                      <a:pt x="334" y="1494"/>
                    </a:moveTo>
                    <a:cubicBezTo>
                      <a:pt x="343" y="1494"/>
                      <a:pt x="352" y="1494"/>
                      <a:pt x="360" y="1494"/>
                    </a:cubicBezTo>
                    <a:cubicBezTo>
                      <a:pt x="428" y="1494"/>
                      <a:pt x="496" y="1494"/>
                      <a:pt x="563" y="1494"/>
                    </a:cubicBezTo>
                    <a:cubicBezTo>
                      <a:pt x="1044" y="1494"/>
                      <a:pt x="1044" y="1494"/>
                      <a:pt x="1044" y="1494"/>
                    </a:cubicBezTo>
                    <a:cubicBezTo>
                      <a:pt x="1058" y="1412"/>
                      <a:pt x="1087" y="1334"/>
                      <a:pt x="1131" y="1260"/>
                    </a:cubicBezTo>
                    <a:cubicBezTo>
                      <a:pt x="1174" y="1185"/>
                      <a:pt x="1222" y="1114"/>
                      <a:pt x="1267" y="1040"/>
                    </a:cubicBezTo>
                    <a:cubicBezTo>
                      <a:pt x="1311" y="970"/>
                      <a:pt x="1348" y="895"/>
                      <a:pt x="1365" y="813"/>
                    </a:cubicBezTo>
                    <a:cubicBezTo>
                      <a:pt x="1369" y="792"/>
                      <a:pt x="1373" y="771"/>
                      <a:pt x="1376" y="750"/>
                    </a:cubicBezTo>
                    <a:cubicBezTo>
                      <a:pt x="1376" y="716"/>
                      <a:pt x="1376" y="682"/>
                      <a:pt x="1376" y="648"/>
                    </a:cubicBezTo>
                    <a:cubicBezTo>
                      <a:pt x="1375" y="643"/>
                      <a:pt x="1373" y="638"/>
                      <a:pt x="1372" y="633"/>
                    </a:cubicBezTo>
                    <a:cubicBezTo>
                      <a:pt x="1356" y="481"/>
                      <a:pt x="1295" y="350"/>
                      <a:pt x="1188" y="242"/>
                    </a:cubicBezTo>
                    <a:cubicBezTo>
                      <a:pt x="1015" y="69"/>
                      <a:pt x="804" y="0"/>
                      <a:pt x="564" y="44"/>
                    </a:cubicBezTo>
                    <a:cubicBezTo>
                      <a:pt x="296" y="94"/>
                      <a:pt x="115" y="253"/>
                      <a:pt x="28" y="514"/>
                    </a:cubicBezTo>
                    <a:cubicBezTo>
                      <a:pt x="14" y="558"/>
                      <a:pt x="9" y="606"/>
                      <a:pt x="0" y="653"/>
                    </a:cubicBezTo>
                    <a:cubicBezTo>
                      <a:pt x="0" y="685"/>
                      <a:pt x="0" y="717"/>
                      <a:pt x="0" y="750"/>
                    </a:cubicBezTo>
                    <a:cubicBezTo>
                      <a:pt x="1" y="754"/>
                      <a:pt x="3" y="758"/>
                      <a:pt x="4" y="763"/>
                    </a:cubicBezTo>
                    <a:cubicBezTo>
                      <a:pt x="10" y="825"/>
                      <a:pt x="25" y="885"/>
                      <a:pt x="55" y="939"/>
                    </a:cubicBezTo>
                    <a:cubicBezTo>
                      <a:pt x="99" y="1018"/>
                      <a:pt x="148" y="1096"/>
                      <a:pt x="196" y="1174"/>
                    </a:cubicBezTo>
                    <a:cubicBezTo>
                      <a:pt x="245" y="1253"/>
                      <a:pt x="291" y="1334"/>
                      <a:pt x="316" y="1424"/>
                    </a:cubicBezTo>
                    <a:cubicBezTo>
                      <a:pt x="323" y="1447"/>
                      <a:pt x="328" y="1470"/>
                      <a:pt x="334" y="1494"/>
                    </a:cubicBezTo>
                    <a:close/>
                    <a:moveTo>
                      <a:pt x="288" y="676"/>
                    </a:moveTo>
                    <a:cubicBezTo>
                      <a:pt x="246" y="669"/>
                      <a:pt x="216" y="633"/>
                      <a:pt x="216" y="583"/>
                    </a:cubicBezTo>
                    <a:cubicBezTo>
                      <a:pt x="217" y="580"/>
                      <a:pt x="217" y="570"/>
                      <a:pt x="220" y="560"/>
                    </a:cubicBezTo>
                    <a:cubicBezTo>
                      <a:pt x="245" y="463"/>
                      <a:pt x="306" y="389"/>
                      <a:pt x="381" y="327"/>
                    </a:cubicBezTo>
                    <a:cubicBezTo>
                      <a:pt x="430" y="287"/>
                      <a:pt x="483" y="255"/>
                      <a:pt x="547" y="248"/>
                    </a:cubicBezTo>
                    <a:cubicBezTo>
                      <a:pt x="591" y="243"/>
                      <a:pt x="633" y="272"/>
                      <a:pt x="642" y="314"/>
                    </a:cubicBezTo>
                    <a:cubicBezTo>
                      <a:pt x="652" y="361"/>
                      <a:pt x="627" y="405"/>
                      <a:pt x="582" y="417"/>
                    </a:cubicBezTo>
                    <a:cubicBezTo>
                      <a:pt x="477" y="443"/>
                      <a:pt x="412" y="510"/>
                      <a:pt x="383" y="614"/>
                    </a:cubicBezTo>
                    <a:cubicBezTo>
                      <a:pt x="371" y="656"/>
                      <a:pt x="331" y="682"/>
                      <a:pt x="288" y="6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56" name="Freeform 20"/>
              <p:cNvSpPr>
                <a:spLocks/>
              </p:cNvSpPr>
              <p:nvPr/>
            </p:nvSpPr>
            <p:spPr bwMode="auto">
              <a:xfrm>
                <a:off x="776286" y="3159111"/>
                <a:ext cx="233363" cy="93662"/>
              </a:xfrm>
              <a:custGeom>
                <a:avLst/>
                <a:gdLst>
                  <a:gd name="T0" fmla="*/ 827 w 927"/>
                  <a:gd name="T1" fmla="*/ 1 h 372"/>
                  <a:gd name="T2" fmla="*/ 102 w 927"/>
                  <a:gd name="T3" fmla="*/ 1 h 372"/>
                  <a:gd name="T4" fmla="*/ 0 w 927"/>
                  <a:gd name="T5" fmla="*/ 91 h 372"/>
                  <a:gd name="T6" fmla="*/ 100 w 927"/>
                  <a:gd name="T7" fmla="*/ 182 h 372"/>
                  <a:gd name="T8" fmla="*/ 212 w 927"/>
                  <a:gd name="T9" fmla="*/ 243 h 372"/>
                  <a:gd name="T10" fmla="*/ 373 w 927"/>
                  <a:gd name="T11" fmla="*/ 372 h 372"/>
                  <a:gd name="T12" fmla="*/ 553 w 927"/>
                  <a:gd name="T13" fmla="*/ 372 h 372"/>
                  <a:gd name="T14" fmla="*/ 714 w 927"/>
                  <a:gd name="T15" fmla="*/ 243 h 372"/>
                  <a:gd name="T16" fmla="*/ 830 w 927"/>
                  <a:gd name="T17" fmla="*/ 182 h 372"/>
                  <a:gd name="T18" fmla="*/ 926 w 927"/>
                  <a:gd name="T19" fmla="*/ 90 h 372"/>
                  <a:gd name="T20" fmla="*/ 827 w 927"/>
                  <a:gd name="T21" fmla="*/ 1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7" h="372">
                    <a:moveTo>
                      <a:pt x="827" y="1"/>
                    </a:moveTo>
                    <a:cubicBezTo>
                      <a:pt x="586" y="0"/>
                      <a:pt x="344" y="0"/>
                      <a:pt x="102" y="1"/>
                    </a:cubicBezTo>
                    <a:cubicBezTo>
                      <a:pt x="39" y="1"/>
                      <a:pt x="0" y="38"/>
                      <a:pt x="0" y="91"/>
                    </a:cubicBezTo>
                    <a:cubicBezTo>
                      <a:pt x="0" y="144"/>
                      <a:pt x="38" y="179"/>
                      <a:pt x="100" y="182"/>
                    </a:cubicBezTo>
                    <a:cubicBezTo>
                      <a:pt x="147" y="184"/>
                      <a:pt x="190" y="202"/>
                      <a:pt x="212" y="243"/>
                    </a:cubicBezTo>
                    <a:cubicBezTo>
                      <a:pt x="248" y="310"/>
                      <a:pt x="300" y="353"/>
                      <a:pt x="373" y="372"/>
                    </a:cubicBezTo>
                    <a:cubicBezTo>
                      <a:pt x="433" y="372"/>
                      <a:pt x="493" y="372"/>
                      <a:pt x="553" y="372"/>
                    </a:cubicBezTo>
                    <a:cubicBezTo>
                      <a:pt x="626" y="353"/>
                      <a:pt x="678" y="309"/>
                      <a:pt x="714" y="243"/>
                    </a:cubicBezTo>
                    <a:cubicBezTo>
                      <a:pt x="737" y="200"/>
                      <a:pt x="781" y="184"/>
                      <a:pt x="830" y="182"/>
                    </a:cubicBezTo>
                    <a:cubicBezTo>
                      <a:pt x="888" y="179"/>
                      <a:pt x="927" y="142"/>
                      <a:pt x="926" y="90"/>
                    </a:cubicBezTo>
                    <a:cubicBezTo>
                      <a:pt x="926" y="40"/>
                      <a:pt x="885" y="1"/>
                      <a:pt x="827" y="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57" name="Freeform 21"/>
              <p:cNvSpPr>
                <a:spLocks/>
              </p:cNvSpPr>
              <p:nvPr/>
            </p:nvSpPr>
            <p:spPr bwMode="auto">
              <a:xfrm>
                <a:off x="776288" y="3090863"/>
                <a:ext cx="238124" cy="46038"/>
              </a:xfrm>
              <a:custGeom>
                <a:avLst/>
                <a:gdLst>
                  <a:gd name="T0" fmla="*/ 827 w 947"/>
                  <a:gd name="T1" fmla="*/ 2 h 184"/>
                  <a:gd name="T2" fmla="*/ 464 w 947"/>
                  <a:gd name="T3" fmla="*/ 1 h 184"/>
                  <a:gd name="T4" fmla="*/ 464 w 947"/>
                  <a:gd name="T5" fmla="*/ 1 h 184"/>
                  <a:gd name="T6" fmla="*/ 101 w 947"/>
                  <a:gd name="T7" fmla="*/ 2 h 184"/>
                  <a:gd name="T8" fmla="*/ 0 w 947"/>
                  <a:gd name="T9" fmla="*/ 92 h 184"/>
                  <a:gd name="T10" fmla="*/ 96 w 947"/>
                  <a:gd name="T11" fmla="*/ 183 h 184"/>
                  <a:gd name="T12" fmla="*/ 830 w 947"/>
                  <a:gd name="T13" fmla="*/ 183 h 184"/>
                  <a:gd name="T14" fmla="*/ 916 w 947"/>
                  <a:gd name="T15" fmla="*/ 132 h 184"/>
                  <a:gd name="T16" fmla="*/ 827 w 947"/>
                  <a:gd name="T17" fmla="*/ 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7" h="184">
                    <a:moveTo>
                      <a:pt x="827" y="2"/>
                    </a:moveTo>
                    <a:cubicBezTo>
                      <a:pt x="706" y="0"/>
                      <a:pt x="585" y="1"/>
                      <a:pt x="464" y="1"/>
                    </a:cubicBezTo>
                    <a:cubicBezTo>
                      <a:pt x="464" y="1"/>
                      <a:pt x="464" y="1"/>
                      <a:pt x="464" y="1"/>
                    </a:cubicBezTo>
                    <a:cubicBezTo>
                      <a:pt x="343" y="1"/>
                      <a:pt x="222" y="1"/>
                      <a:pt x="101" y="2"/>
                    </a:cubicBezTo>
                    <a:cubicBezTo>
                      <a:pt x="41" y="2"/>
                      <a:pt x="0" y="39"/>
                      <a:pt x="0" y="92"/>
                    </a:cubicBezTo>
                    <a:cubicBezTo>
                      <a:pt x="0" y="143"/>
                      <a:pt x="39" y="183"/>
                      <a:pt x="96" y="183"/>
                    </a:cubicBezTo>
                    <a:cubicBezTo>
                      <a:pt x="341" y="184"/>
                      <a:pt x="585" y="184"/>
                      <a:pt x="830" y="183"/>
                    </a:cubicBezTo>
                    <a:cubicBezTo>
                      <a:pt x="868" y="183"/>
                      <a:pt x="898" y="167"/>
                      <a:pt x="916" y="132"/>
                    </a:cubicBezTo>
                    <a:cubicBezTo>
                      <a:pt x="947" y="70"/>
                      <a:pt x="903" y="2"/>
                      <a:pt x="827" y="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grpSp>
          <p:nvGrpSpPr>
            <p:cNvPr id="58" name="Group 57"/>
            <p:cNvGrpSpPr/>
            <p:nvPr userDrawn="1"/>
          </p:nvGrpSpPr>
          <p:grpSpPr>
            <a:xfrm>
              <a:off x="8436830" y="2082037"/>
              <a:ext cx="303051" cy="402432"/>
              <a:chOff x="649288" y="2909886"/>
              <a:chExt cx="784226" cy="1041403"/>
            </a:xfrm>
            <a:solidFill>
              <a:schemeClr val="tx2"/>
            </a:solidFill>
          </p:grpSpPr>
          <p:sp>
            <p:nvSpPr>
              <p:cNvPr id="59" name="Freeform 34"/>
              <p:cNvSpPr>
                <a:spLocks noEditPoints="1"/>
              </p:cNvSpPr>
              <p:nvPr/>
            </p:nvSpPr>
            <p:spPr bwMode="auto">
              <a:xfrm>
                <a:off x="649288" y="2909886"/>
                <a:ext cx="479426" cy="808038"/>
              </a:xfrm>
              <a:custGeom>
                <a:avLst/>
                <a:gdLst>
                  <a:gd name="T0" fmla="*/ 59 w 236"/>
                  <a:gd name="T1" fmla="*/ 343 h 397"/>
                  <a:gd name="T2" fmla="*/ 76 w 236"/>
                  <a:gd name="T3" fmla="*/ 320 h 397"/>
                  <a:gd name="T4" fmla="*/ 23 w 236"/>
                  <a:gd name="T5" fmla="*/ 320 h 397"/>
                  <a:gd name="T6" fmla="*/ 23 w 236"/>
                  <a:gd name="T7" fmla="*/ 62 h 397"/>
                  <a:gd name="T8" fmla="*/ 213 w 236"/>
                  <a:gd name="T9" fmla="*/ 62 h 397"/>
                  <a:gd name="T10" fmla="*/ 213 w 236"/>
                  <a:gd name="T11" fmla="*/ 249 h 397"/>
                  <a:gd name="T12" fmla="*/ 221 w 236"/>
                  <a:gd name="T13" fmla="*/ 247 h 397"/>
                  <a:gd name="T14" fmla="*/ 230 w 236"/>
                  <a:gd name="T15" fmla="*/ 246 h 397"/>
                  <a:gd name="T16" fmla="*/ 236 w 236"/>
                  <a:gd name="T17" fmla="*/ 247 h 397"/>
                  <a:gd name="T18" fmla="*/ 236 w 236"/>
                  <a:gd name="T19" fmla="*/ 37 h 397"/>
                  <a:gd name="T20" fmla="*/ 210 w 236"/>
                  <a:gd name="T21" fmla="*/ 6 h 397"/>
                  <a:gd name="T22" fmla="*/ 26 w 236"/>
                  <a:gd name="T23" fmla="*/ 6 h 397"/>
                  <a:gd name="T24" fmla="*/ 0 w 236"/>
                  <a:gd name="T25" fmla="*/ 37 h 397"/>
                  <a:gd name="T26" fmla="*/ 0 w 236"/>
                  <a:gd name="T27" fmla="*/ 362 h 397"/>
                  <a:gd name="T28" fmla="*/ 25 w 236"/>
                  <a:gd name="T29" fmla="*/ 393 h 397"/>
                  <a:gd name="T30" fmla="*/ 106 w 236"/>
                  <a:gd name="T31" fmla="*/ 397 h 397"/>
                  <a:gd name="T32" fmla="*/ 80 w 236"/>
                  <a:gd name="T33" fmla="*/ 375 h 397"/>
                  <a:gd name="T34" fmla="*/ 59 w 236"/>
                  <a:gd name="T35" fmla="*/ 343 h 397"/>
                  <a:gd name="T36" fmla="*/ 108 w 236"/>
                  <a:gd name="T37" fmla="*/ 25 h 397"/>
                  <a:gd name="T38" fmla="*/ 127 w 236"/>
                  <a:gd name="T39" fmla="*/ 25 h 397"/>
                  <a:gd name="T40" fmla="*/ 136 w 236"/>
                  <a:gd name="T41" fmla="*/ 34 h 397"/>
                  <a:gd name="T42" fmla="*/ 127 w 236"/>
                  <a:gd name="T43" fmla="*/ 43 h 397"/>
                  <a:gd name="T44" fmla="*/ 108 w 236"/>
                  <a:gd name="T45" fmla="*/ 43 h 397"/>
                  <a:gd name="T46" fmla="*/ 99 w 236"/>
                  <a:gd name="T47" fmla="*/ 34 h 397"/>
                  <a:gd name="T48" fmla="*/ 108 w 236"/>
                  <a:gd name="T49" fmla="*/ 25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6" h="397">
                    <a:moveTo>
                      <a:pt x="59" y="343"/>
                    </a:moveTo>
                    <a:cubicBezTo>
                      <a:pt x="61" y="335"/>
                      <a:pt x="67" y="327"/>
                      <a:pt x="76" y="320"/>
                    </a:cubicBezTo>
                    <a:cubicBezTo>
                      <a:pt x="23" y="320"/>
                      <a:pt x="23" y="320"/>
                      <a:pt x="23" y="320"/>
                    </a:cubicBezTo>
                    <a:cubicBezTo>
                      <a:pt x="23" y="62"/>
                      <a:pt x="23" y="62"/>
                      <a:pt x="23" y="62"/>
                    </a:cubicBezTo>
                    <a:cubicBezTo>
                      <a:pt x="213" y="62"/>
                      <a:pt x="213" y="62"/>
                      <a:pt x="213" y="62"/>
                    </a:cubicBezTo>
                    <a:cubicBezTo>
                      <a:pt x="213" y="249"/>
                      <a:pt x="213" y="249"/>
                      <a:pt x="213" y="249"/>
                    </a:cubicBezTo>
                    <a:cubicBezTo>
                      <a:pt x="216" y="248"/>
                      <a:pt x="218" y="248"/>
                      <a:pt x="221" y="247"/>
                    </a:cubicBezTo>
                    <a:cubicBezTo>
                      <a:pt x="224" y="246"/>
                      <a:pt x="227" y="246"/>
                      <a:pt x="230" y="246"/>
                    </a:cubicBezTo>
                    <a:cubicBezTo>
                      <a:pt x="232" y="246"/>
                      <a:pt x="234" y="246"/>
                      <a:pt x="236" y="247"/>
                    </a:cubicBezTo>
                    <a:cubicBezTo>
                      <a:pt x="236" y="37"/>
                      <a:pt x="236" y="37"/>
                      <a:pt x="236" y="37"/>
                    </a:cubicBezTo>
                    <a:cubicBezTo>
                      <a:pt x="236" y="22"/>
                      <a:pt x="225" y="8"/>
                      <a:pt x="210" y="6"/>
                    </a:cubicBezTo>
                    <a:cubicBezTo>
                      <a:pt x="143" y="0"/>
                      <a:pt x="92" y="0"/>
                      <a:pt x="26" y="6"/>
                    </a:cubicBezTo>
                    <a:cubicBezTo>
                      <a:pt x="11" y="8"/>
                      <a:pt x="0" y="22"/>
                      <a:pt x="0" y="37"/>
                    </a:cubicBezTo>
                    <a:cubicBezTo>
                      <a:pt x="0" y="362"/>
                      <a:pt x="0" y="362"/>
                      <a:pt x="0" y="362"/>
                    </a:cubicBezTo>
                    <a:cubicBezTo>
                      <a:pt x="0" y="377"/>
                      <a:pt x="11" y="391"/>
                      <a:pt x="25" y="393"/>
                    </a:cubicBezTo>
                    <a:cubicBezTo>
                      <a:pt x="57" y="396"/>
                      <a:pt x="78" y="397"/>
                      <a:pt x="106" y="397"/>
                    </a:cubicBezTo>
                    <a:cubicBezTo>
                      <a:pt x="96" y="388"/>
                      <a:pt x="87" y="381"/>
                      <a:pt x="80" y="375"/>
                    </a:cubicBezTo>
                    <a:cubicBezTo>
                      <a:pt x="68" y="367"/>
                      <a:pt x="56" y="358"/>
                      <a:pt x="59" y="343"/>
                    </a:cubicBezTo>
                    <a:close/>
                    <a:moveTo>
                      <a:pt x="108" y="25"/>
                    </a:moveTo>
                    <a:cubicBezTo>
                      <a:pt x="127" y="25"/>
                      <a:pt x="127" y="25"/>
                      <a:pt x="127" y="25"/>
                    </a:cubicBezTo>
                    <a:cubicBezTo>
                      <a:pt x="132" y="25"/>
                      <a:pt x="136" y="29"/>
                      <a:pt x="136" y="34"/>
                    </a:cubicBezTo>
                    <a:cubicBezTo>
                      <a:pt x="136" y="39"/>
                      <a:pt x="132" y="43"/>
                      <a:pt x="127" y="43"/>
                    </a:cubicBezTo>
                    <a:cubicBezTo>
                      <a:pt x="108" y="43"/>
                      <a:pt x="108" y="43"/>
                      <a:pt x="108" y="43"/>
                    </a:cubicBezTo>
                    <a:cubicBezTo>
                      <a:pt x="103" y="43"/>
                      <a:pt x="99" y="39"/>
                      <a:pt x="99" y="34"/>
                    </a:cubicBezTo>
                    <a:cubicBezTo>
                      <a:pt x="99" y="29"/>
                      <a:pt x="103" y="25"/>
                      <a:pt x="108"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60" name="Freeform 35"/>
              <p:cNvSpPr>
                <a:spLocks/>
              </p:cNvSpPr>
              <p:nvPr/>
            </p:nvSpPr>
            <p:spPr bwMode="auto">
              <a:xfrm>
                <a:off x="796925" y="3235327"/>
                <a:ext cx="636589" cy="715962"/>
              </a:xfrm>
              <a:custGeom>
                <a:avLst/>
                <a:gdLst>
                  <a:gd name="T0" fmla="*/ 78 w 313"/>
                  <a:gd name="T1" fmla="*/ 3 h 352"/>
                  <a:gd name="T2" fmla="*/ 57 w 313"/>
                  <a:gd name="T3" fmla="*/ 34 h 352"/>
                  <a:gd name="T4" fmla="*/ 89 w 313"/>
                  <a:gd name="T5" fmla="*/ 199 h 352"/>
                  <a:gd name="T6" fmla="*/ 30 w 313"/>
                  <a:gd name="T7" fmla="*/ 166 h 352"/>
                  <a:gd name="T8" fmla="*/ 3 w 313"/>
                  <a:gd name="T9" fmla="*/ 187 h 352"/>
                  <a:gd name="T10" fmla="*/ 79 w 313"/>
                  <a:gd name="T11" fmla="*/ 267 h 352"/>
                  <a:gd name="T12" fmla="*/ 219 w 313"/>
                  <a:gd name="T13" fmla="*/ 340 h 352"/>
                  <a:gd name="T14" fmla="*/ 306 w 313"/>
                  <a:gd name="T15" fmla="*/ 232 h 352"/>
                  <a:gd name="T16" fmla="*/ 289 w 313"/>
                  <a:gd name="T17" fmla="*/ 144 h 352"/>
                  <a:gd name="T18" fmla="*/ 264 w 313"/>
                  <a:gd name="T19" fmla="*/ 123 h 352"/>
                  <a:gd name="T20" fmla="*/ 239 w 313"/>
                  <a:gd name="T21" fmla="*/ 143 h 352"/>
                  <a:gd name="T22" fmla="*/ 236 w 313"/>
                  <a:gd name="T23" fmla="*/ 128 h 352"/>
                  <a:gd name="T24" fmla="*/ 210 w 313"/>
                  <a:gd name="T25" fmla="*/ 106 h 352"/>
                  <a:gd name="T26" fmla="*/ 184 w 313"/>
                  <a:gd name="T27" fmla="*/ 130 h 352"/>
                  <a:gd name="T28" fmla="*/ 157 w 313"/>
                  <a:gd name="T29" fmla="*/ 103 h 352"/>
                  <a:gd name="T30" fmla="*/ 130 w 313"/>
                  <a:gd name="T31" fmla="*/ 130 h 352"/>
                  <a:gd name="T32" fmla="*/ 109 w 313"/>
                  <a:gd name="T33" fmla="*/ 24 h 352"/>
                  <a:gd name="T34" fmla="*/ 78 w 313"/>
                  <a:gd name="T35" fmla="*/ 3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3" h="352">
                    <a:moveTo>
                      <a:pt x="78" y="3"/>
                    </a:moveTo>
                    <a:cubicBezTo>
                      <a:pt x="64" y="6"/>
                      <a:pt x="55" y="19"/>
                      <a:pt x="57" y="34"/>
                    </a:cubicBezTo>
                    <a:cubicBezTo>
                      <a:pt x="89" y="199"/>
                      <a:pt x="89" y="199"/>
                      <a:pt x="89" y="199"/>
                    </a:cubicBezTo>
                    <a:cubicBezTo>
                      <a:pt x="69" y="173"/>
                      <a:pt x="44" y="163"/>
                      <a:pt x="30" y="166"/>
                    </a:cubicBezTo>
                    <a:cubicBezTo>
                      <a:pt x="14" y="169"/>
                      <a:pt x="4" y="181"/>
                      <a:pt x="3" y="187"/>
                    </a:cubicBezTo>
                    <a:cubicBezTo>
                      <a:pt x="0" y="198"/>
                      <a:pt x="39" y="208"/>
                      <a:pt x="79" y="267"/>
                    </a:cubicBezTo>
                    <a:cubicBezTo>
                      <a:pt x="124" y="333"/>
                      <a:pt x="156" y="352"/>
                      <a:pt x="219" y="340"/>
                    </a:cubicBezTo>
                    <a:cubicBezTo>
                      <a:pt x="295" y="325"/>
                      <a:pt x="313" y="266"/>
                      <a:pt x="306" y="232"/>
                    </a:cubicBezTo>
                    <a:cubicBezTo>
                      <a:pt x="289" y="144"/>
                      <a:pt x="289" y="144"/>
                      <a:pt x="289" y="144"/>
                    </a:cubicBezTo>
                    <a:cubicBezTo>
                      <a:pt x="287" y="132"/>
                      <a:pt x="276" y="123"/>
                      <a:pt x="264" y="123"/>
                    </a:cubicBezTo>
                    <a:cubicBezTo>
                      <a:pt x="253" y="123"/>
                      <a:pt x="242" y="130"/>
                      <a:pt x="239" y="143"/>
                    </a:cubicBezTo>
                    <a:cubicBezTo>
                      <a:pt x="236" y="128"/>
                      <a:pt x="236" y="128"/>
                      <a:pt x="236" y="128"/>
                    </a:cubicBezTo>
                    <a:cubicBezTo>
                      <a:pt x="234" y="115"/>
                      <a:pt x="223" y="106"/>
                      <a:pt x="210" y="106"/>
                    </a:cubicBezTo>
                    <a:cubicBezTo>
                      <a:pt x="197" y="106"/>
                      <a:pt x="185" y="116"/>
                      <a:pt x="184" y="130"/>
                    </a:cubicBezTo>
                    <a:cubicBezTo>
                      <a:pt x="180" y="113"/>
                      <a:pt x="171" y="103"/>
                      <a:pt x="157" y="103"/>
                    </a:cubicBezTo>
                    <a:cubicBezTo>
                      <a:pt x="143" y="103"/>
                      <a:pt x="131" y="113"/>
                      <a:pt x="130" y="130"/>
                    </a:cubicBezTo>
                    <a:cubicBezTo>
                      <a:pt x="109" y="24"/>
                      <a:pt x="109" y="24"/>
                      <a:pt x="109" y="24"/>
                    </a:cubicBezTo>
                    <a:cubicBezTo>
                      <a:pt x="107" y="10"/>
                      <a:pt x="93" y="0"/>
                      <a:pt x="78" y="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grpSp>
          <p:nvGrpSpPr>
            <p:cNvPr id="80" name="Group 79"/>
            <p:cNvGrpSpPr/>
            <p:nvPr userDrawn="1"/>
          </p:nvGrpSpPr>
          <p:grpSpPr>
            <a:xfrm>
              <a:off x="4886084" y="2139268"/>
              <a:ext cx="224017" cy="270019"/>
              <a:chOff x="1581943" y="3035286"/>
              <a:chExt cx="533406" cy="642937"/>
            </a:xfrm>
            <a:solidFill>
              <a:schemeClr val="accent4"/>
            </a:solidFill>
          </p:grpSpPr>
          <p:sp>
            <p:nvSpPr>
              <p:cNvPr id="81" name="Freeform 38"/>
              <p:cNvSpPr>
                <a:spLocks/>
              </p:cNvSpPr>
              <p:nvPr/>
            </p:nvSpPr>
            <p:spPr bwMode="auto">
              <a:xfrm>
                <a:off x="1862936" y="3400406"/>
                <a:ext cx="252413" cy="277813"/>
              </a:xfrm>
              <a:custGeom>
                <a:avLst/>
                <a:gdLst>
                  <a:gd name="T0" fmla="*/ 404 w 412"/>
                  <a:gd name="T1" fmla="*/ 155 h 452"/>
                  <a:gd name="T2" fmla="*/ 308 w 412"/>
                  <a:gd name="T3" fmla="*/ 10 h 452"/>
                  <a:gd name="T4" fmla="*/ 297 w 412"/>
                  <a:gd name="T5" fmla="*/ 2 h 452"/>
                  <a:gd name="T6" fmla="*/ 291 w 412"/>
                  <a:gd name="T7" fmla="*/ 0 h 452"/>
                  <a:gd name="T8" fmla="*/ 286 w 412"/>
                  <a:gd name="T9" fmla="*/ 0 h 452"/>
                  <a:gd name="T10" fmla="*/ 126 w 412"/>
                  <a:gd name="T11" fmla="*/ 0 h 452"/>
                  <a:gd name="T12" fmla="*/ 120 w 412"/>
                  <a:gd name="T13" fmla="*/ 0 h 452"/>
                  <a:gd name="T14" fmla="*/ 114 w 412"/>
                  <a:gd name="T15" fmla="*/ 2 h 452"/>
                  <a:gd name="T16" fmla="*/ 104 w 412"/>
                  <a:gd name="T17" fmla="*/ 10 h 452"/>
                  <a:gd name="T18" fmla="*/ 7 w 412"/>
                  <a:gd name="T19" fmla="*/ 155 h 452"/>
                  <a:gd name="T20" fmla="*/ 18 w 412"/>
                  <a:gd name="T21" fmla="*/ 192 h 452"/>
                  <a:gd name="T22" fmla="*/ 56 w 412"/>
                  <a:gd name="T23" fmla="*/ 188 h 452"/>
                  <a:gd name="T24" fmla="*/ 126 w 412"/>
                  <a:gd name="T25" fmla="*/ 84 h 452"/>
                  <a:gd name="T26" fmla="*/ 126 w 412"/>
                  <a:gd name="T27" fmla="*/ 94 h 452"/>
                  <a:gd name="T28" fmla="*/ 80 w 412"/>
                  <a:gd name="T29" fmla="*/ 304 h 452"/>
                  <a:gd name="T30" fmla="*/ 126 w 412"/>
                  <a:gd name="T31" fmla="*/ 304 h 452"/>
                  <a:gd name="T32" fmla="*/ 126 w 412"/>
                  <a:gd name="T33" fmla="*/ 409 h 452"/>
                  <a:gd name="T34" fmla="*/ 160 w 412"/>
                  <a:gd name="T35" fmla="*/ 452 h 452"/>
                  <a:gd name="T36" fmla="*/ 194 w 412"/>
                  <a:gd name="T37" fmla="*/ 409 h 452"/>
                  <a:gd name="T38" fmla="*/ 194 w 412"/>
                  <a:gd name="T39" fmla="*/ 304 h 452"/>
                  <a:gd name="T40" fmla="*/ 218 w 412"/>
                  <a:gd name="T41" fmla="*/ 304 h 452"/>
                  <a:gd name="T42" fmla="*/ 218 w 412"/>
                  <a:gd name="T43" fmla="*/ 409 h 452"/>
                  <a:gd name="T44" fmla="*/ 252 w 412"/>
                  <a:gd name="T45" fmla="*/ 452 h 452"/>
                  <a:gd name="T46" fmla="*/ 286 w 412"/>
                  <a:gd name="T47" fmla="*/ 409 h 452"/>
                  <a:gd name="T48" fmla="*/ 286 w 412"/>
                  <a:gd name="T49" fmla="*/ 304 h 452"/>
                  <a:gd name="T50" fmla="*/ 331 w 412"/>
                  <a:gd name="T51" fmla="*/ 304 h 452"/>
                  <a:gd name="T52" fmla="*/ 286 w 412"/>
                  <a:gd name="T53" fmla="*/ 94 h 452"/>
                  <a:gd name="T54" fmla="*/ 286 w 412"/>
                  <a:gd name="T55" fmla="*/ 84 h 452"/>
                  <a:gd name="T56" fmla="*/ 355 w 412"/>
                  <a:gd name="T57" fmla="*/ 188 h 452"/>
                  <a:gd name="T58" fmla="*/ 393 w 412"/>
                  <a:gd name="T59" fmla="*/ 192 h 452"/>
                  <a:gd name="T60" fmla="*/ 404 w 412"/>
                  <a:gd name="T61" fmla="*/ 155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2" h="452">
                    <a:moveTo>
                      <a:pt x="404" y="155"/>
                    </a:moveTo>
                    <a:cubicBezTo>
                      <a:pt x="308" y="10"/>
                      <a:pt x="308" y="10"/>
                      <a:pt x="308" y="10"/>
                    </a:cubicBezTo>
                    <a:cubicBezTo>
                      <a:pt x="305" y="6"/>
                      <a:pt x="302" y="3"/>
                      <a:pt x="297" y="2"/>
                    </a:cubicBezTo>
                    <a:cubicBezTo>
                      <a:pt x="296" y="1"/>
                      <a:pt x="294" y="0"/>
                      <a:pt x="291" y="0"/>
                    </a:cubicBezTo>
                    <a:cubicBezTo>
                      <a:pt x="286" y="0"/>
                      <a:pt x="286" y="0"/>
                      <a:pt x="286" y="0"/>
                    </a:cubicBezTo>
                    <a:cubicBezTo>
                      <a:pt x="126" y="0"/>
                      <a:pt x="126" y="0"/>
                      <a:pt x="126" y="0"/>
                    </a:cubicBezTo>
                    <a:cubicBezTo>
                      <a:pt x="120" y="0"/>
                      <a:pt x="120" y="0"/>
                      <a:pt x="120" y="0"/>
                    </a:cubicBezTo>
                    <a:cubicBezTo>
                      <a:pt x="118" y="0"/>
                      <a:pt x="116" y="1"/>
                      <a:pt x="114" y="2"/>
                    </a:cubicBezTo>
                    <a:cubicBezTo>
                      <a:pt x="110" y="3"/>
                      <a:pt x="106" y="6"/>
                      <a:pt x="104" y="10"/>
                    </a:cubicBezTo>
                    <a:cubicBezTo>
                      <a:pt x="7" y="155"/>
                      <a:pt x="7" y="155"/>
                      <a:pt x="7" y="155"/>
                    </a:cubicBezTo>
                    <a:cubicBezTo>
                      <a:pt x="0" y="166"/>
                      <a:pt x="5" y="183"/>
                      <a:pt x="18" y="192"/>
                    </a:cubicBezTo>
                    <a:cubicBezTo>
                      <a:pt x="32" y="201"/>
                      <a:pt x="49" y="199"/>
                      <a:pt x="56" y="188"/>
                    </a:cubicBezTo>
                    <a:cubicBezTo>
                      <a:pt x="126" y="84"/>
                      <a:pt x="126" y="84"/>
                      <a:pt x="126" y="84"/>
                    </a:cubicBezTo>
                    <a:cubicBezTo>
                      <a:pt x="126" y="94"/>
                      <a:pt x="126" y="94"/>
                      <a:pt x="126" y="94"/>
                    </a:cubicBezTo>
                    <a:cubicBezTo>
                      <a:pt x="80" y="304"/>
                      <a:pt x="80" y="304"/>
                      <a:pt x="80" y="304"/>
                    </a:cubicBezTo>
                    <a:cubicBezTo>
                      <a:pt x="126" y="304"/>
                      <a:pt x="126" y="304"/>
                      <a:pt x="126" y="304"/>
                    </a:cubicBezTo>
                    <a:cubicBezTo>
                      <a:pt x="126" y="409"/>
                      <a:pt x="126" y="409"/>
                      <a:pt x="126" y="409"/>
                    </a:cubicBezTo>
                    <a:cubicBezTo>
                      <a:pt x="126" y="433"/>
                      <a:pt x="141" y="452"/>
                      <a:pt x="160" y="452"/>
                    </a:cubicBezTo>
                    <a:cubicBezTo>
                      <a:pt x="178" y="452"/>
                      <a:pt x="194" y="433"/>
                      <a:pt x="194" y="409"/>
                    </a:cubicBezTo>
                    <a:cubicBezTo>
                      <a:pt x="194" y="304"/>
                      <a:pt x="194" y="304"/>
                      <a:pt x="194" y="304"/>
                    </a:cubicBezTo>
                    <a:cubicBezTo>
                      <a:pt x="218" y="304"/>
                      <a:pt x="218" y="304"/>
                      <a:pt x="218" y="304"/>
                    </a:cubicBezTo>
                    <a:cubicBezTo>
                      <a:pt x="218" y="409"/>
                      <a:pt x="218" y="409"/>
                      <a:pt x="218" y="409"/>
                    </a:cubicBezTo>
                    <a:cubicBezTo>
                      <a:pt x="218" y="433"/>
                      <a:pt x="233" y="452"/>
                      <a:pt x="252" y="452"/>
                    </a:cubicBezTo>
                    <a:cubicBezTo>
                      <a:pt x="271" y="452"/>
                      <a:pt x="286" y="433"/>
                      <a:pt x="286" y="409"/>
                    </a:cubicBezTo>
                    <a:cubicBezTo>
                      <a:pt x="286" y="304"/>
                      <a:pt x="286" y="304"/>
                      <a:pt x="286" y="304"/>
                    </a:cubicBezTo>
                    <a:cubicBezTo>
                      <a:pt x="331" y="304"/>
                      <a:pt x="331" y="304"/>
                      <a:pt x="331" y="304"/>
                    </a:cubicBezTo>
                    <a:cubicBezTo>
                      <a:pt x="286" y="94"/>
                      <a:pt x="286" y="94"/>
                      <a:pt x="286" y="94"/>
                    </a:cubicBezTo>
                    <a:cubicBezTo>
                      <a:pt x="286" y="84"/>
                      <a:pt x="286" y="84"/>
                      <a:pt x="286" y="84"/>
                    </a:cubicBezTo>
                    <a:cubicBezTo>
                      <a:pt x="355" y="188"/>
                      <a:pt x="355" y="188"/>
                      <a:pt x="355" y="188"/>
                    </a:cubicBezTo>
                    <a:cubicBezTo>
                      <a:pt x="363" y="199"/>
                      <a:pt x="380" y="201"/>
                      <a:pt x="393" y="192"/>
                    </a:cubicBezTo>
                    <a:cubicBezTo>
                      <a:pt x="407" y="183"/>
                      <a:pt x="412" y="166"/>
                      <a:pt x="404" y="15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82" name="Oval 39"/>
              <p:cNvSpPr>
                <a:spLocks noChangeArrowheads="1"/>
              </p:cNvSpPr>
              <p:nvPr/>
            </p:nvSpPr>
            <p:spPr bwMode="auto">
              <a:xfrm>
                <a:off x="1951834" y="3314682"/>
                <a:ext cx="73026" cy="74614"/>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83" name="Oval 40"/>
              <p:cNvSpPr>
                <a:spLocks noChangeArrowheads="1"/>
              </p:cNvSpPr>
              <p:nvPr/>
            </p:nvSpPr>
            <p:spPr bwMode="auto">
              <a:xfrm>
                <a:off x="1637508" y="3035286"/>
                <a:ext cx="109537" cy="109537"/>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84" name="Freeform 41"/>
              <p:cNvSpPr>
                <a:spLocks/>
              </p:cNvSpPr>
              <p:nvPr/>
            </p:nvSpPr>
            <p:spPr bwMode="auto">
              <a:xfrm>
                <a:off x="1581943" y="3159109"/>
                <a:ext cx="219075" cy="519112"/>
              </a:xfrm>
              <a:custGeom>
                <a:avLst/>
                <a:gdLst>
                  <a:gd name="T0" fmla="*/ 247 w 357"/>
                  <a:gd name="T1" fmla="*/ 410 h 847"/>
                  <a:gd name="T2" fmla="*/ 228 w 357"/>
                  <a:gd name="T3" fmla="*/ 413 h 847"/>
                  <a:gd name="T4" fmla="*/ 212 w 357"/>
                  <a:gd name="T5" fmla="*/ 411 h 847"/>
                  <a:gd name="T6" fmla="*/ 171 w 357"/>
                  <a:gd name="T7" fmla="*/ 337 h 847"/>
                  <a:gd name="T8" fmla="*/ 248 w 357"/>
                  <a:gd name="T9" fmla="*/ 68 h 847"/>
                  <a:gd name="T10" fmla="*/ 290 w 357"/>
                  <a:gd name="T11" fmla="*/ 26 h 847"/>
                  <a:gd name="T12" fmla="*/ 304 w 357"/>
                  <a:gd name="T13" fmla="*/ 24 h 847"/>
                  <a:gd name="T14" fmla="*/ 357 w 357"/>
                  <a:gd name="T15" fmla="*/ 24 h 847"/>
                  <a:gd name="T16" fmla="*/ 324 w 357"/>
                  <a:gd name="T17" fmla="*/ 0 h 847"/>
                  <a:gd name="T18" fmla="*/ 322 w 357"/>
                  <a:gd name="T19" fmla="*/ 0 h 847"/>
                  <a:gd name="T20" fmla="*/ 321 w 357"/>
                  <a:gd name="T21" fmla="*/ 0 h 847"/>
                  <a:gd name="T22" fmla="*/ 275 w 357"/>
                  <a:gd name="T23" fmla="*/ 0 h 847"/>
                  <a:gd name="T24" fmla="*/ 86 w 357"/>
                  <a:gd name="T25" fmla="*/ 0 h 847"/>
                  <a:gd name="T26" fmla="*/ 40 w 357"/>
                  <a:gd name="T27" fmla="*/ 0 h 847"/>
                  <a:gd name="T28" fmla="*/ 39 w 357"/>
                  <a:gd name="T29" fmla="*/ 0 h 847"/>
                  <a:gd name="T30" fmla="*/ 38 w 357"/>
                  <a:gd name="T31" fmla="*/ 0 h 847"/>
                  <a:gd name="T32" fmla="*/ 0 w 357"/>
                  <a:gd name="T33" fmla="*/ 44 h 847"/>
                  <a:gd name="T34" fmla="*/ 0 w 357"/>
                  <a:gd name="T35" fmla="*/ 358 h 847"/>
                  <a:gd name="T36" fmla="*/ 38 w 357"/>
                  <a:gd name="T37" fmla="*/ 402 h 847"/>
                  <a:gd name="T38" fmla="*/ 76 w 357"/>
                  <a:gd name="T39" fmla="*/ 358 h 847"/>
                  <a:gd name="T40" fmla="*/ 76 w 357"/>
                  <a:gd name="T41" fmla="*/ 90 h 847"/>
                  <a:gd name="T42" fmla="*/ 86 w 357"/>
                  <a:gd name="T43" fmla="*/ 90 h 847"/>
                  <a:gd name="T44" fmla="*/ 86 w 357"/>
                  <a:gd name="T45" fmla="*/ 439 h 847"/>
                  <a:gd name="T46" fmla="*/ 86 w 357"/>
                  <a:gd name="T47" fmla="*/ 796 h 847"/>
                  <a:gd name="T48" fmla="*/ 130 w 357"/>
                  <a:gd name="T49" fmla="*/ 847 h 847"/>
                  <a:gd name="T50" fmla="*/ 173 w 357"/>
                  <a:gd name="T51" fmla="*/ 796 h 847"/>
                  <a:gd name="T52" fmla="*/ 173 w 357"/>
                  <a:gd name="T53" fmla="*/ 439 h 847"/>
                  <a:gd name="T54" fmla="*/ 188 w 357"/>
                  <a:gd name="T55" fmla="*/ 439 h 847"/>
                  <a:gd name="T56" fmla="*/ 188 w 357"/>
                  <a:gd name="T57" fmla="*/ 796 h 847"/>
                  <a:gd name="T58" fmla="*/ 232 w 357"/>
                  <a:gd name="T59" fmla="*/ 847 h 847"/>
                  <a:gd name="T60" fmla="*/ 275 w 357"/>
                  <a:gd name="T61" fmla="*/ 796 h 847"/>
                  <a:gd name="T62" fmla="*/ 275 w 357"/>
                  <a:gd name="T63" fmla="*/ 588 h 847"/>
                  <a:gd name="T64" fmla="*/ 198 w 357"/>
                  <a:gd name="T65" fmla="*/ 588 h 847"/>
                  <a:gd name="T66" fmla="*/ 247 w 357"/>
                  <a:gd name="T67" fmla="*/ 410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7" h="847">
                    <a:moveTo>
                      <a:pt x="247" y="410"/>
                    </a:moveTo>
                    <a:cubicBezTo>
                      <a:pt x="241" y="412"/>
                      <a:pt x="235" y="413"/>
                      <a:pt x="228" y="413"/>
                    </a:cubicBezTo>
                    <a:cubicBezTo>
                      <a:pt x="223" y="413"/>
                      <a:pt x="217" y="413"/>
                      <a:pt x="212" y="411"/>
                    </a:cubicBezTo>
                    <a:cubicBezTo>
                      <a:pt x="180" y="402"/>
                      <a:pt x="162" y="369"/>
                      <a:pt x="171" y="337"/>
                    </a:cubicBezTo>
                    <a:cubicBezTo>
                      <a:pt x="248" y="68"/>
                      <a:pt x="248" y="68"/>
                      <a:pt x="248" y="68"/>
                    </a:cubicBezTo>
                    <a:cubicBezTo>
                      <a:pt x="253" y="48"/>
                      <a:pt x="269" y="32"/>
                      <a:pt x="290" y="26"/>
                    </a:cubicBezTo>
                    <a:cubicBezTo>
                      <a:pt x="294" y="25"/>
                      <a:pt x="299" y="24"/>
                      <a:pt x="304" y="24"/>
                    </a:cubicBezTo>
                    <a:cubicBezTo>
                      <a:pt x="357" y="24"/>
                      <a:pt x="357" y="24"/>
                      <a:pt x="357" y="24"/>
                    </a:cubicBezTo>
                    <a:cubicBezTo>
                      <a:pt x="351" y="10"/>
                      <a:pt x="338" y="0"/>
                      <a:pt x="324" y="0"/>
                    </a:cubicBezTo>
                    <a:cubicBezTo>
                      <a:pt x="323" y="0"/>
                      <a:pt x="323" y="0"/>
                      <a:pt x="322" y="0"/>
                    </a:cubicBezTo>
                    <a:cubicBezTo>
                      <a:pt x="322" y="0"/>
                      <a:pt x="321" y="0"/>
                      <a:pt x="321" y="0"/>
                    </a:cubicBezTo>
                    <a:cubicBezTo>
                      <a:pt x="275" y="0"/>
                      <a:pt x="275" y="0"/>
                      <a:pt x="275" y="0"/>
                    </a:cubicBezTo>
                    <a:cubicBezTo>
                      <a:pt x="86" y="0"/>
                      <a:pt x="86" y="0"/>
                      <a:pt x="86" y="0"/>
                    </a:cubicBezTo>
                    <a:cubicBezTo>
                      <a:pt x="40" y="0"/>
                      <a:pt x="40" y="0"/>
                      <a:pt x="40" y="0"/>
                    </a:cubicBezTo>
                    <a:cubicBezTo>
                      <a:pt x="40" y="0"/>
                      <a:pt x="39" y="0"/>
                      <a:pt x="39" y="0"/>
                    </a:cubicBezTo>
                    <a:cubicBezTo>
                      <a:pt x="39" y="0"/>
                      <a:pt x="38" y="0"/>
                      <a:pt x="38" y="0"/>
                    </a:cubicBezTo>
                    <a:cubicBezTo>
                      <a:pt x="17" y="0"/>
                      <a:pt x="0" y="20"/>
                      <a:pt x="0" y="44"/>
                    </a:cubicBezTo>
                    <a:cubicBezTo>
                      <a:pt x="0" y="358"/>
                      <a:pt x="0" y="358"/>
                      <a:pt x="0" y="358"/>
                    </a:cubicBezTo>
                    <a:cubicBezTo>
                      <a:pt x="0" y="382"/>
                      <a:pt x="17" y="402"/>
                      <a:pt x="38" y="402"/>
                    </a:cubicBezTo>
                    <a:cubicBezTo>
                      <a:pt x="59" y="402"/>
                      <a:pt x="76" y="382"/>
                      <a:pt x="76" y="358"/>
                    </a:cubicBezTo>
                    <a:cubicBezTo>
                      <a:pt x="76" y="90"/>
                      <a:pt x="76" y="90"/>
                      <a:pt x="76" y="90"/>
                    </a:cubicBezTo>
                    <a:cubicBezTo>
                      <a:pt x="86" y="90"/>
                      <a:pt x="86" y="90"/>
                      <a:pt x="86" y="90"/>
                    </a:cubicBezTo>
                    <a:cubicBezTo>
                      <a:pt x="86" y="439"/>
                      <a:pt x="86" y="439"/>
                      <a:pt x="86" y="439"/>
                    </a:cubicBezTo>
                    <a:cubicBezTo>
                      <a:pt x="86" y="796"/>
                      <a:pt x="86" y="796"/>
                      <a:pt x="86" y="796"/>
                    </a:cubicBezTo>
                    <a:cubicBezTo>
                      <a:pt x="86" y="824"/>
                      <a:pt x="106" y="847"/>
                      <a:pt x="130" y="847"/>
                    </a:cubicBezTo>
                    <a:cubicBezTo>
                      <a:pt x="154" y="847"/>
                      <a:pt x="173" y="824"/>
                      <a:pt x="173" y="796"/>
                    </a:cubicBezTo>
                    <a:cubicBezTo>
                      <a:pt x="173" y="439"/>
                      <a:pt x="173" y="439"/>
                      <a:pt x="173" y="439"/>
                    </a:cubicBezTo>
                    <a:cubicBezTo>
                      <a:pt x="188" y="439"/>
                      <a:pt x="188" y="439"/>
                      <a:pt x="188" y="439"/>
                    </a:cubicBezTo>
                    <a:cubicBezTo>
                      <a:pt x="188" y="796"/>
                      <a:pt x="188" y="796"/>
                      <a:pt x="188" y="796"/>
                    </a:cubicBezTo>
                    <a:cubicBezTo>
                      <a:pt x="188" y="824"/>
                      <a:pt x="208" y="847"/>
                      <a:pt x="232" y="847"/>
                    </a:cubicBezTo>
                    <a:cubicBezTo>
                      <a:pt x="256" y="847"/>
                      <a:pt x="275" y="824"/>
                      <a:pt x="275" y="796"/>
                    </a:cubicBezTo>
                    <a:cubicBezTo>
                      <a:pt x="275" y="588"/>
                      <a:pt x="275" y="588"/>
                      <a:pt x="275" y="588"/>
                    </a:cubicBezTo>
                    <a:cubicBezTo>
                      <a:pt x="198" y="588"/>
                      <a:pt x="198" y="588"/>
                      <a:pt x="198" y="588"/>
                    </a:cubicBezTo>
                    <a:lnTo>
                      <a:pt x="247" y="41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85" name="Freeform 42"/>
              <p:cNvSpPr>
                <a:spLocks/>
              </p:cNvSpPr>
              <p:nvPr/>
            </p:nvSpPr>
            <p:spPr bwMode="auto">
              <a:xfrm>
                <a:off x="1694657" y="3186099"/>
                <a:ext cx="287338" cy="492122"/>
              </a:xfrm>
              <a:custGeom>
                <a:avLst/>
                <a:gdLst>
                  <a:gd name="T0" fmla="*/ 263 w 467"/>
                  <a:gd name="T1" fmla="*/ 493 h 802"/>
                  <a:gd name="T2" fmla="*/ 360 w 467"/>
                  <a:gd name="T3" fmla="*/ 348 h 802"/>
                  <a:gd name="T4" fmla="*/ 378 w 467"/>
                  <a:gd name="T5" fmla="*/ 333 h 802"/>
                  <a:gd name="T6" fmla="*/ 393 w 467"/>
                  <a:gd name="T7" fmla="*/ 330 h 802"/>
                  <a:gd name="T8" fmla="*/ 410 w 467"/>
                  <a:gd name="T9" fmla="*/ 330 h 802"/>
                  <a:gd name="T10" fmla="*/ 346 w 467"/>
                  <a:gd name="T11" fmla="*/ 100 h 802"/>
                  <a:gd name="T12" fmla="*/ 346 w 467"/>
                  <a:gd name="T13" fmla="*/ 85 h 802"/>
                  <a:gd name="T14" fmla="*/ 356 w 467"/>
                  <a:gd name="T15" fmla="*/ 85 h 802"/>
                  <a:gd name="T16" fmla="*/ 401 w 467"/>
                  <a:gd name="T17" fmla="*/ 244 h 802"/>
                  <a:gd name="T18" fmla="*/ 467 w 467"/>
                  <a:gd name="T19" fmla="*/ 189 h 802"/>
                  <a:gd name="T20" fmla="*/ 421 w 467"/>
                  <a:gd name="T21" fmla="*/ 29 h 802"/>
                  <a:gd name="T22" fmla="*/ 394 w 467"/>
                  <a:gd name="T23" fmla="*/ 1 h 802"/>
                  <a:gd name="T24" fmla="*/ 385 w 467"/>
                  <a:gd name="T25" fmla="*/ 0 h 802"/>
                  <a:gd name="T26" fmla="*/ 346 w 467"/>
                  <a:gd name="T27" fmla="*/ 0 h 802"/>
                  <a:gd name="T28" fmla="*/ 157 w 467"/>
                  <a:gd name="T29" fmla="*/ 0 h 802"/>
                  <a:gd name="T30" fmla="*/ 119 w 467"/>
                  <a:gd name="T31" fmla="*/ 0 h 802"/>
                  <a:gd name="T32" fmla="*/ 110 w 467"/>
                  <a:gd name="T33" fmla="*/ 1 h 802"/>
                  <a:gd name="T34" fmla="*/ 82 w 467"/>
                  <a:gd name="T35" fmla="*/ 29 h 802"/>
                  <a:gd name="T36" fmla="*/ 6 w 467"/>
                  <a:gd name="T37" fmla="*/ 298 h 802"/>
                  <a:gd name="T38" fmla="*/ 33 w 467"/>
                  <a:gd name="T39" fmla="*/ 346 h 802"/>
                  <a:gd name="T40" fmla="*/ 81 w 467"/>
                  <a:gd name="T41" fmla="*/ 319 h 802"/>
                  <a:gd name="T42" fmla="*/ 148 w 467"/>
                  <a:gd name="T43" fmla="*/ 85 h 802"/>
                  <a:gd name="T44" fmla="*/ 157 w 467"/>
                  <a:gd name="T45" fmla="*/ 85 h 802"/>
                  <a:gd name="T46" fmla="*/ 157 w 467"/>
                  <a:gd name="T47" fmla="*/ 100 h 802"/>
                  <a:gd name="T48" fmla="*/ 40 w 467"/>
                  <a:gd name="T49" fmla="*/ 522 h 802"/>
                  <a:gd name="T50" fmla="*/ 157 w 467"/>
                  <a:gd name="T51" fmla="*/ 522 h 802"/>
                  <a:gd name="T52" fmla="*/ 157 w 467"/>
                  <a:gd name="T53" fmla="*/ 751 h 802"/>
                  <a:gd name="T54" fmla="*/ 201 w 467"/>
                  <a:gd name="T55" fmla="*/ 802 h 802"/>
                  <a:gd name="T56" fmla="*/ 244 w 467"/>
                  <a:gd name="T57" fmla="*/ 751 h 802"/>
                  <a:gd name="T58" fmla="*/ 244 w 467"/>
                  <a:gd name="T59" fmla="*/ 522 h 802"/>
                  <a:gd name="T60" fmla="*/ 256 w 467"/>
                  <a:gd name="T61" fmla="*/ 522 h 802"/>
                  <a:gd name="T62" fmla="*/ 263 w 467"/>
                  <a:gd name="T63" fmla="*/ 49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7" h="802">
                    <a:moveTo>
                      <a:pt x="263" y="493"/>
                    </a:moveTo>
                    <a:cubicBezTo>
                      <a:pt x="360" y="348"/>
                      <a:pt x="360" y="348"/>
                      <a:pt x="360" y="348"/>
                    </a:cubicBezTo>
                    <a:cubicBezTo>
                      <a:pt x="364" y="342"/>
                      <a:pt x="371" y="336"/>
                      <a:pt x="378" y="333"/>
                    </a:cubicBezTo>
                    <a:cubicBezTo>
                      <a:pt x="383" y="331"/>
                      <a:pt x="388" y="330"/>
                      <a:pt x="393" y="330"/>
                    </a:cubicBezTo>
                    <a:cubicBezTo>
                      <a:pt x="410" y="330"/>
                      <a:pt x="410" y="330"/>
                      <a:pt x="410" y="330"/>
                    </a:cubicBezTo>
                    <a:cubicBezTo>
                      <a:pt x="346" y="100"/>
                      <a:pt x="346" y="100"/>
                      <a:pt x="346" y="100"/>
                    </a:cubicBezTo>
                    <a:cubicBezTo>
                      <a:pt x="346" y="85"/>
                      <a:pt x="346" y="85"/>
                      <a:pt x="346" y="85"/>
                    </a:cubicBezTo>
                    <a:cubicBezTo>
                      <a:pt x="356" y="85"/>
                      <a:pt x="356" y="85"/>
                      <a:pt x="356" y="85"/>
                    </a:cubicBezTo>
                    <a:cubicBezTo>
                      <a:pt x="401" y="244"/>
                      <a:pt x="401" y="244"/>
                      <a:pt x="401" y="244"/>
                    </a:cubicBezTo>
                    <a:cubicBezTo>
                      <a:pt x="411" y="215"/>
                      <a:pt x="436" y="193"/>
                      <a:pt x="467" y="189"/>
                    </a:cubicBezTo>
                    <a:cubicBezTo>
                      <a:pt x="421" y="29"/>
                      <a:pt x="421" y="29"/>
                      <a:pt x="421" y="29"/>
                    </a:cubicBezTo>
                    <a:cubicBezTo>
                      <a:pt x="417" y="15"/>
                      <a:pt x="406" y="5"/>
                      <a:pt x="394" y="1"/>
                    </a:cubicBezTo>
                    <a:cubicBezTo>
                      <a:pt x="391" y="0"/>
                      <a:pt x="388" y="0"/>
                      <a:pt x="385" y="0"/>
                    </a:cubicBezTo>
                    <a:cubicBezTo>
                      <a:pt x="346" y="0"/>
                      <a:pt x="346" y="0"/>
                      <a:pt x="346" y="0"/>
                    </a:cubicBezTo>
                    <a:cubicBezTo>
                      <a:pt x="157" y="0"/>
                      <a:pt x="157" y="0"/>
                      <a:pt x="157" y="0"/>
                    </a:cubicBezTo>
                    <a:cubicBezTo>
                      <a:pt x="119" y="0"/>
                      <a:pt x="119" y="0"/>
                      <a:pt x="119" y="0"/>
                    </a:cubicBezTo>
                    <a:cubicBezTo>
                      <a:pt x="116" y="0"/>
                      <a:pt x="113" y="0"/>
                      <a:pt x="110" y="1"/>
                    </a:cubicBezTo>
                    <a:cubicBezTo>
                      <a:pt x="97" y="5"/>
                      <a:pt x="86" y="15"/>
                      <a:pt x="82" y="29"/>
                    </a:cubicBezTo>
                    <a:cubicBezTo>
                      <a:pt x="6" y="298"/>
                      <a:pt x="6" y="298"/>
                      <a:pt x="6" y="298"/>
                    </a:cubicBezTo>
                    <a:cubicBezTo>
                      <a:pt x="0" y="318"/>
                      <a:pt x="12" y="340"/>
                      <a:pt x="33" y="346"/>
                    </a:cubicBezTo>
                    <a:cubicBezTo>
                      <a:pt x="53" y="352"/>
                      <a:pt x="75" y="340"/>
                      <a:pt x="81" y="319"/>
                    </a:cubicBezTo>
                    <a:cubicBezTo>
                      <a:pt x="148" y="85"/>
                      <a:pt x="148" y="85"/>
                      <a:pt x="148" y="85"/>
                    </a:cubicBezTo>
                    <a:cubicBezTo>
                      <a:pt x="157" y="85"/>
                      <a:pt x="157" y="85"/>
                      <a:pt x="157" y="85"/>
                    </a:cubicBezTo>
                    <a:cubicBezTo>
                      <a:pt x="157" y="100"/>
                      <a:pt x="157" y="100"/>
                      <a:pt x="157" y="100"/>
                    </a:cubicBezTo>
                    <a:cubicBezTo>
                      <a:pt x="40" y="522"/>
                      <a:pt x="40" y="522"/>
                      <a:pt x="40" y="522"/>
                    </a:cubicBezTo>
                    <a:cubicBezTo>
                      <a:pt x="157" y="522"/>
                      <a:pt x="157" y="522"/>
                      <a:pt x="157" y="522"/>
                    </a:cubicBezTo>
                    <a:cubicBezTo>
                      <a:pt x="157" y="751"/>
                      <a:pt x="157" y="751"/>
                      <a:pt x="157" y="751"/>
                    </a:cubicBezTo>
                    <a:cubicBezTo>
                      <a:pt x="157" y="779"/>
                      <a:pt x="177" y="802"/>
                      <a:pt x="201" y="802"/>
                    </a:cubicBezTo>
                    <a:cubicBezTo>
                      <a:pt x="224" y="802"/>
                      <a:pt x="244" y="779"/>
                      <a:pt x="244" y="751"/>
                    </a:cubicBezTo>
                    <a:cubicBezTo>
                      <a:pt x="244" y="522"/>
                      <a:pt x="244" y="522"/>
                      <a:pt x="244" y="522"/>
                    </a:cubicBezTo>
                    <a:cubicBezTo>
                      <a:pt x="256" y="522"/>
                      <a:pt x="256" y="522"/>
                      <a:pt x="256" y="522"/>
                    </a:cubicBezTo>
                    <a:cubicBezTo>
                      <a:pt x="255" y="512"/>
                      <a:pt x="257" y="502"/>
                      <a:pt x="263" y="49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86" name="Freeform 43"/>
              <p:cNvSpPr>
                <a:spLocks/>
              </p:cNvSpPr>
              <p:nvPr/>
            </p:nvSpPr>
            <p:spPr bwMode="auto">
              <a:xfrm>
                <a:off x="1854988" y="3514712"/>
                <a:ext cx="52389" cy="163511"/>
              </a:xfrm>
              <a:custGeom>
                <a:avLst/>
                <a:gdLst>
                  <a:gd name="T0" fmla="*/ 50 w 86"/>
                  <a:gd name="T1" fmla="*/ 32 h 266"/>
                  <a:gd name="T2" fmla="*/ 20 w 86"/>
                  <a:gd name="T3" fmla="*/ 23 h 266"/>
                  <a:gd name="T4" fmla="*/ 0 w 86"/>
                  <a:gd name="T5" fmla="*/ 0 h 266"/>
                  <a:gd name="T6" fmla="*/ 0 w 86"/>
                  <a:gd name="T7" fmla="*/ 215 h 266"/>
                  <a:gd name="T8" fmla="*/ 43 w 86"/>
                  <a:gd name="T9" fmla="*/ 266 h 266"/>
                  <a:gd name="T10" fmla="*/ 86 w 86"/>
                  <a:gd name="T11" fmla="*/ 215 h 266"/>
                  <a:gd name="T12" fmla="*/ 86 w 86"/>
                  <a:gd name="T13" fmla="*/ 139 h 266"/>
                  <a:gd name="T14" fmla="*/ 67 w 86"/>
                  <a:gd name="T15" fmla="*/ 139 h 266"/>
                  <a:gd name="T16" fmla="*/ 86 w 86"/>
                  <a:gd name="T17" fmla="*/ 50 h 266"/>
                  <a:gd name="T18" fmla="*/ 86 w 86"/>
                  <a:gd name="T19" fmla="*/ 13 h 266"/>
                  <a:gd name="T20" fmla="*/ 50 w 86"/>
                  <a:gd name="T21" fmla="*/ 32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266">
                    <a:moveTo>
                      <a:pt x="50" y="32"/>
                    </a:moveTo>
                    <a:cubicBezTo>
                      <a:pt x="39" y="32"/>
                      <a:pt x="29" y="29"/>
                      <a:pt x="20" y="23"/>
                    </a:cubicBezTo>
                    <a:cubicBezTo>
                      <a:pt x="11" y="17"/>
                      <a:pt x="4" y="9"/>
                      <a:pt x="0" y="0"/>
                    </a:cubicBezTo>
                    <a:cubicBezTo>
                      <a:pt x="0" y="215"/>
                      <a:pt x="0" y="215"/>
                      <a:pt x="0" y="215"/>
                    </a:cubicBezTo>
                    <a:cubicBezTo>
                      <a:pt x="0" y="243"/>
                      <a:pt x="20" y="266"/>
                      <a:pt x="43" y="266"/>
                    </a:cubicBezTo>
                    <a:cubicBezTo>
                      <a:pt x="67" y="266"/>
                      <a:pt x="86" y="243"/>
                      <a:pt x="86" y="215"/>
                    </a:cubicBezTo>
                    <a:cubicBezTo>
                      <a:pt x="86" y="139"/>
                      <a:pt x="86" y="139"/>
                      <a:pt x="86" y="139"/>
                    </a:cubicBezTo>
                    <a:cubicBezTo>
                      <a:pt x="67" y="139"/>
                      <a:pt x="67" y="139"/>
                      <a:pt x="67" y="139"/>
                    </a:cubicBezTo>
                    <a:cubicBezTo>
                      <a:pt x="86" y="50"/>
                      <a:pt x="86" y="50"/>
                      <a:pt x="86" y="50"/>
                    </a:cubicBezTo>
                    <a:cubicBezTo>
                      <a:pt x="86" y="13"/>
                      <a:pt x="86" y="13"/>
                      <a:pt x="86" y="13"/>
                    </a:cubicBezTo>
                    <a:cubicBezTo>
                      <a:pt x="79" y="25"/>
                      <a:pt x="65" y="32"/>
                      <a:pt x="50" y="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87" name="Oval 44"/>
              <p:cNvSpPr>
                <a:spLocks noChangeArrowheads="1"/>
              </p:cNvSpPr>
              <p:nvPr/>
            </p:nvSpPr>
            <p:spPr bwMode="auto">
              <a:xfrm>
                <a:off x="1794668" y="3060699"/>
                <a:ext cx="109537" cy="109537"/>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2400" dirty="0"/>
              </a:p>
            </p:txBody>
          </p:sp>
        </p:grpSp>
        <p:sp>
          <p:nvSpPr>
            <p:cNvPr id="77" name="Freeform 6"/>
            <p:cNvSpPr>
              <a:spLocks noEditPoints="1"/>
            </p:cNvSpPr>
            <p:nvPr userDrawn="1"/>
          </p:nvSpPr>
          <p:spPr bwMode="auto">
            <a:xfrm>
              <a:off x="4795076" y="2042524"/>
              <a:ext cx="353226" cy="443453"/>
            </a:xfrm>
            <a:custGeom>
              <a:avLst/>
              <a:gdLst>
                <a:gd name="T0" fmla="*/ 318 w 817"/>
                <a:gd name="T1" fmla="*/ 192 h 1026"/>
                <a:gd name="T2" fmla="*/ 264 w 817"/>
                <a:gd name="T3" fmla="*/ 125 h 1026"/>
                <a:gd name="T4" fmla="*/ 313 w 817"/>
                <a:gd name="T5" fmla="*/ 79 h 1026"/>
                <a:gd name="T6" fmla="*/ 519 w 817"/>
                <a:gd name="T7" fmla="*/ 102 h 1026"/>
                <a:gd name="T8" fmla="*/ 576 w 817"/>
                <a:gd name="T9" fmla="*/ 169 h 1026"/>
                <a:gd name="T10" fmla="*/ 314 w 817"/>
                <a:gd name="T11" fmla="*/ 111 h 1026"/>
                <a:gd name="T12" fmla="*/ 295 w 817"/>
                <a:gd name="T13" fmla="*/ 131 h 1026"/>
                <a:gd name="T14" fmla="*/ 361 w 817"/>
                <a:gd name="T15" fmla="*/ 175 h 1026"/>
                <a:gd name="T16" fmla="*/ 456 w 817"/>
                <a:gd name="T17" fmla="*/ 205 h 1026"/>
                <a:gd name="T18" fmla="*/ 792 w 817"/>
                <a:gd name="T19" fmla="*/ 225 h 1026"/>
                <a:gd name="T20" fmla="*/ 791 w 817"/>
                <a:gd name="T21" fmla="*/ 66 h 1026"/>
                <a:gd name="T22" fmla="*/ 707 w 817"/>
                <a:gd name="T23" fmla="*/ 90 h 1026"/>
                <a:gd name="T24" fmla="*/ 657 w 817"/>
                <a:gd name="T25" fmla="*/ 80 h 1026"/>
                <a:gd name="T26" fmla="*/ 420 w 817"/>
                <a:gd name="T27" fmla="*/ 2 h 1026"/>
                <a:gd name="T28" fmla="*/ 374 w 817"/>
                <a:gd name="T29" fmla="*/ 5 h 1026"/>
                <a:gd name="T30" fmla="*/ 51 w 817"/>
                <a:gd name="T31" fmla="*/ 155 h 1026"/>
                <a:gd name="T32" fmla="*/ 85 w 817"/>
                <a:gd name="T33" fmla="*/ 217 h 1026"/>
                <a:gd name="T34" fmla="*/ 113 w 817"/>
                <a:gd name="T35" fmla="*/ 206 h 1026"/>
                <a:gd name="T36" fmla="*/ 159 w 817"/>
                <a:gd name="T37" fmla="*/ 226 h 1026"/>
                <a:gd name="T38" fmla="*/ 178 w 817"/>
                <a:gd name="T39" fmla="*/ 218 h 1026"/>
                <a:gd name="T40" fmla="*/ 238 w 817"/>
                <a:gd name="T41" fmla="*/ 234 h 1026"/>
                <a:gd name="T42" fmla="*/ 318 w 817"/>
                <a:gd name="T43" fmla="*/ 192 h 1026"/>
                <a:gd name="T44" fmla="*/ 499 w 817"/>
                <a:gd name="T45" fmla="*/ 833 h 1026"/>
                <a:gd name="T46" fmla="*/ 553 w 817"/>
                <a:gd name="T47" fmla="*/ 900 h 1026"/>
                <a:gd name="T48" fmla="*/ 504 w 817"/>
                <a:gd name="T49" fmla="*/ 946 h 1026"/>
                <a:gd name="T50" fmla="*/ 298 w 817"/>
                <a:gd name="T51" fmla="*/ 924 h 1026"/>
                <a:gd name="T52" fmla="*/ 241 w 817"/>
                <a:gd name="T53" fmla="*/ 856 h 1026"/>
                <a:gd name="T54" fmla="*/ 503 w 817"/>
                <a:gd name="T55" fmla="*/ 915 h 1026"/>
                <a:gd name="T56" fmla="*/ 523 w 817"/>
                <a:gd name="T57" fmla="*/ 895 h 1026"/>
                <a:gd name="T58" fmla="*/ 457 w 817"/>
                <a:gd name="T59" fmla="*/ 851 h 1026"/>
                <a:gd name="T60" fmla="*/ 361 w 817"/>
                <a:gd name="T61" fmla="*/ 821 h 1026"/>
                <a:gd name="T62" fmla="*/ 24 w 817"/>
                <a:gd name="T63" fmla="*/ 800 h 1026"/>
                <a:gd name="T64" fmla="*/ 24 w 817"/>
                <a:gd name="T65" fmla="*/ 959 h 1026"/>
                <a:gd name="T66" fmla="*/ 110 w 817"/>
                <a:gd name="T67" fmla="*/ 936 h 1026"/>
                <a:gd name="T68" fmla="*/ 160 w 817"/>
                <a:gd name="T69" fmla="*/ 945 h 1026"/>
                <a:gd name="T70" fmla="*/ 397 w 817"/>
                <a:gd name="T71" fmla="*/ 1023 h 1026"/>
                <a:gd name="T72" fmla="*/ 443 w 817"/>
                <a:gd name="T73" fmla="*/ 1020 h 1026"/>
                <a:gd name="T74" fmla="*/ 767 w 817"/>
                <a:gd name="T75" fmla="*/ 870 h 1026"/>
                <a:gd name="T76" fmla="*/ 732 w 817"/>
                <a:gd name="T77" fmla="*/ 809 h 1026"/>
                <a:gd name="T78" fmla="*/ 704 w 817"/>
                <a:gd name="T79" fmla="*/ 820 h 1026"/>
                <a:gd name="T80" fmla="*/ 658 w 817"/>
                <a:gd name="T81" fmla="*/ 800 h 1026"/>
                <a:gd name="T82" fmla="*/ 639 w 817"/>
                <a:gd name="T83" fmla="*/ 808 h 1026"/>
                <a:gd name="T84" fmla="*/ 579 w 817"/>
                <a:gd name="T85" fmla="*/ 792 h 1026"/>
                <a:gd name="T86" fmla="*/ 499 w 817"/>
                <a:gd name="T87" fmla="*/ 833 h 1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17" h="1026">
                  <a:moveTo>
                    <a:pt x="318" y="192"/>
                  </a:moveTo>
                  <a:cubicBezTo>
                    <a:pt x="287" y="183"/>
                    <a:pt x="257" y="163"/>
                    <a:pt x="264" y="125"/>
                  </a:cubicBezTo>
                  <a:cubicBezTo>
                    <a:pt x="268" y="101"/>
                    <a:pt x="287" y="80"/>
                    <a:pt x="313" y="79"/>
                  </a:cubicBezTo>
                  <a:cubicBezTo>
                    <a:pt x="414" y="77"/>
                    <a:pt x="456" y="72"/>
                    <a:pt x="519" y="102"/>
                  </a:cubicBezTo>
                  <a:cubicBezTo>
                    <a:pt x="548" y="115"/>
                    <a:pt x="564" y="141"/>
                    <a:pt x="576" y="169"/>
                  </a:cubicBezTo>
                  <a:cubicBezTo>
                    <a:pt x="465" y="100"/>
                    <a:pt x="441" y="108"/>
                    <a:pt x="314" y="111"/>
                  </a:cubicBezTo>
                  <a:cubicBezTo>
                    <a:pt x="305" y="111"/>
                    <a:pt x="295" y="118"/>
                    <a:pt x="295" y="131"/>
                  </a:cubicBezTo>
                  <a:cubicBezTo>
                    <a:pt x="294" y="161"/>
                    <a:pt x="318" y="167"/>
                    <a:pt x="361" y="175"/>
                  </a:cubicBezTo>
                  <a:cubicBezTo>
                    <a:pt x="397" y="181"/>
                    <a:pt x="429" y="180"/>
                    <a:pt x="456" y="205"/>
                  </a:cubicBezTo>
                  <a:cubicBezTo>
                    <a:pt x="564" y="302"/>
                    <a:pt x="657" y="305"/>
                    <a:pt x="792" y="225"/>
                  </a:cubicBezTo>
                  <a:cubicBezTo>
                    <a:pt x="791" y="66"/>
                    <a:pt x="791" y="66"/>
                    <a:pt x="791" y="66"/>
                  </a:cubicBezTo>
                  <a:cubicBezTo>
                    <a:pt x="767" y="72"/>
                    <a:pt x="732" y="83"/>
                    <a:pt x="707" y="90"/>
                  </a:cubicBezTo>
                  <a:cubicBezTo>
                    <a:pt x="689" y="94"/>
                    <a:pt x="673" y="89"/>
                    <a:pt x="657" y="80"/>
                  </a:cubicBezTo>
                  <a:cubicBezTo>
                    <a:pt x="548" y="22"/>
                    <a:pt x="542" y="23"/>
                    <a:pt x="420" y="2"/>
                  </a:cubicBezTo>
                  <a:cubicBezTo>
                    <a:pt x="404" y="0"/>
                    <a:pt x="389" y="0"/>
                    <a:pt x="374" y="5"/>
                  </a:cubicBezTo>
                  <a:cubicBezTo>
                    <a:pt x="219" y="53"/>
                    <a:pt x="206" y="58"/>
                    <a:pt x="51" y="155"/>
                  </a:cubicBezTo>
                  <a:cubicBezTo>
                    <a:pt x="0" y="187"/>
                    <a:pt x="31" y="239"/>
                    <a:pt x="85" y="217"/>
                  </a:cubicBezTo>
                  <a:cubicBezTo>
                    <a:pt x="94" y="213"/>
                    <a:pt x="104" y="209"/>
                    <a:pt x="113" y="206"/>
                  </a:cubicBezTo>
                  <a:cubicBezTo>
                    <a:pt x="108" y="223"/>
                    <a:pt x="134" y="235"/>
                    <a:pt x="159" y="226"/>
                  </a:cubicBezTo>
                  <a:cubicBezTo>
                    <a:pt x="165" y="224"/>
                    <a:pt x="171" y="221"/>
                    <a:pt x="178" y="218"/>
                  </a:cubicBezTo>
                  <a:cubicBezTo>
                    <a:pt x="176" y="237"/>
                    <a:pt x="202" y="249"/>
                    <a:pt x="238" y="234"/>
                  </a:cubicBezTo>
                  <a:cubicBezTo>
                    <a:pt x="247" y="230"/>
                    <a:pt x="300" y="201"/>
                    <a:pt x="318" y="192"/>
                  </a:cubicBezTo>
                  <a:close/>
                  <a:moveTo>
                    <a:pt x="499" y="833"/>
                  </a:moveTo>
                  <a:cubicBezTo>
                    <a:pt x="530" y="842"/>
                    <a:pt x="560" y="863"/>
                    <a:pt x="553" y="900"/>
                  </a:cubicBezTo>
                  <a:cubicBezTo>
                    <a:pt x="549" y="925"/>
                    <a:pt x="530" y="945"/>
                    <a:pt x="504" y="946"/>
                  </a:cubicBezTo>
                  <a:cubicBezTo>
                    <a:pt x="403" y="949"/>
                    <a:pt x="362" y="953"/>
                    <a:pt x="298" y="924"/>
                  </a:cubicBezTo>
                  <a:cubicBezTo>
                    <a:pt x="270" y="911"/>
                    <a:pt x="253" y="884"/>
                    <a:pt x="241" y="856"/>
                  </a:cubicBezTo>
                  <a:cubicBezTo>
                    <a:pt x="352" y="926"/>
                    <a:pt x="376" y="918"/>
                    <a:pt x="503" y="915"/>
                  </a:cubicBezTo>
                  <a:cubicBezTo>
                    <a:pt x="512" y="915"/>
                    <a:pt x="522" y="908"/>
                    <a:pt x="523" y="895"/>
                  </a:cubicBezTo>
                  <a:cubicBezTo>
                    <a:pt x="523" y="864"/>
                    <a:pt x="500" y="859"/>
                    <a:pt x="457" y="851"/>
                  </a:cubicBezTo>
                  <a:cubicBezTo>
                    <a:pt x="420" y="844"/>
                    <a:pt x="389" y="845"/>
                    <a:pt x="361" y="821"/>
                  </a:cubicBezTo>
                  <a:cubicBezTo>
                    <a:pt x="254" y="724"/>
                    <a:pt x="158" y="720"/>
                    <a:pt x="24" y="800"/>
                  </a:cubicBezTo>
                  <a:cubicBezTo>
                    <a:pt x="24" y="959"/>
                    <a:pt x="24" y="959"/>
                    <a:pt x="24" y="959"/>
                  </a:cubicBezTo>
                  <a:cubicBezTo>
                    <a:pt x="49" y="953"/>
                    <a:pt x="85" y="942"/>
                    <a:pt x="110" y="936"/>
                  </a:cubicBezTo>
                  <a:cubicBezTo>
                    <a:pt x="128" y="931"/>
                    <a:pt x="144" y="936"/>
                    <a:pt x="160" y="945"/>
                  </a:cubicBezTo>
                  <a:cubicBezTo>
                    <a:pt x="269" y="1003"/>
                    <a:pt x="275" y="1002"/>
                    <a:pt x="397" y="1023"/>
                  </a:cubicBezTo>
                  <a:cubicBezTo>
                    <a:pt x="414" y="1026"/>
                    <a:pt x="428" y="1025"/>
                    <a:pt x="443" y="1020"/>
                  </a:cubicBezTo>
                  <a:cubicBezTo>
                    <a:pt x="598" y="973"/>
                    <a:pt x="611" y="968"/>
                    <a:pt x="767" y="870"/>
                  </a:cubicBezTo>
                  <a:cubicBezTo>
                    <a:pt x="817" y="838"/>
                    <a:pt x="786" y="786"/>
                    <a:pt x="732" y="809"/>
                  </a:cubicBezTo>
                  <a:cubicBezTo>
                    <a:pt x="723" y="812"/>
                    <a:pt x="713" y="816"/>
                    <a:pt x="704" y="820"/>
                  </a:cubicBezTo>
                  <a:cubicBezTo>
                    <a:pt x="709" y="802"/>
                    <a:pt x="683" y="790"/>
                    <a:pt x="658" y="800"/>
                  </a:cubicBezTo>
                  <a:cubicBezTo>
                    <a:pt x="652" y="802"/>
                    <a:pt x="646" y="804"/>
                    <a:pt x="639" y="808"/>
                  </a:cubicBezTo>
                  <a:cubicBezTo>
                    <a:pt x="641" y="789"/>
                    <a:pt x="616" y="777"/>
                    <a:pt x="579" y="792"/>
                  </a:cubicBezTo>
                  <a:cubicBezTo>
                    <a:pt x="571" y="795"/>
                    <a:pt x="517" y="825"/>
                    <a:pt x="499" y="833"/>
                  </a:cubicBezTo>
                  <a:close/>
                </a:path>
              </a:pathLst>
            </a:custGeom>
            <a:solidFill>
              <a:schemeClr val="bg1"/>
            </a:solidFill>
            <a:ln w="285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400" dirty="0"/>
            </a:p>
          </p:txBody>
        </p:sp>
        <p:sp>
          <p:nvSpPr>
            <p:cNvPr id="88" name="Freeform 6"/>
            <p:cNvSpPr>
              <a:spLocks noEditPoints="1"/>
            </p:cNvSpPr>
            <p:nvPr userDrawn="1"/>
          </p:nvSpPr>
          <p:spPr bwMode="auto">
            <a:xfrm>
              <a:off x="4795076" y="2042524"/>
              <a:ext cx="353226" cy="443453"/>
            </a:xfrm>
            <a:custGeom>
              <a:avLst/>
              <a:gdLst>
                <a:gd name="T0" fmla="*/ 318 w 817"/>
                <a:gd name="T1" fmla="*/ 192 h 1026"/>
                <a:gd name="T2" fmla="*/ 264 w 817"/>
                <a:gd name="T3" fmla="*/ 125 h 1026"/>
                <a:gd name="T4" fmla="*/ 313 w 817"/>
                <a:gd name="T5" fmla="*/ 79 h 1026"/>
                <a:gd name="T6" fmla="*/ 519 w 817"/>
                <a:gd name="T7" fmla="*/ 102 h 1026"/>
                <a:gd name="T8" fmla="*/ 576 w 817"/>
                <a:gd name="T9" fmla="*/ 169 h 1026"/>
                <a:gd name="T10" fmla="*/ 314 w 817"/>
                <a:gd name="T11" fmla="*/ 111 h 1026"/>
                <a:gd name="T12" fmla="*/ 295 w 817"/>
                <a:gd name="T13" fmla="*/ 131 h 1026"/>
                <a:gd name="T14" fmla="*/ 361 w 817"/>
                <a:gd name="T15" fmla="*/ 175 h 1026"/>
                <a:gd name="T16" fmla="*/ 456 w 817"/>
                <a:gd name="T17" fmla="*/ 205 h 1026"/>
                <a:gd name="T18" fmla="*/ 792 w 817"/>
                <a:gd name="T19" fmla="*/ 225 h 1026"/>
                <a:gd name="T20" fmla="*/ 791 w 817"/>
                <a:gd name="T21" fmla="*/ 66 h 1026"/>
                <a:gd name="T22" fmla="*/ 707 w 817"/>
                <a:gd name="T23" fmla="*/ 90 h 1026"/>
                <a:gd name="T24" fmla="*/ 657 w 817"/>
                <a:gd name="T25" fmla="*/ 80 h 1026"/>
                <a:gd name="T26" fmla="*/ 420 w 817"/>
                <a:gd name="T27" fmla="*/ 2 h 1026"/>
                <a:gd name="T28" fmla="*/ 374 w 817"/>
                <a:gd name="T29" fmla="*/ 5 h 1026"/>
                <a:gd name="T30" fmla="*/ 51 w 817"/>
                <a:gd name="T31" fmla="*/ 155 h 1026"/>
                <a:gd name="T32" fmla="*/ 85 w 817"/>
                <a:gd name="T33" fmla="*/ 217 h 1026"/>
                <a:gd name="T34" fmla="*/ 113 w 817"/>
                <a:gd name="T35" fmla="*/ 206 h 1026"/>
                <a:gd name="T36" fmla="*/ 159 w 817"/>
                <a:gd name="T37" fmla="*/ 226 h 1026"/>
                <a:gd name="T38" fmla="*/ 178 w 817"/>
                <a:gd name="T39" fmla="*/ 218 h 1026"/>
                <a:gd name="T40" fmla="*/ 238 w 817"/>
                <a:gd name="T41" fmla="*/ 234 h 1026"/>
                <a:gd name="T42" fmla="*/ 318 w 817"/>
                <a:gd name="T43" fmla="*/ 192 h 1026"/>
                <a:gd name="T44" fmla="*/ 499 w 817"/>
                <a:gd name="T45" fmla="*/ 833 h 1026"/>
                <a:gd name="T46" fmla="*/ 553 w 817"/>
                <a:gd name="T47" fmla="*/ 900 h 1026"/>
                <a:gd name="T48" fmla="*/ 504 w 817"/>
                <a:gd name="T49" fmla="*/ 946 h 1026"/>
                <a:gd name="T50" fmla="*/ 298 w 817"/>
                <a:gd name="T51" fmla="*/ 924 h 1026"/>
                <a:gd name="T52" fmla="*/ 241 w 817"/>
                <a:gd name="T53" fmla="*/ 856 h 1026"/>
                <a:gd name="T54" fmla="*/ 503 w 817"/>
                <a:gd name="T55" fmla="*/ 915 h 1026"/>
                <a:gd name="T56" fmla="*/ 523 w 817"/>
                <a:gd name="T57" fmla="*/ 895 h 1026"/>
                <a:gd name="T58" fmla="*/ 457 w 817"/>
                <a:gd name="T59" fmla="*/ 851 h 1026"/>
                <a:gd name="T60" fmla="*/ 361 w 817"/>
                <a:gd name="T61" fmla="*/ 821 h 1026"/>
                <a:gd name="T62" fmla="*/ 24 w 817"/>
                <a:gd name="T63" fmla="*/ 800 h 1026"/>
                <a:gd name="T64" fmla="*/ 24 w 817"/>
                <a:gd name="T65" fmla="*/ 959 h 1026"/>
                <a:gd name="T66" fmla="*/ 110 w 817"/>
                <a:gd name="T67" fmla="*/ 936 h 1026"/>
                <a:gd name="T68" fmla="*/ 160 w 817"/>
                <a:gd name="T69" fmla="*/ 945 h 1026"/>
                <a:gd name="T70" fmla="*/ 397 w 817"/>
                <a:gd name="T71" fmla="*/ 1023 h 1026"/>
                <a:gd name="T72" fmla="*/ 443 w 817"/>
                <a:gd name="T73" fmla="*/ 1020 h 1026"/>
                <a:gd name="T74" fmla="*/ 767 w 817"/>
                <a:gd name="T75" fmla="*/ 870 h 1026"/>
                <a:gd name="T76" fmla="*/ 732 w 817"/>
                <a:gd name="T77" fmla="*/ 809 h 1026"/>
                <a:gd name="T78" fmla="*/ 704 w 817"/>
                <a:gd name="T79" fmla="*/ 820 h 1026"/>
                <a:gd name="T80" fmla="*/ 658 w 817"/>
                <a:gd name="T81" fmla="*/ 800 h 1026"/>
                <a:gd name="T82" fmla="*/ 639 w 817"/>
                <a:gd name="T83" fmla="*/ 808 h 1026"/>
                <a:gd name="T84" fmla="*/ 579 w 817"/>
                <a:gd name="T85" fmla="*/ 792 h 1026"/>
                <a:gd name="T86" fmla="*/ 499 w 817"/>
                <a:gd name="T87" fmla="*/ 833 h 1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17" h="1026">
                  <a:moveTo>
                    <a:pt x="318" y="192"/>
                  </a:moveTo>
                  <a:cubicBezTo>
                    <a:pt x="287" y="183"/>
                    <a:pt x="257" y="163"/>
                    <a:pt x="264" y="125"/>
                  </a:cubicBezTo>
                  <a:cubicBezTo>
                    <a:pt x="268" y="101"/>
                    <a:pt x="287" y="80"/>
                    <a:pt x="313" y="79"/>
                  </a:cubicBezTo>
                  <a:cubicBezTo>
                    <a:pt x="414" y="77"/>
                    <a:pt x="456" y="72"/>
                    <a:pt x="519" y="102"/>
                  </a:cubicBezTo>
                  <a:cubicBezTo>
                    <a:pt x="548" y="115"/>
                    <a:pt x="564" y="141"/>
                    <a:pt x="576" y="169"/>
                  </a:cubicBezTo>
                  <a:cubicBezTo>
                    <a:pt x="465" y="100"/>
                    <a:pt x="441" y="108"/>
                    <a:pt x="314" y="111"/>
                  </a:cubicBezTo>
                  <a:cubicBezTo>
                    <a:pt x="305" y="111"/>
                    <a:pt x="295" y="118"/>
                    <a:pt x="295" y="131"/>
                  </a:cubicBezTo>
                  <a:cubicBezTo>
                    <a:pt x="294" y="161"/>
                    <a:pt x="318" y="167"/>
                    <a:pt x="361" y="175"/>
                  </a:cubicBezTo>
                  <a:cubicBezTo>
                    <a:pt x="397" y="181"/>
                    <a:pt x="429" y="180"/>
                    <a:pt x="456" y="205"/>
                  </a:cubicBezTo>
                  <a:cubicBezTo>
                    <a:pt x="564" y="302"/>
                    <a:pt x="657" y="305"/>
                    <a:pt x="792" y="225"/>
                  </a:cubicBezTo>
                  <a:cubicBezTo>
                    <a:pt x="791" y="66"/>
                    <a:pt x="791" y="66"/>
                    <a:pt x="791" y="66"/>
                  </a:cubicBezTo>
                  <a:cubicBezTo>
                    <a:pt x="767" y="72"/>
                    <a:pt x="732" y="83"/>
                    <a:pt x="707" y="90"/>
                  </a:cubicBezTo>
                  <a:cubicBezTo>
                    <a:pt x="689" y="94"/>
                    <a:pt x="673" y="89"/>
                    <a:pt x="657" y="80"/>
                  </a:cubicBezTo>
                  <a:cubicBezTo>
                    <a:pt x="548" y="22"/>
                    <a:pt x="542" y="23"/>
                    <a:pt x="420" y="2"/>
                  </a:cubicBezTo>
                  <a:cubicBezTo>
                    <a:pt x="404" y="0"/>
                    <a:pt x="389" y="0"/>
                    <a:pt x="374" y="5"/>
                  </a:cubicBezTo>
                  <a:cubicBezTo>
                    <a:pt x="219" y="53"/>
                    <a:pt x="206" y="58"/>
                    <a:pt x="51" y="155"/>
                  </a:cubicBezTo>
                  <a:cubicBezTo>
                    <a:pt x="0" y="187"/>
                    <a:pt x="31" y="239"/>
                    <a:pt x="85" y="217"/>
                  </a:cubicBezTo>
                  <a:cubicBezTo>
                    <a:pt x="94" y="213"/>
                    <a:pt x="104" y="209"/>
                    <a:pt x="113" y="206"/>
                  </a:cubicBezTo>
                  <a:cubicBezTo>
                    <a:pt x="108" y="223"/>
                    <a:pt x="134" y="235"/>
                    <a:pt x="159" y="226"/>
                  </a:cubicBezTo>
                  <a:cubicBezTo>
                    <a:pt x="165" y="224"/>
                    <a:pt x="171" y="221"/>
                    <a:pt x="178" y="218"/>
                  </a:cubicBezTo>
                  <a:cubicBezTo>
                    <a:pt x="176" y="237"/>
                    <a:pt x="202" y="249"/>
                    <a:pt x="238" y="234"/>
                  </a:cubicBezTo>
                  <a:cubicBezTo>
                    <a:pt x="247" y="230"/>
                    <a:pt x="300" y="201"/>
                    <a:pt x="318" y="192"/>
                  </a:cubicBezTo>
                  <a:close/>
                  <a:moveTo>
                    <a:pt x="499" y="833"/>
                  </a:moveTo>
                  <a:cubicBezTo>
                    <a:pt x="530" y="842"/>
                    <a:pt x="560" y="863"/>
                    <a:pt x="553" y="900"/>
                  </a:cubicBezTo>
                  <a:cubicBezTo>
                    <a:pt x="549" y="925"/>
                    <a:pt x="530" y="945"/>
                    <a:pt x="504" y="946"/>
                  </a:cubicBezTo>
                  <a:cubicBezTo>
                    <a:pt x="403" y="949"/>
                    <a:pt x="362" y="953"/>
                    <a:pt x="298" y="924"/>
                  </a:cubicBezTo>
                  <a:cubicBezTo>
                    <a:pt x="270" y="911"/>
                    <a:pt x="253" y="884"/>
                    <a:pt x="241" y="856"/>
                  </a:cubicBezTo>
                  <a:cubicBezTo>
                    <a:pt x="352" y="926"/>
                    <a:pt x="376" y="918"/>
                    <a:pt x="503" y="915"/>
                  </a:cubicBezTo>
                  <a:cubicBezTo>
                    <a:pt x="512" y="915"/>
                    <a:pt x="522" y="908"/>
                    <a:pt x="523" y="895"/>
                  </a:cubicBezTo>
                  <a:cubicBezTo>
                    <a:pt x="523" y="864"/>
                    <a:pt x="500" y="859"/>
                    <a:pt x="457" y="851"/>
                  </a:cubicBezTo>
                  <a:cubicBezTo>
                    <a:pt x="420" y="844"/>
                    <a:pt x="389" y="845"/>
                    <a:pt x="361" y="821"/>
                  </a:cubicBezTo>
                  <a:cubicBezTo>
                    <a:pt x="254" y="724"/>
                    <a:pt x="158" y="720"/>
                    <a:pt x="24" y="800"/>
                  </a:cubicBezTo>
                  <a:cubicBezTo>
                    <a:pt x="24" y="959"/>
                    <a:pt x="24" y="959"/>
                    <a:pt x="24" y="959"/>
                  </a:cubicBezTo>
                  <a:cubicBezTo>
                    <a:pt x="49" y="953"/>
                    <a:pt x="85" y="942"/>
                    <a:pt x="110" y="936"/>
                  </a:cubicBezTo>
                  <a:cubicBezTo>
                    <a:pt x="128" y="931"/>
                    <a:pt x="144" y="936"/>
                    <a:pt x="160" y="945"/>
                  </a:cubicBezTo>
                  <a:cubicBezTo>
                    <a:pt x="269" y="1003"/>
                    <a:pt x="275" y="1002"/>
                    <a:pt x="397" y="1023"/>
                  </a:cubicBezTo>
                  <a:cubicBezTo>
                    <a:pt x="414" y="1026"/>
                    <a:pt x="428" y="1025"/>
                    <a:pt x="443" y="1020"/>
                  </a:cubicBezTo>
                  <a:cubicBezTo>
                    <a:pt x="598" y="973"/>
                    <a:pt x="611" y="968"/>
                    <a:pt x="767" y="870"/>
                  </a:cubicBezTo>
                  <a:cubicBezTo>
                    <a:pt x="817" y="838"/>
                    <a:pt x="786" y="786"/>
                    <a:pt x="732" y="809"/>
                  </a:cubicBezTo>
                  <a:cubicBezTo>
                    <a:pt x="723" y="812"/>
                    <a:pt x="713" y="816"/>
                    <a:pt x="704" y="820"/>
                  </a:cubicBezTo>
                  <a:cubicBezTo>
                    <a:pt x="709" y="802"/>
                    <a:pt x="683" y="790"/>
                    <a:pt x="658" y="800"/>
                  </a:cubicBezTo>
                  <a:cubicBezTo>
                    <a:pt x="652" y="802"/>
                    <a:pt x="646" y="804"/>
                    <a:pt x="639" y="808"/>
                  </a:cubicBezTo>
                  <a:cubicBezTo>
                    <a:pt x="641" y="789"/>
                    <a:pt x="616" y="777"/>
                    <a:pt x="579" y="792"/>
                  </a:cubicBezTo>
                  <a:cubicBezTo>
                    <a:pt x="571" y="795"/>
                    <a:pt x="517" y="825"/>
                    <a:pt x="499" y="8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nvGrpSpPr>
            <p:cNvPr id="111" name="Group 110"/>
            <p:cNvGrpSpPr/>
            <p:nvPr userDrawn="1"/>
          </p:nvGrpSpPr>
          <p:grpSpPr>
            <a:xfrm>
              <a:off x="5434346" y="2092355"/>
              <a:ext cx="2728020" cy="392112"/>
              <a:chOff x="4437292" y="1911988"/>
              <a:chExt cx="2728020" cy="540140"/>
            </a:xfrm>
            <a:solidFill>
              <a:schemeClr val="bg1"/>
            </a:solidFill>
          </p:grpSpPr>
          <p:cxnSp>
            <p:nvCxnSpPr>
              <p:cNvPr id="105" name="Straight Connector 104"/>
              <p:cNvCxnSpPr/>
              <p:nvPr userDrawn="1"/>
            </p:nvCxnSpPr>
            <p:spPr>
              <a:xfrm>
                <a:off x="4437292" y="1911988"/>
                <a:ext cx="0" cy="540140"/>
              </a:xfrm>
              <a:prstGeom prst="line">
                <a:avLst/>
              </a:prstGeom>
              <a:grpFill/>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userDrawn="1"/>
            </p:nvCxnSpPr>
            <p:spPr>
              <a:xfrm>
                <a:off x="5341781" y="1911988"/>
                <a:ext cx="0" cy="540140"/>
              </a:xfrm>
              <a:prstGeom prst="line">
                <a:avLst/>
              </a:prstGeom>
              <a:grpFill/>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userDrawn="1"/>
            </p:nvCxnSpPr>
            <p:spPr>
              <a:xfrm>
                <a:off x="6266541" y="1911988"/>
                <a:ext cx="0" cy="540140"/>
              </a:xfrm>
              <a:prstGeom prst="line">
                <a:avLst/>
              </a:prstGeom>
              <a:grpFill/>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userDrawn="1"/>
            </p:nvCxnSpPr>
            <p:spPr>
              <a:xfrm>
                <a:off x="7165312" y="1911988"/>
                <a:ext cx="0" cy="540140"/>
              </a:xfrm>
              <a:prstGeom prst="line">
                <a:avLst/>
              </a:prstGeom>
              <a:grpFill/>
              <a:ln w="19050">
                <a:solidFill>
                  <a:schemeClr val="accent4"/>
                </a:solidFill>
              </a:ln>
            </p:spPr>
            <p:style>
              <a:lnRef idx="1">
                <a:schemeClr val="accent1"/>
              </a:lnRef>
              <a:fillRef idx="0">
                <a:schemeClr val="accent1"/>
              </a:fillRef>
              <a:effectRef idx="0">
                <a:schemeClr val="accent1"/>
              </a:effectRef>
              <a:fontRef idx="minor">
                <a:schemeClr val="tx1"/>
              </a:fontRef>
            </p:style>
          </p:cxnSp>
        </p:grpSp>
      </p:grpSp>
      <p:sp>
        <p:nvSpPr>
          <p:cNvPr id="61" name="Text Placeholder 6"/>
          <p:cNvSpPr>
            <a:spLocks noGrp="1"/>
          </p:cNvSpPr>
          <p:nvPr userDrawn="1">
            <p:ph type="body" sz="quarter" idx="12" hasCustomPrompt="1"/>
          </p:nvPr>
        </p:nvSpPr>
        <p:spPr>
          <a:xfrm>
            <a:off x="1125416" y="5776648"/>
            <a:ext cx="10445704" cy="332117"/>
          </a:xfrm>
          <a:prstGeom prst="rect">
            <a:avLst/>
          </a:prstGeom>
        </p:spPr>
        <p:txBody>
          <a:bodyPr lIns="0" tIns="0" rIns="0" bIns="0" anchor="ctr" anchorCtr="0">
            <a:noAutofit/>
          </a:bodyPr>
          <a:lstStyle>
            <a:lvl1pPr marL="0" indent="0">
              <a:buNone/>
              <a:defRPr sz="1600">
                <a:solidFill>
                  <a:schemeClr val="tx2"/>
                </a:solidFill>
              </a:defRPr>
            </a:lvl1pPr>
            <a:lvl5pPr marL="2438339" indent="0">
              <a:buNone/>
              <a:defRPr/>
            </a:lvl5pPr>
          </a:lstStyle>
          <a:p>
            <a:pPr lvl="0"/>
            <a:r>
              <a:rPr lang="en-US" dirty="0"/>
              <a:t>Date</a:t>
            </a:r>
          </a:p>
        </p:txBody>
      </p:sp>
      <p:sp>
        <p:nvSpPr>
          <p:cNvPr id="7" name="Text Placeholder 6"/>
          <p:cNvSpPr>
            <a:spLocks noGrp="1"/>
          </p:cNvSpPr>
          <p:nvPr>
            <p:ph type="body" sz="quarter" idx="13" hasCustomPrompt="1"/>
          </p:nvPr>
        </p:nvSpPr>
        <p:spPr>
          <a:xfrm>
            <a:off x="1138815" y="6584148"/>
            <a:ext cx="10445704" cy="119337"/>
          </a:xfrm>
        </p:spPr>
        <p:txBody>
          <a:bodyPr rIns="0"/>
          <a:lstStyle>
            <a:lvl1pPr marL="0" indent="0">
              <a:buNone/>
              <a:defRPr lang="en-US" sz="1067" kern="1200" dirty="0">
                <a:solidFill>
                  <a:srgbClr val="000000"/>
                </a:solidFill>
              </a:defRPr>
            </a:lvl1pPr>
          </a:lstStyle>
          <a:p>
            <a:pPr algn="r"/>
            <a:r>
              <a:rPr lang="en-US" sz="933" kern="1200" dirty="0">
                <a:solidFill>
                  <a:srgbClr val="000000"/>
                </a:solidFill>
                <a:latin typeface="+mn-lt"/>
                <a:ea typeface="+mn-ea"/>
                <a:cs typeface="+mn-cs"/>
              </a:rPr>
              <a:t>For Financial Professional Use Only. Not For Use With Consumers.</a:t>
            </a:r>
          </a:p>
        </p:txBody>
      </p:sp>
    </p:spTree>
    <p:extLst>
      <p:ext uri="{BB962C8B-B14F-4D97-AF65-F5344CB8AC3E}">
        <p14:creationId xmlns:p14="http://schemas.microsoft.com/office/powerpoint/2010/main" val="342275698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AGENDA layout">
    <p:spTree>
      <p:nvGrpSpPr>
        <p:cNvPr id="1" name=""/>
        <p:cNvGrpSpPr/>
        <p:nvPr/>
      </p:nvGrpSpPr>
      <p:grpSpPr>
        <a:xfrm>
          <a:off x="0" y="0"/>
          <a:ext cx="0" cy="0"/>
          <a:chOff x="0" y="0"/>
          <a:chExt cx="0" cy="0"/>
        </a:xfrm>
      </p:grpSpPr>
      <p:sp>
        <p:nvSpPr>
          <p:cNvPr id="6" name="Text Placeholder 5"/>
          <p:cNvSpPr>
            <a:spLocks noGrp="1"/>
          </p:cNvSpPr>
          <p:nvPr>
            <p:ph type="body" sz="quarter" idx="14" hasCustomPrompt="1"/>
          </p:nvPr>
        </p:nvSpPr>
        <p:spPr>
          <a:xfrm>
            <a:off x="3138793" y="6560363"/>
            <a:ext cx="5927388" cy="214955"/>
          </a:xfrm>
        </p:spPr>
        <p:txBody>
          <a:bodyPr/>
          <a:lstStyle>
            <a:lvl1pPr marL="0" indent="0" algn="ctr">
              <a:buNone/>
              <a:defRPr sz="933" baseline="0"/>
            </a:lvl1pPr>
          </a:lstStyle>
          <a:p>
            <a:pPr lvl="0"/>
            <a:r>
              <a:rPr lang="en-US" dirty="0"/>
              <a:t>For internal use only.</a:t>
            </a:r>
          </a:p>
        </p:txBody>
      </p:sp>
      <p:sp>
        <p:nvSpPr>
          <p:cNvPr id="2" name="Title 1"/>
          <p:cNvSpPr>
            <a:spLocks noGrp="1"/>
          </p:cNvSpPr>
          <p:nvPr>
            <p:ph type="title" hasCustomPrompt="1"/>
          </p:nvPr>
        </p:nvSpPr>
        <p:spPr/>
        <p:txBody>
          <a:bodyPr/>
          <a:lstStyle>
            <a:lvl1pPr>
              <a:defRPr/>
            </a:lvl1pPr>
          </a:lstStyle>
          <a:p>
            <a:r>
              <a:rPr lang="en-US" dirty="0"/>
              <a:t>Agenda</a:t>
            </a:r>
          </a:p>
        </p:txBody>
      </p:sp>
      <p:sp>
        <p:nvSpPr>
          <p:cNvPr id="5" name="Table Placeholder 4"/>
          <p:cNvSpPr>
            <a:spLocks noGrp="1"/>
          </p:cNvSpPr>
          <p:nvPr>
            <p:ph type="tbl" sz="quarter" idx="10" hasCustomPrompt="1"/>
          </p:nvPr>
        </p:nvSpPr>
        <p:spPr>
          <a:xfrm>
            <a:off x="3055008" y="1530350"/>
            <a:ext cx="9136993" cy="4660901"/>
          </a:xfrm>
        </p:spPr>
        <p:txBody>
          <a:bodyPr/>
          <a:lstStyle>
            <a:lvl1pPr marL="0" indent="0">
              <a:buNone/>
              <a:defRPr/>
            </a:lvl1pPr>
          </a:lstStyle>
          <a:p>
            <a:r>
              <a:rPr lang="en-US" dirty="0"/>
              <a:t>Agenda Table</a:t>
            </a:r>
          </a:p>
        </p:txBody>
      </p:sp>
      <p:sp>
        <p:nvSpPr>
          <p:cNvPr id="7" name="TextBox 6"/>
          <p:cNvSpPr txBox="1"/>
          <p:nvPr userDrawn="1"/>
        </p:nvSpPr>
        <p:spPr>
          <a:xfrm>
            <a:off x="12650699" y="1455472"/>
            <a:ext cx="2977117" cy="769634"/>
          </a:xfrm>
          <a:prstGeom prst="rect">
            <a:avLst/>
          </a:prstGeom>
          <a:noFill/>
        </p:spPr>
        <p:txBody>
          <a:bodyPr wrap="square" rtlCol="0">
            <a:spAutoFit/>
          </a:bodyPr>
          <a:lstStyle/>
          <a:p>
            <a:r>
              <a:rPr lang="en-US" sz="1467" dirty="0">
                <a:solidFill>
                  <a:schemeClr val="tx1"/>
                </a:solidFill>
              </a:rPr>
              <a:t>To add more items to the agenda, click in last row and press tab on your keyboard.</a:t>
            </a:r>
          </a:p>
        </p:txBody>
      </p:sp>
      <p:sp>
        <p:nvSpPr>
          <p:cNvPr id="9" name="TextBox 8"/>
          <p:cNvSpPr txBox="1"/>
          <p:nvPr userDrawn="1"/>
        </p:nvSpPr>
        <p:spPr>
          <a:xfrm>
            <a:off x="12650699" y="2988928"/>
            <a:ext cx="2977117" cy="1898468"/>
          </a:xfrm>
          <a:prstGeom prst="rect">
            <a:avLst/>
          </a:prstGeom>
          <a:noFill/>
        </p:spPr>
        <p:txBody>
          <a:bodyPr wrap="square" rtlCol="0">
            <a:spAutoFit/>
          </a:bodyPr>
          <a:lstStyle/>
          <a:p>
            <a:r>
              <a:rPr lang="en-US" sz="1467" dirty="0">
                <a:solidFill>
                  <a:schemeClr val="tx1"/>
                </a:solidFill>
              </a:rPr>
              <a:t>Use</a:t>
            </a:r>
            <a:r>
              <a:rPr lang="en-US" sz="1467" baseline="0" dirty="0">
                <a:solidFill>
                  <a:schemeClr val="tx1"/>
                </a:solidFill>
              </a:rPr>
              <a:t> the Agenda as section dividers throughout your presentation Turn the Agenda items gray except for the section you are on—leave it black. This is both practical and helpful to the audience to guide them through the presentation.</a:t>
            </a:r>
            <a:endParaRPr lang="en-US" sz="1467" dirty="0">
              <a:solidFill>
                <a:schemeClr val="tx1"/>
              </a:solidFill>
            </a:endParaRPr>
          </a:p>
        </p:txBody>
      </p:sp>
      <p:cxnSp>
        <p:nvCxnSpPr>
          <p:cNvPr id="10" name="Straight Connector 9"/>
          <p:cNvCxnSpPr/>
          <p:nvPr userDrawn="1"/>
        </p:nvCxnSpPr>
        <p:spPr>
          <a:xfrm>
            <a:off x="12511603" y="2622308"/>
            <a:ext cx="29823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462788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lvl1pPr>
              <a:defRPr sz="3200" baseline="0"/>
            </a:lvl1pPr>
          </a:lstStyle>
          <a:p>
            <a:r>
              <a:rPr lang="en-US" dirty="0"/>
              <a:t>Custom layout option</a:t>
            </a:r>
          </a:p>
        </p:txBody>
      </p:sp>
      <p:sp>
        <p:nvSpPr>
          <p:cNvPr id="3" name="Text Placeholder 4"/>
          <p:cNvSpPr>
            <a:spLocks noGrp="1"/>
          </p:cNvSpPr>
          <p:nvPr>
            <p:ph type="body" sz="quarter" idx="11" hasCustomPrompt="1"/>
          </p:nvPr>
        </p:nvSpPr>
        <p:spPr>
          <a:xfrm>
            <a:off x="611717" y="881767"/>
            <a:ext cx="10972800" cy="366932"/>
          </a:xfrm>
        </p:spPr>
        <p:txBody>
          <a:bodyPr/>
          <a:lstStyle>
            <a:lvl1pPr marL="0" indent="0">
              <a:buNone/>
              <a:defRPr sz="2667" baseline="0"/>
            </a:lvl1pPr>
            <a:lvl2pPr marL="302675" indent="0">
              <a:buNone/>
              <a:defRPr/>
            </a:lvl2pPr>
          </a:lstStyle>
          <a:p>
            <a:pPr lvl="0"/>
            <a:r>
              <a:rPr lang="en-US" dirty="0"/>
              <a:t>Sub-header optional—delete if not needed</a:t>
            </a:r>
          </a:p>
        </p:txBody>
      </p:sp>
      <p:sp>
        <p:nvSpPr>
          <p:cNvPr id="4" name="Text Placeholder 5"/>
          <p:cNvSpPr>
            <a:spLocks noGrp="1"/>
          </p:cNvSpPr>
          <p:nvPr>
            <p:ph type="body" sz="quarter" idx="14" hasCustomPrompt="1"/>
          </p:nvPr>
        </p:nvSpPr>
        <p:spPr>
          <a:xfrm>
            <a:off x="3138793" y="6560363"/>
            <a:ext cx="5927388" cy="214955"/>
          </a:xfrm>
        </p:spPr>
        <p:txBody>
          <a:bodyPr/>
          <a:lstStyle>
            <a:lvl1pPr marL="0" indent="0" algn="ctr">
              <a:buNone/>
              <a:defRPr sz="933" baseline="0"/>
            </a:lvl1pPr>
          </a:lstStyle>
          <a:p>
            <a:pPr lvl="0"/>
            <a:r>
              <a:rPr lang="en-US" dirty="0"/>
              <a:t>For internal use only.</a:t>
            </a:r>
          </a:p>
        </p:txBody>
      </p:sp>
    </p:spTree>
    <p:extLst>
      <p:ext uri="{BB962C8B-B14F-4D97-AF65-F5344CB8AC3E}">
        <p14:creationId xmlns:p14="http://schemas.microsoft.com/office/powerpoint/2010/main" val="148921953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27013"/>
            <a:ext cx="10962219" cy="498475"/>
          </a:xfrm>
        </p:spPr>
        <p:txBody>
          <a:bodyPr/>
          <a:lstStyle>
            <a:lvl1pPr>
              <a:defRPr baseline="0"/>
            </a:lvl1pPr>
          </a:lstStyle>
          <a:p>
            <a:r>
              <a:rPr lang="en-US" dirty="0"/>
              <a:t>Text layout</a:t>
            </a:r>
          </a:p>
        </p:txBody>
      </p:sp>
      <p:sp>
        <p:nvSpPr>
          <p:cNvPr id="3" name="Text Placeholder 20"/>
          <p:cNvSpPr>
            <a:spLocks noGrp="1"/>
          </p:cNvSpPr>
          <p:nvPr>
            <p:ph type="body" sz="quarter" idx="10"/>
          </p:nvPr>
        </p:nvSpPr>
        <p:spPr>
          <a:xfrm>
            <a:off x="609601" y="1530351"/>
            <a:ext cx="10962217" cy="4660900"/>
          </a:xfrm>
          <a:prstGeom prst="rect">
            <a:avLst/>
          </a:prstGeom>
        </p:spPr>
        <p:txBody>
          <a:bodyPr lIns="0" tIns="91440" bIns="91440" anchor="ctr" anchorCtr="0"/>
          <a:lstStyle>
            <a:lvl1pPr marL="224361" indent="-224361">
              <a:spcBef>
                <a:spcPts val="2400"/>
              </a:spcBef>
              <a:buSzPct val="100000"/>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1pPr>
            <a:lvl2pPr marL="537620" indent="-234945">
              <a:lnSpc>
                <a:spcPct val="90000"/>
              </a:lnSpc>
              <a:spcBef>
                <a:spcPts val="0"/>
              </a:spcBef>
              <a:tabLst>
                <a:tab pos="537620" algn="l"/>
              </a:tabLst>
              <a:defRPr sz="2133">
                <a:solidFill>
                  <a:schemeClr val="tx1"/>
                </a:solidFill>
                <a:latin typeface="Arial" panose="020B0604020202020204" pitchFamily="34" charset="0"/>
                <a:cs typeface="Arial" panose="020B0604020202020204" pitchFamily="34" charset="0"/>
              </a:defRPr>
            </a:lvl2pPr>
            <a:lvl3pPr marL="838179" indent="-222245">
              <a:lnSpc>
                <a:spcPct val="90000"/>
              </a:lnSpc>
              <a:spcBef>
                <a:spcPts val="0"/>
              </a:spcBef>
              <a:buFont typeface="Courier New" panose="02070309020205020404" pitchFamily="49" charset="0"/>
              <a:buChar char="o"/>
              <a:defRPr sz="1867">
                <a:solidFill>
                  <a:schemeClr val="tx1"/>
                </a:solidFill>
                <a:latin typeface="Arial" panose="020B0604020202020204" pitchFamily="34" charset="0"/>
                <a:cs typeface="Arial" panose="020B0604020202020204" pitchFamily="34" charset="0"/>
              </a:defRPr>
            </a:lvl3pPr>
            <a:lvl4pPr marL="1979035" indent="-222245">
              <a:lnSpc>
                <a:spcPct val="90000"/>
              </a:lnSpc>
              <a:spcBef>
                <a:spcPts val="0"/>
              </a:spcBef>
              <a:buFont typeface="Arial" panose="020B0604020202020204" pitchFamily="34" charset="0"/>
              <a:buChar char="»"/>
              <a:defRPr lang="en-US" sz="2400" kern="1200" dirty="0" smtClean="0">
                <a:solidFill>
                  <a:srgbClr val="646464"/>
                </a:solidFill>
                <a:latin typeface="Arial" panose="020B0604020202020204" pitchFamily="34" charset="0"/>
                <a:ea typeface="+mn-ea"/>
                <a:cs typeface="Arial" panose="020B0604020202020204" pitchFamily="34" charset="0"/>
              </a:defRPr>
            </a:lvl4pPr>
            <a:lvl5pPr>
              <a:defRPr sz="2133">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4" name="Text Placeholder 4"/>
          <p:cNvSpPr>
            <a:spLocks noGrp="1"/>
          </p:cNvSpPr>
          <p:nvPr>
            <p:ph type="body" sz="quarter" idx="11" hasCustomPrompt="1"/>
          </p:nvPr>
        </p:nvSpPr>
        <p:spPr>
          <a:xfrm>
            <a:off x="600428" y="881767"/>
            <a:ext cx="10972800" cy="366932"/>
          </a:xfrm>
        </p:spPr>
        <p:txBody>
          <a:bodyPr/>
          <a:lstStyle>
            <a:lvl1pPr marL="0" indent="0">
              <a:buNone/>
              <a:defRPr sz="2667" baseline="0"/>
            </a:lvl1pPr>
            <a:lvl2pPr marL="302675" indent="0">
              <a:buNone/>
              <a:defRPr/>
            </a:lvl2pPr>
          </a:lstStyle>
          <a:p>
            <a:pPr lvl="0"/>
            <a:r>
              <a:rPr lang="en-US" dirty="0"/>
              <a:t>Subheader optional—delete if not needed</a:t>
            </a:r>
          </a:p>
        </p:txBody>
      </p:sp>
    </p:spTree>
    <p:extLst>
      <p:ext uri="{BB962C8B-B14F-4D97-AF65-F5344CB8AC3E}">
        <p14:creationId xmlns:p14="http://schemas.microsoft.com/office/powerpoint/2010/main" val="287029326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 and CHART/GRAPH lyaout">
    <p:spTree>
      <p:nvGrpSpPr>
        <p:cNvPr id="1" name=""/>
        <p:cNvGrpSpPr/>
        <p:nvPr/>
      </p:nvGrpSpPr>
      <p:grpSpPr>
        <a:xfrm>
          <a:off x="0" y="0"/>
          <a:ext cx="0" cy="0"/>
          <a:chOff x="0" y="0"/>
          <a:chExt cx="0" cy="0"/>
        </a:xfrm>
      </p:grpSpPr>
      <p:sp>
        <p:nvSpPr>
          <p:cNvPr id="3" name="Text Placeholder 20"/>
          <p:cNvSpPr>
            <a:spLocks noGrp="1"/>
          </p:cNvSpPr>
          <p:nvPr>
            <p:ph type="body" sz="quarter" idx="10"/>
          </p:nvPr>
        </p:nvSpPr>
        <p:spPr>
          <a:xfrm>
            <a:off x="609602" y="1530351"/>
            <a:ext cx="5274364" cy="4660900"/>
          </a:xfrm>
          <a:prstGeom prst="rect">
            <a:avLst/>
          </a:prstGeom>
        </p:spPr>
        <p:txBody>
          <a:bodyPr lIns="0" tIns="91440" bIns="91440" anchor="ctr" anchorCtr="0"/>
          <a:lstStyle>
            <a:lvl1pPr marL="224361" indent="-224361">
              <a:spcBef>
                <a:spcPts val="2400"/>
              </a:spcBef>
              <a:buSzPct val="100000"/>
              <a:buFont typeface="Arial" panose="020B0604020202020204" pitchFamily="34" charset="0"/>
              <a:buChar char="•"/>
              <a:defRPr sz="2400">
                <a:latin typeface="Arial" panose="020B0604020202020204" pitchFamily="34" charset="0"/>
                <a:cs typeface="Arial" panose="020B0604020202020204" pitchFamily="34" charset="0"/>
              </a:defRPr>
            </a:lvl1pPr>
            <a:lvl2pPr marL="537620" indent="-234945">
              <a:lnSpc>
                <a:spcPct val="90000"/>
              </a:lnSpc>
              <a:spcBef>
                <a:spcPts val="0"/>
              </a:spcBef>
              <a:tabLst>
                <a:tab pos="537620" algn="l"/>
              </a:tabLst>
              <a:defRPr sz="2133">
                <a:latin typeface="Arial" panose="020B0604020202020204" pitchFamily="34" charset="0"/>
                <a:cs typeface="Arial" panose="020B0604020202020204" pitchFamily="34" charset="0"/>
              </a:defRPr>
            </a:lvl2pPr>
            <a:lvl3pPr marL="838179" indent="-222245">
              <a:lnSpc>
                <a:spcPct val="90000"/>
              </a:lnSpc>
              <a:spcBef>
                <a:spcPts val="0"/>
              </a:spcBef>
              <a:buFont typeface="Courier New" panose="02070309020205020404" pitchFamily="49" charset="0"/>
              <a:buChar char="o"/>
              <a:defRPr sz="1867">
                <a:solidFill>
                  <a:srgbClr val="000000"/>
                </a:solidFill>
                <a:latin typeface="Arial" panose="020B0604020202020204" pitchFamily="34" charset="0"/>
                <a:cs typeface="Arial" panose="020B0604020202020204" pitchFamily="34" charset="0"/>
              </a:defRPr>
            </a:lvl3pPr>
            <a:lvl4pPr marL="1979035" indent="-222245">
              <a:lnSpc>
                <a:spcPct val="90000"/>
              </a:lnSpc>
              <a:spcBef>
                <a:spcPts val="0"/>
              </a:spcBef>
              <a:buFont typeface="Arial" panose="020B0604020202020204" pitchFamily="34" charset="0"/>
              <a:buChar char="»"/>
              <a:defRPr lang="en-US" sz="2400" kern="1200" dirty="0" smtClean="0">
                <a:solidFill>
                  <a:srgbClr val="646464"/>
                </a:solidFill>
                <a:latin typeface="Arial" panose="020B0604020202020204" pitchFamily="34" charset="0"/>
                <a:ea typeface="+mn-ea"/>
                <a:cs typeface="Arial" panose="020B0604020202020204" pitchFamily="34" charset="0"/>
              </a:defRPr>
            </a:lvl4pPr>
            <a:lvl5pPr>
              <a:defRPr sz="2133">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4" name="Text Placeholder 4"/>
          <p:cNvSpPr>
            <a:spLocks noGrp="1"/>
          </p:cNvSpPr>
          <p:nvPr>
            <p:ph type="body" sz="quarter" idx="11" hasCustomPrompt="1"/>
          </p:nvPr>
        </p:nvSpPr>
        <p:spPr>
          <a:xfrm>
            <a:off x="600428" y="881767"/>
            <a:ext cx="10972800" cy="366932"/>
          </a:xfrm>
        </p:spPr>
        <p:txBody>
          <a:bodyPr/>
          <a:lstStyle>
            <a:lvl1pPr marL="0" indent="0">
              <a:buNone/>
              <a:defRPr sz="2667" baseline="0"/>
            </a:lvl1pPr>
            <a:lvl2pPr marL="302675" indent="0">
              <a:buNone/>
              <a:defRPr/>
            </a:lvl2pPr>
          </a:lstStyle>
          <a:p>
            <a:pPr lvl="0"/>
            <a:r>
              <a:rPr lang="en-US" dirty="0"/>
              <a:t>Sub-header optional—delete if not needed</a:t>
            </a:r>
          </a:p>
        </p:txBody>
      </p:sp>
      <p:sp>
        <p:nvSpPr>
          <p:cNvPr id="5" name="Text Placeholder 5"/>
          <p:cNvSpPr>
            <a:spLocks noGrp="1"/>
          </p:cNvSpPr>
          <p:nvPr>
            <p:ph type="body" sz="quarter" idx="14" hasCustomPrompt="1"/>
          </p:nvPr>
        </p:nvSpPr>
        <p:spPr>
          <a:xfrm>
            <a:off x="3138793" y="6560363"/>
            <a:ext cx="5927388" cy="214955"/>
          </a:xfrm>
        </p:spPr>
        <p:txBody>
          <a:bodyPr/>
          <a:lstStyle>
            <a:lvl1pPr marL="0" indent="0" algn="ctr">
              <a:buNone/>
              <a:defRPr sz="933" baseline="0"/>
            </a:lvl1pPr>
          </a:lstStyle>
          <a:p>
            <a:pPr lvl="0"/>
            <a:r>
              <a:rPr lang="en-US" dirty="0"/>
              <a:t>For internal use only.</a:t>
            </a:r>
          </a:p>
        </p:txBody>
      </p:sp>
      <p:sp>
        <p:nvSpPr>
          <p:cNvPr id="6" name="Chart Placeholder 5"/>
          <p:cNvSpPr>
            <a:spLocks noGrp="1"/>
          </p:cNvSpPr>
          <p:nvPr>
            <p:ph type="chart" sz="quarter" idx="15" hasCustomPrompt="1"/>
          </p:nvPr>
        </p:nvSpPr>
        <p:spPr>
          <a:xfrm>
            <a:off x="6297435" y="1538288"/>
            <a:ext cx="5287084" cy="4652963"/>
          </a:xfrm>
        </p:spPr>
        <p:txBody>
          <a:bodyPr tIns="914400"/>
          <a:lstStyle>
            <a:lvl1pPr marL="0" indent="0" algn="ctr">
              <a:spcBef>
                <a:spcPts val="0"/>
              </a:spcBef>
              <a:buNone/>
              <a:defRPr sz="1600" baseline="0"/>
            </a:lvl1pPr>
          </a:lstStyle>
          <a:p>
            <a:r>
              <a:rPr lang="en-US" dirty="0"/>
              <a:t>CLICK ▲ ICON                </a:t>
            </a:r>
          </a:p>
          <a:p>
            <a:r>
              <a:rPr lang="en-US" dirty="0"/>
              <a:t>to insert chart of graph</a:t>
            </a:r>
          </a:p>
        </p:txBody>
      </p:sp>
      <p:sp>
        <p:nvSpPr>
          <p:cNvPr id="7" name="Title 1"/>
          <p:cNvSpPr>
            <a:spLocks noGrp="1"/>
          </p:cNvSpPr>
          <p:nvPr>
            <p:ph type="title" hasCustomPrompt="1"/>
          </p:nvPr>
        </p:nvSpPr>
        <p:spPr>
          <a:xfrm>
            <a:off x="609600" y="227013"/>
            <a:ext cx="10962219" cy="498475"/>
          </a:xfrm>
        </p:spPr>
        <p:txBody>
          <a:bodyPr/>
          <a:lstStyle>
            <a:lvl1pPr>
              <a:defRPr baseline="0"/>
            </a:lvl1pPr>
          </a:lstStyle>
          <a:p>
            <a:r>
              <a:rPr lang="en-US" dirty="0"/>
              <a:t>Text and chart layout</a:t>
            </a:r>
          </a:p>
        </p:txBody>
      </p:sp>
    </p:spTree>
    <p:extLst>
      <p:ext uri="{BB962C8B-B14F-4D97-AF65-F5344CB8AC3E}">
        <p14:creationId xmlns:p14="http://schemas.microsoft.com/office/powerpoint/2010/main" val="13481167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secHead" preserve="1">
  <p:cSld name="Section Header 2">
    <p:bg>
      <p:bgPr>
        <a:solidFill>
          <a:srgbClr val="9AE6FF"/>
        </a:solidFill>
        <a:effectLst/>
      </p:bgPr>
    </p:bg>
    <p:spTree>
      <p:nvGrpSpPr>
        <p:cNvPr id="1" name=""/>
        <p:cNvGrpSpPr/>
        <p:nvPr/>
      </p:nvGrpSpPr>
      <p:grpSpPr>
        <a:xfrm>
          <a:off x="0" y="0"/>
          <a:ext cx="0" cy="0"/>
          <a:chOff x="0" y="0"/>
          <a:chExt cx="0" cy="0"/>
        </a:xfrm>
      </p:grpSpPr>
      <p:sp>
        <p:nvSpPr>
          <p:cNvPr id="10" name="Graphic 8">
            <a:extLst>
              <a:ext uri="{FF2B5EF4-FFF2-40B4-BE49-F238E27FC236}">
                <a16:creationId xmlns:a16="http://schemas.microsoft.com/office/drawing/2014/main" id="{3C511D3F-2071-ED45-989E-68FC6B425F31}"/>
              </a:ext>
            </a:extLst>
          </p:cNvPr>
          <p:cNvSpPr/>
          <p:nvPr/>
        </p:nvSpPr>
        <p:spPr>
          <a:xfrm>
            <a:off x="0" y="0"/>
            <a:ext cx="11492539" cy="6858127"/>
          </a:xfrm>
          <a:custGeom>
            <a:avLst/>
            <a:gdLst>
              <a:gd name="connsiteX0" fmla="*/ 11487961 w 11492539"/>
              <a:gd name="connsiteY0" fmla="*/ 3235325 h 6858127"/>
              <a:gd name="connsiteX1" fmla="*/ 10893784 w 11492539"/>
              <a:gd name="connsiteY1" fmla="*/ 719201 h 6858127"/>
              <a:gd name="connsiteX2" fmla="*/ 10376767 w 11492539"/>
              <a:gd name="connsiteY2" fmla="*/ 0 h 6858127"/>
              <a:gd name="connsiteX3" fmla="*/ 0 w 11492539"/>
              <a:gd name="connsiteY3" fmla="*/ 0 h 6858127"/>
              <a:gd name="connsiteX4" fmla="*/ 0 w 11492539"/>
              <a:gd name="connsiteY4" fmla="*/ 2732786 h 6858127"/>
              <a:gd name="connsiteX5" fmla="*/ 1632780 w 11492539"/>
              <a:gd name="connsiteY5" fmla="*/ 1555623 h 6858127"/>
              <a:gd name="connsiteX6" fmla="*/ 4061898 w 11492539"/>
              <a:gd name="connsiteY6" fmla="*/ 555752 h 6858127"/>
              <a:gd name="connsiteX7" fmla="*/ 5911307 w 11492539"/>
              <a:gd name="connsiteY7" fmla="*/ 311785 h 6858127"/>
              <a:gd name="connsiteX8" fmla="*/ 6309667 w 11492539"/>
              <a:gd name="connsiteY8" fmla="*/ 324485 h 6858127"/>
              <a:gd name="connsiteX9" fmla="*/ 9107575 w 11492539"/>
              <a:gd name="connsiteY9" fmla="*/ 1751203 h 6858127"/>
              <a:gd name="connsiteX10" fmla="*/ 9107575 w 11492539"/>
              <a:gd name="connsiteY10" fmla="*/ 1751203 h 6858127"/>
              <a:gd name="connsiteX11" fmla="*/ 8943231 w 11492539"/>
              <a:gd name="connsiteY11" fmla="*/ 4889500 h 6858127"/>
              <a:gd name="connsiteX12" fmla="*/ 7619215 w 11492539"/>
              <a:gd name="connsiteY12" fmla="*/ 6721983 h 6858127"/>
              <a:gd name="connsiteX13" fmla="*/ 7483425 w 11492539"/>
              <a:gd name="connsiteY13" fmla="*/ 6858127 h 6858127"/>
              <a:gd name="connsiteX14" fmla="*/ 10171814 w 11492539"/>
              <a:gd name="connsiteY14" fmla="*/ 6858127 h 6858127"/>
              <a:gd name="connsiteX15" fmla="*/ 10792133 w 11492539"/>
              <a:gd name="connsiteY15" fmla="*/ 5804027 h 6858127"/>
              <a:gd name="connsiteX16" fmla="*/ 11487961 w 11492539"/>
              <a:gd name="connsiteY16" fmla="*/ 3235325 h 6858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92539" h="6858127">
                <a:moveTo>
                  <a:pt x="11487961" y="3235325"/>
                </a:moveTo>
                <a:cubicBezTo>
                  <a:pt x="11526033" y="2315718"/>
                  <a:pt x="11326536" y="1469136"/>
                  <a:pt x="10893784" y="719201"/>
                </a:cubicBezTo>
                <a:cubicBezTo>
                  <a:pt x="10746055" y="462676"/>
                  <a:pt x="10572839" y="221722"/>
                  <a:pt x="10376767" y="0"/>
                </a:cubicBezTo>
                <a:lnTo>
                  <a:pt x="0" y="0"/>
                </a:lnTo>
                <a:lnTo>
                  <a:pt x="0" y="2732786"/>
                </a:lnTo>
                <a:cubicBezTo>
                  <a:pt x="502430" y="2285339"/>
                  <a:pt x="1049577" y="1890870"/>
                  <a:pt x="1632780" y="1555623"/>
                </a:cubicBezTo>
                <a:cubicBezTo>
                  <a:pt x="2416808" y="1102614"/>
                  <a:pt x="3234086" y="766191"/>
                  <a:pt x="4061898" y="555752"/>
                </a:cubicBezTo>
                <a:cubicBezTo>
                  <a:pt x="4700238" y="393700"/>
                  <a:pt x="5320430" y="311785"/>
                  <a:pt x="5911307" y="311785"/>
                </a:cubicBezTo>
                <a:cubicBezTo>
                  <a:pt x="6045574" y="311785"/>
                  <a:pt x="6178361" y="316018"/>
                  <a:pt x="6309667" y="324485"/>
                </a:cubicBezTo>
                <a:cubicBezTo>
                  <a:pt x="7632413" y="409829"/>
                  <a:pt x="8626091" y="916559"/>
                  <a:pt x="9107575" y="1751203"/>
                </a:cubicBezTo>
                <a:lnTo>
                  <a:pt x="9107575" y="1751203"/>
                </a:lnTo>
                <a:cubicBezTo>
                  <a:pt x="9589058" y="2585847"/>
                  <a:pt x="9530682" y="3700272"/>
                  <a:pt x="8943231" y="4889500"/>
                </a:cubicBezTo>
                <a:cubicBezTo>
                  <a:pt x="8628757" y="5526024"/>
                  <a:pt x="8183315" y="6142482"/>
                  <a:pt x="7619215" y="6721983"/>
                </a:cubicBezTo>
                <a:cubicBezTo>
                  <a:pt x="7574544" y="6767831"/>
                  <a:pt x="7529238" y="6813043"/>
                  <a:pt x="7483425" y="6858127"/>
                </a:cubicBezTo>
                <a:lnTo>
                  <a:pt x="10171814" y="6858127"/>
                </a:lnTo>
                <a:cubicBezTo>
                  <a:pt x="10403421" y="6522001"/>
                  <a:pt x="10610723" y="6169737"/>
                  <a:pt x="10792133" y="5804027"/>
                </a:cubicBezTo>
                <a:cubicBezTo>
                  <a:pt x="11218539" y="4940300"/>
                  <a:pt x="11452935" y="4076700"/>
                  <a:pt x="11487961" y="3235325"/>
                </a:cubicBezTo>
                <a:close/>
              </a:path>
            </a:pathLst>
          </a:custGeom>
          <a:gradFill flip="none" rotWithShape="1">
            <a:gsLst>
              <a:gs pos="0">
                <a:schemeClr val="accent2">
                  <a:alpha val="20000"/>
                </a:schemeClr>
              </a:gs>
              <a:gs pos="100000">
                <a:schemeClr val="accent2"/>
              </a:gs>
            </a:gsLst>
            <a:lin ang="0" scaled="1"/>
            <a:tileRect/>
          </a:gradFill>
          <a:ln w="12689" cap="flat">
            <a:noFill/>
            <a:prstDash val="solid"/>
            <a:miter/>
          </a:ln>
        </p:spPr>
        <p:txBody>
          <a:bodyPr rtlCol="0" anchor="ctr"/>
          <a:lstStyle/>
          <a:p>
            <a:endParaRPr lang="en-US" dirty="0"/>
          </a:p>
        </p:txBody>
      </p:sp>
      <p:graphicFrame>
        <p:nvGraphicFramePr>
          <p:cNvPr id="8" name="Object 7" hidden="1">
            <a:extLst>
              <a:ext uri="{FF2B5EF4-FFF2-40B4-BE49-F238E27FC236}">
                <a16:creationId xmlns:a16="http://schemas.microsoft.com/office/drawing/2014/main" id="{2219E1F1-2441-0547-8275-12DA6BCE99A5}"/>
              </a:ext>
            </a:extLst>
          </p:cNvPr>
          <p:cNvGraphicFramePr>
            <a:graphicFrameLocks noChangeAspect="1"/>
          </p:cNvGraphicFramePr>
          <p:nvPr>
            <p:custDataLst>
              <p:tags r:id="rId2"/>
            </p:custDataLst>
            <p:extLst>
              <p:ext uri="{D42A27DB-BD31-4B8C-83A1-F6EECF244321}">
                <p14:modId xmlns:p14="http://schemas.microsoft.com/office/powerpoint/2010/main" val="141256906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2553"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2219E1F1-2441-0547-8275-12DA6BCE99A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hasCustomPrompt="1"/>
          </p:nvPr>
        </p:nvSpPr>
        <p:spPr>
          <a:xfrm>
            <a:off x="685800" y="2940581"/>
            <a:ext cx="10820400" cy="1362075"/>
          </a:xfrm>
        </p:spPr>
        <p:txBody>
          <a:bodyPr vert="horz" anchor="t"/>
          <a:lstStyle>
            <a:lvl1pPr algn="l">
              <a:defRPr sz="4800" b="1" cap="none">
                <a:solidFill>
                  <a:schemeClr val="tx2"/>
                </a:solidFill>
              </a:defRPr>
            </a:lvl1pPr>
          </a:lstStyle>
          <a:p>
            <a:r>
              <a:rPr lang="en-US"/>
              <a:t>Click to add chapter title</a:t>
            </a:r>
          </a:p>
        </p:txBody>
      </p:sp>
      <p:sp>
        <p:nvSpPr>
          <p:cNvPr id="3" name="Text Placeholder 2"/>
          <p:cNvSpPr>
            <a:spLocks noGrp="1"/>
          </p:cNvSpPr>
          <p:nvPr>
            <p:ph type="body" idx="1" hasCustomPrompt="1"/>
          </p:nvPr>
        </p:nvSpPr>
        <p:spPr>
          <a:xfrm>
            <a:off x="685800" y="372530"/>
            <a:ext cx="1921933" cy="1362075"/>
          </a:xfrm>
        </p:spPr>
        <p:txBody>
          <a:bodyPr anchor="t"/>
          <a:lstStyle>
            <a:lvl1pPr marL="0" indent="0">
              <a:lnSpc>
                <a:spcPts val="9600"/>
              </a:lnSpc>
              <a:buNone/>
              <a:defRPr sz="96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a:t>
            </a:r>
          </a:p>
        </p:txBody>
      </p:sp>
      <p:pic>
        <p:nvPicPr>
          <p:cNvPr id="11" name="Graphic 10">
            <a:extLst>
              <a:ext uri="{FF2B5EF4-FFF2-40B4-BE49-F238E27FC236}">
                <a16:creationId xmlns:a16="http://schemas.microsoft.com/office/drawing/2014/main" id="{B607C2F5-FD74-744A-B328-1C68348DE69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85800" y="6345528"/>
            <a:ext cx="1377950" cy="294075"/>
          </a:xfrm>
          <a:prstGeom prst="rect">
            <a:avLst/>
          </a:prstGeom>
        </p:spPr>
      </p:pic>
      <p:sp>
        <p:nvSpPr>
          <p:cNvPr id="12" name="TextBox 11">
            <a:extLst>
              <a:ext uri="{FF2B5EF4-FFF2-40B4-BE49-F238E27FC236}">
                <a16:creationId xmlns:a16="http://schemas.microsoft.com/office/drawing/2014/main" id="{905F9B49-F9DD-9445-B754-3E4743DAACF1}"/>
              </a:ext>
            </a:extLst>
          </p:cNvPr>
          <p:cNvSpPr txBox="1"/>
          <p:nvPr/>
        </p:nvSpPr>
        <p:spPr>
          <a:xfrm>
            <a:off x="8601075" y="6368176"/>
            <a:ext cx="2223686" cy="246221"/>
          </a:xfrm>
          <a:prstGeom prst="rect">
            <a:avLst/>
          </a:prstGeom>
          <a:noFill/>
        </p:spPr>
        <p:txBody>
          <a:bodyPr wrap="none" lIns="0" tIns="0" rIns="0" bIns="0" rtlCol="0" anchor="b">
            <a:noAutofit/>
          </a:bodyPr>
          <a:lstStyle/>
          <a:p>
            <a:pPr algn="r"/>
            <a:r>
              <a:rPr lang="en-US" sz="1000" dirty="0">
                <a:solidFill>
                  <a:schemeClr val="tx1"/>
                </a:solidFill>
              </a:rPr>
              <a:t>Confidential—do not copy or distribute</a:t>
            </a:r>
          </a:p>
        </p:txBody>
      </p:sp>
      <p:sp>
        <p:nvSpPr>
          <p:cNvPr id="13" name="TextBox 12">
            <a:extLst>
              <a:ext uri="{FF2B5EF4-FFF2-40B4-BE49-F238E27FC236}">
                <a16:creationId xmlns:a16="http://schemas.microsoft.com/office/drawing/2014/main" id="{7E679624-3C66-4444-B406-9C3376A5AE36}"/>
              </a:ext>
            </a:extLst>
          </p:cNvPr>
          <p:cNvSpPr txBox="1"/>
          <p:nvPr/>
        </p:nvSpPr>
        <p:spPr>
          <a:xfrm>
            <a:off x="11162512" y="6368176"/>
            <a:ext cx="335349" cy="246221"/>
          </a:xfrm>
          <a:prstGeom prst="rect">
            <a:avLst/>
          </a:prstGeom>
          <a:noFill/>
        </p:spPr>
        <p:txBody>
          <a:bodyPr wrap="none" lIns="0" tIns="0" rIns="0" bIns="0" rtlCol="0" anchor="b">
            <a:noAutofit/>
          </a:bodyPr>
          <a:lstStyle/>
          <a:p>
            <a:pPr algn="r"/>
            <a:fld id="{25DB8DF5-C232-BC4C-8CE4-28A3F4FC6C77}" type="slidenum">
              <a:rPr lang="en-US" sz="1000" smtClean="0">
                <a:solidFill>
                  <a:schemeClr val="tx1"/>
                </a:solidFill>
              </a:rPr>
              <a:t>‹#›</a:t>
            </a:fld>
            <a:endParaRPr lang="en-US" sz="1000" dirty="0">
              <a:solidFill>
                <a:schemeClr val="tx1"/>
              </a:solidFill>
            </a:endParaRPr>
          </a:p>
        </p:txBody>
      </p:sp>
    </p:spTree>
    <p:extLst>
      <p:ext uri="{BB962C8B-B14F-4D97-AF65-F5344CB8AC3E}">
        <p14:creationId xmlns:p14="http://schemas.microsoft.com/office/powerpoint/2010/main" val="5023423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HART or GRAPH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Graph layout visually communicates the message</a:t>
            </a:r>
          </a:p>
        </p:txBody>
      </p:sp>
      <p:sp>
        <p:nvSpPr>
          <p:cNvPr id="4" name="Chart Placeholder 3"/>
          <p:cNvSpPr>
            <a:spLocks noGrp="1"/>
          </p:cNvSpPr>
          <p:nvPr>
            <p:ph type="chart" sz="quarter" idx="10"/>
          </p:nvPr>
        </p:nvSpPr>
        <p:spPr>
          <a:xfrm>
            <a:off x="611717" y="1530351"/>
            <a:ext cx="10972800" cy="4660899"/>
          </a:xfrm>
        </p:spPr>
        <p:txBody>
          <a:bodyPr lIns="91440" tIns="640080" rIns="365760" bIns="365760"/>
          <a:lstStyle>
            <a:lvl1pPr marL="0" indent="156629" algn="ctr">
              <a:spcBef>
                <a:spcPts val="0"/>
              </a:spcBef>
              <a:buNone/>
              <a:defRPr sz="1600" baseline="0"/>
            </a:lvl1pPr>
          </a:lstStyle>
          <a:p>
            <a:endParaRPr lang="en-US" dirty="0"/>
          </a:p>
          <a:p>
            <a:endParaRPr lang="en-US" dirty="0"/>
          </a:p>
          <a:p>
            <a:endParaRPr lang="en-US" dirty="0"/>
          </a:p>
          <a:p>
            <a:r>
              <a:rPr lang="en-US" dirty="0"/>
              <a:t>CLICK ▲ ICON </a:t>
            </a:r>
          </a:p>
          <a:p>
            <a:r>
              <a:rPr lang="en-US" dirty="0"/>
              <a:t>to select chart type and insert</a:t>
            </a:r>
          </a:p>
        </p:txBody>
      </p:sp>
      <p:sp>
        <p:nvSpPr>
          <p:cNvPr id="5" name="Text Placeholder 4"/>
          <p:cNvSpPr>
            <a:spLocks noGrp="1"/>
          </p:cNvSpPr>
          <p:nvPr>
            <p:ph type="body" sz="quarter" idx="11" hasCustomPrompt="1"/>
          </p:nvPr>
        </p:nvSpPr>
        <p:spPr>
          <a:xfrm>
            <a:off x="611717" y="881767"/>
            <a:ext cx="10972800" cy="366932"/>
          </a:xfrm>
        </p:spPr>
        <p:txBody>
          <a:bodyPr/>
          <a:lstStyle>
            <a:lvl1pPr marL="0" indent="0">
              <a:buNone/>
              <a:defRPr sz="2667" baseline="0"/>
            </a:lvl1pPr>
            <a:lvl2pPr marL="302675" indent="0">
              <a:buNone/>
              <a:defRPr/>
            </a:lvl2pPr>
          </a:lstStyle>
          <a:p>
            <a:pPr lvl="0"/>
            <a:r>
              <a:rPr lang="en-US" dirty="0"/>
              <a:t>Sub-header optional—delete if not needed</a:t>
            </a:r>
          </a:p>
        </p:txBody>
      </p:sp>
      <p:sp>
        <p:nvSpPr>
          <p:cNvPr id="6" name="Text Placeholder 5"/>
          <p:cNvSpPr>
            <a:spLocks noGrp="1"/>
          </p:cNvSpPr>
          <p:nvPr>
            <p:ph type="body" sz="quarter" idx="14" hasCustomPrompt="1"/>
          </p:nvPr>
        </p:nvSpPr>
        <p:spPr>
          <a:xfrm>
            <a:off x="3138793" y="6560363"/>
            <a:ext cx="5927388" cy="214955"/>
          </a:xfrm>
        </p:spPr>
        <p:txBody>
          <a:bodyPr/>
          <a:lstStyle>
            <a:lvl1pPr marL="0" indent="0" algn="ctr">
              <a:buNone/>
              <a:defRPr sz="933" baseline="0"/>
            </a:lvl1pPr>
          </a:lstStyle>
          <a:p>
            <a:pPr lvl="0"/>
            <a:r>
              <a:rPr lang="en-US" dirty="0"/>
              <a:t>For internal use only.</a:t>
            </a:r>
          </a:p>
        </p:txBody>
      </p:sp>
    </p:spTree>
    <p:extLst>
      <p:ext uri="{BB962C8B-B14F-4D97-AF65-F5344CB8AC3E}">
        <p14:creationId xmlns:p14="http://schemas.microsoft.com/office/powerpoint/2010/main" val="146058871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images and text">
    <p:spTree>
      <p:nvGrpSpPr>
        <p:cNvPr id="1" name=""/>
        <p:cNvGrpSpPr/>
        <p:nvPr/>
      </p:nvGrpSpPr>
      <p:grpSpPr>
        <a:xfrm>
          <a:off x="0" y="0"/>
          <a:ext cx="0" cy="0"/>
          <a:chOff x="0" y="0"/>
          <a:chExt cx="0" cy="0"/>
        </a:xfrm>
      </p:grpSpPr>
      <p:grpSp>
        <p:nvGrpSpPr>
          <p:cNvPr id="8" name="Group 7"/>
          <p:cNvGrpSpPr/>
          <p:nvPr userDrawn="1"/>
        </p:nvGrpSpPr>
        <p:grpSpPr>
          <a:xfrm>
            <a:off x="737514" y="1850529"/>
            <a:ext cx="2419644" cy="4028971"/>
            <a:chOff x="553135" y="1387897"/>
            <a:chExt cx="1814733" cy="3021728"/>
          </a:xfrm>
        </p:grpSpPr>
        <p:sp>
          <p:nvSpPr>
            <p:cNvPr id="12" name="Rectangle 11"/>
            <p:cNvSpPr/>
            <p:nvPr userDrawn="1"/>
          </p:nvSpPr>
          <p:spPr>
            <a:xfrm>
              <a:off x="553135" y="1387897"/>
              <a:ext cx="1814733" cy="1097279"/>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7" name="Rectangle 16"/>
            <p:cNvSpPr/>
            <p:nvPr userDrawn="1"/>
          </p:nvSpPr>
          <p:spPr>
            <a:xfrm>
              <a:off x="553135" y="3312346"/>
              <a:ext cx="1814733" cy="1097279"/>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nvGrpSpPr>
            <p:cNvPr id="26" name="Group 25"/>
            <p:cNvGrpSpPr/>
            <p:nvPr userDrawn="1"/>
          </p:nvGrpSpPr>
          <p:grpSpPr>
            <a:xfrm>
              <a:off x="1005539" y="3403852"/>
              <a:ext cx="909923" cy="457133"/>
              <a:chOff x="1751012" y="1069975"/>
              <a:chExt cx="2359025" cy="1143001"/>
            </a:xfrm>
            <a:solidFill>
              <a:schemeClr val="bg1">
                <a:lumMod val="50000"/>
              </a:schemeClr>
            </a:solidFill>
          </p:grpSpPr>
          <p:sp>
            <p:nvSpPr>
              <p:cNvPr id="27" name="Freeform 30"/>
              <p:cNvSpPr>
                <a:spLocks/>
              </p:cNvSpPr>
              <p:nvPr/>
            </p:nvSpPr>
            <p:spPr bwMode="auto">
              <a:xfrm>
                <a:off x="2827338" y="1069975"/>
                <a:ext cx="1068387" cy="752475"/>
              </a:xfrm>
              <a:custGeom>
                <a:avLst/>
                <a:gdLst>
                  <a:gd name="T0" fmla="*/ 19 w 285"/>
                  <a:gd name="T1" fmla="*/ 61 h 201"/>
                  <a:gd name="T2" fmla="*/ 56 w 285"/>
                  <a:gd name="T3" fmla="*/ 92 h 201"/>
                  <a:gd name="T4" fmla="*/ 74 w 285"/>
                  <a:gd name="T5" fmla="*/ 83 h 201"/>
                  <a:gd name="T6" fmla="*/ 130 w 285"/>
                  <a:gd name="T7" fmla="*/ 122 h 201"/>
                  <a:gd name="T8" fmla="*/ 151 w 285"/>
                  <a:gd name="T9" fmla="*/ 110 h 201"/>
                  <a:gd name="T10" fmla="*/ 152 w 285"/>
                  <a:gd name="T11" fmla="*/ 111 h 201"/>
                  <a:gd name="T12" fmla="*/ 253 w 285"/>
                  <a:gd name="T13" fmla="*/ 184 h 201"/>
                  <a:gd name="T14" fmla="*/ 279 w 285"/>
                  <a:gd name="T15" fmla="*/ 201 h 201"/>
                  <a:gd name="T16" fmla="*/ 285 w 285"/>
                  <a:gd name="T17" fmla="*/ 157 h 201"/>
                  <a:gd name="T18" fmla="*/ 128 w 285"/>
                  <a:gd name="T19" fmla="*/ 0 h 201"/>
                  <a:gd name="T20" fmla="*/ 0 w 285"/>
                  <a:gd name="T21" fmla="*/ 66 h 201"/>
                  <a:gd name="T22" fmla="*/ 2 w 285"/>
                  <a:gd name="T23" fmla="*/ 67 h 201"/>
                  <a:gd name="T24" fmla="*/ 19 w 285"/>
                  <a:gd name="T25" fmla="*/ 6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5" h="201">
                    <a:moveTo>
                      <a:pt x="19" y="61"/>
                    </a:moveTo>
                    <a:cubicBezTo>
                      <a:pt x="56" y="92"/>
                      <a:pt x="56" y="92"/>
                      <a:pt x="56" y="92"/>
                    </a:cubicBezTo>
                    <a:cubicBezTo>
                      <a:pt x="74" y="83"/>
                      <a:pt x="74" y="83"/>
                      <a:pt x="74" y="83"/>
                    </a:cubicBezTo>
                    <a:cubicBezTo>
                      <a:pt x="130" y="122"/>
                      <a:pt x="130" y="122"/>
                      <a:pt x="130" y="122"/>
                    </a:cubicBezTo>
                    <a:cubicBezTo>
                      <a:pt x="151" y="110"/>
                      <a:pt x="151" y="110"/>
                      <a:pt x="151" y="110"/>
                    </a:cubicBezTo>
                    <a:cubicBezTo>
                      <a:pt x="152" y="111"/>
                      <a:pt x="152" y="111"/>
                      <a:pt x="152" y="111"/>
                    </a:cubicBezTo>
                    <a:cubicBezTo>
                      <a:pt x="187" y="140"/>
                      <a:pt x="227" y="166"/>
                      <a:pt x="253" y="184"/>
                    </a:cubicBezTo>
                    <a:cubicBezTo>
                      <a:pt x="267" y="193"/>
                      <a:pt x="275" y="198"/>
                      <a:pt x="279" y="201"/>
                    </a:cubicBezTo>
                    <a:cubicBezTo>
                      <a:pt x="283" y="187"/>
                      <a:pt x="285" y="173"/>
                      <a:pt x="285" y="157"/>
                    </a:cubicBezTo>
                    <a:cubicBezTo>
                      <a:pt x="285" y="70"/>
                      <a:pt x="215" y="0"/>
                      <a:pt x="128" y="0"/>
                    </a:cubicBezTo>
                    <a:cubicBezTo>
                      <a:pt x="75" y="0"/>
                      <a:pt x="29" y="26"/>
                      <a:pt x="0" y="66"/>
                    </a:cubicBezTo>
                    <a:cubicBezTo>
                      <a:pt x="2" y="67"/>
                      <a:pt x="2" y="67"/>
                      <a:pt x="2" y="67"/>
                    </a:cubicBezTo>
                    <a:lnTo>
                      <a:pt x="19"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28" name="Freeform 31"/>
              <p:cNvSpPr>
                <a:spLocks noEditPoints="1"/>
              </p:cNvSpPr>
              <p:nvPr/>
            </p:nvSpPr>
            <p:spPr bwMode="auto">
              <a:xfrm>
                <a:off x="1751012" y="1208088"/>
                <a:ext cx="2359025" cy="1004888"/>
              </a:xfrm>
              <a:custGeom>
                <a:avLst/>
                <a:gdLst>
                  <a:gd name="T0" fmla="*/ 540 w 629"/>
                  <a:gd name="T1" fmla="*/ 154 h 268"/>
                  <a:gd name="T2" fmla="*/ 438 w 629"/>
                  <a:gd name="T3" fmla="*/ 80 h 268"/>
                  <a:gd name="T4" fmla="*/ 361 w 629"/>
                  <a:gd name="T5" fmla="*/ 54 h 268"/>
                  <a:gd name="T6" fmla="*/ 306 w 629"/>
                  <a:gd name="T7" fmla="*/ 31 h 268"/>
                  <a:gd name="T8" fmla="*/ 233 w 629"/>
                  <a:gd name="T9" fmla="*/ 0 h 268"/>
                  <a:gd name="T10" fmla="*/ 190 w 629"/>
                  <a:gd name="T11" fmla="*/ 29 h 268"/>
                  <a:gd name="T12" fmla="*/ 44 w 629"/>
                  <a:gd name="T13" fmla="*/ 163 h 268"/>
                  <a:gd name="T14" fmla="*/ 92 w 629"/>
                  <a:gd name="T15" fmla="*/ 149 h 268"/>
                  <a:gd name="T16" fmla="*/ 110 w 629"/>
                  <a:gd name="T17" fmla="*/ 116 h 268"/>
                  <a:gd name="T18" fmla="*/ 100 w 629"/>
                  <a:gd name="T19" fmla="*/ 111 h 268"/>
                  <a:gd name="T20" fmla="*/ 118 w 629"/>
                  <a:gd name="T21" fmla="*/ 83 h 268"/>
                  <a:gd name="T22" fmla="*/ 190 w 629"/>
                  <a:gd name="T23" fmla="*/ 40 h 268"/>
                  <a:gd name="T24" fmla="*/ 250 w 629"/>
                  <a:gd name="T25" fmla="*/ 49 h 268"/>
                  <a:gd name="T26" fmla="*/ 282 w 629"/>
                  <a:gd name="T27" fmla="*/ 64 h 268"/>
                  <a:gd name="T28" fmla="*/ 303 w 629"/>
                  <a:gd name="T29" fmla="*/ 65 h 268"/>
                  <a:gd name="T30" fmla="*/ 308 w 629"/>
                  <a:gd name="T31" fmla="*/ 39 h 268"/>
                  <a:gd name="T32" fmla="*/ 348 w 629"/>
                  <a:gd name="T33" fmla="*/ 67 h 268"/>
                  <a:gd name="T34" fmla="*/ 408 w 629"/>
                  <a:gd name="T35" fmla="*/ 132 h 268"/>
                  <a:gd name="T36" fmla="*/ 442 w 629"/>
                  <a:gd name="T37" fmla="*/ 139 h 268"/>
                  <a:gd name="T38" fmla="*/ 463 w 629"/>
                  <a:gd name="T39" fmla="*/ 132 h 268"/>
                  <a:gd name="T40" fmla="*/ 519 w 629"/>
                  <a:gd name="T41" fmla="*/ 150 h 268"/>
                  <a:gd name="T42" fmla="*/ 376 w 629"/>
                  <a:gd name="T43" fmla="*/ 185 h 268"/>
                  <a:gd name="T44" fmla="*/ 81 w 629"/>
                  <a:gd name="T45" fmla="*/ 268 h 268"/>
                  <a:gd name="T46" fmla="*/ 108 w 629"/>
                  <a:gd name="T47" fmla="*/ 217 h 268"/>
                  <a:gd name="T48" fmla="*/ 163 w 629"/>
                  <a:gd name="T49" fmla="*/ 219 h 268"/>
                  <a:gd name="T50" fmla="*/ 390 w 629"/>
                  <a:gd name="T51" fmla="*/ 268 h 268"/>
                  <a:gd name="T52" fmla="*/ 613 w 629"/>
                  <a:gd name="T53" fmla="*/ 212 h 268"/>
                  <a:gd name="T54" fmla="*/ 41 w 629"/>
                  <a:gd name="T55" fmla="*/ 205 h 268"/>
                  <a:gd name="T56" fmla="*/ 34 w 629"/>
                  <a:gd name="T57" fmla="*/ 202 h 268"/>
                  <a:gd name="T58" fmla="*/ 41 w 629"/>
                  <a:gd name="T59" fmla="*/ 205 h 268"/>
                  <a:gd name="T60" fmla="*/ 521 w 629"/>
                  <a:gd name="T61" fmla="*/ 212 h 268"/>
                  <a:gd name="T62" fmla="*/ 581 w 629"/>
                  <a:gd name="T63" fmla="*/ 17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29" h="268">
                    <a:moveTo>
                      <a:pt x="559" y="166"/>
                    </a:moveTo>
                    <a:cubicBezTo>
                      <a:pt x="554" y="163"/>
                      <a:pt x="547" y="159"/>
                      <a:pt x="540" y="154"/>
                    </a:cubicBezTo>
                    <a:cubicBezTo>
                      <a:pt x="514" y="137"/>
                      <a:pt x="474" y="110"/>
                      <a:pt x="439" y="81"/>
                    </a:cubicBezTo>
                    <a:cubicBezTo>
                      <a:pt x="438" y="80"/>
                      <a:pt x="438" y="80"/>
                      <a:pt x="438" y="80"/>
                    </a:cubicBezTo>
                    <a:cubicBezTo>
                      <a:pt x="417" y="93"/>
                      <a:pt x="417" y="93"/>
                      <a:pt x="417" y="93"/>
                    </a:cubicBezTo>
                    <a:cubicBezTo>
                      <a:pt x="361" y="54"/>
                      <a:pt x="361" y="54"/>
                      <a:pt x="361" y="54"/>
                    </a:cubicBezTo>
                    <a:cubicBezTo>
                      <a:pt x="343" y="62"/>
                      <a:pt x="343" y="62"/>
                      <a:pt x="343" y="62"/>
                    </a:cubicBezTo>
                    <a:cubicBezTo>
                      <a:pt x="306" y="31"/>
                      <a:pt x="306" y="31"/>
                      <a:pt x="306" y="31"/>
                    </a:cubicBezTo>
                    <a:cubicBezTo>
                      <a:pt x="289" y="38"/>
                      <a:pt x="289" y="38"/>
                      <a:pt x="289" y="38"/>
                    </a:cubicBezTo>
                    <a:cubicBezTo>
                      <a:pt x="233" y="0"/>
                      <a:pt x="233" y="0"/>
                      <a:pt x="233" y="0"/>
                    </a:cubicBezTo>
                    <a:cubicBezTo>
                      <a:pt x="231" y="2"/>
                      <a:pt x="231" y="2"/>
                      <a:pt x="231" y="2"/>
                    </a:cubicBezTo>
                    <a:cubicBezTo>
                      <a:pt x="224" y="9"/>
                      <a:pt x="197" y="29"/>
                      <a:pt x="190" y="29"/>
                    </a:cubicBezTo>
                    <a:cubicBezTo>
                      <a:pt x="184" y="25"/>
                      <a:pt x="174" y="13"/>
                      <a:pt x="174" y="13"/>
                    </a:cubicBezTo>
                    <a:cubicBezTo>
                      <a:pt x="174" y="13"/>
                      <a:pt x="82" y="112"/>
                      <a:pt x="44" y="163"/>
                    </a:cubicBezTo>
                    <a:cubicBezTo>
                      <a:pt x="97" y="121"/>
                      <a:pt x="97" y="121"/>
                      <a:pt x="97" y="121"/>
                    </a:cubicBezTo>
                    <a:cubicBezTo>
                      <a:pt x="92" y="149"/>
                      <a:pt x="92" y="149"/>
                      <a:pt x="92" y="149"/>
                    </a:cubicBezTo>
                    <a:cubicBezTo>
                      <a:pt x="149" y="79"/>
                      <a:pt x="149" y="79"/>
                      <a:pt x="149" y="79"/>
                    </a:cubicBezTo>
                    <a:cubicBezTo>
                      <a:pt x="110" y="116"/>
                      <a:pt x="110" y="116"/>
                      <a:pt x="110" y="116"/>
                    </a:cubicBezTo>
                    <a:cubicBezTo>
                      <a:pt x="156" y="53"/>
                      <a:pt x="156" y="53"/>
                      <a:pt x="156" y="53"/>
                    </a:cubicBezTo>
                    <a:cubicBezTo>
                      <a:pt x="100" y="111"/>
                      <a:pt x="100" y="111"/>
                      <a:pt x="100" y="111"/>
                    </a:cubicBezTo>
                    <a:cubicBezTo>
                      <a:pt x="118" y="83"/>
                      <a:pt x="118" y="83"/>
                      <a:pt x="118" y="83"/>
                    </a:cubicBezTo>
                    <a:cubicBezTo>
                      <a:pt x="118" y="83"/>
                      <a:pt x="118" y="83"/>
                      <a:pt x="118" y="83"/>
                    </a:cubicBezTo>
                    <a:cubicBezTo>
                      <a:pt x="151" y="49"/>
                      <a:pt x="174" y="27"/>
                      <a:pt x="174" y="27"/>
                    </a:cubicBezTo>
                    <a:cubicBezTo>
                      <a:pt x="174" y="27"/>
                      <a:pt x="183" y="38"/>
                      <a:pt x="190" y="40"/>
                    </a:cubicBezTo>
                    <a:cubicBezTo>
                      <a:pt x="199" y="35"/>
                      <a:pt x="222" y="20"/>
                      <a:pt x="222" y="20"/>
                    </a:cubicBezTo>
                    <a:cubicBezTo>
                      <a:pt x="250" y="49"/>
                      <a:pt x="250" y="49"/>
                      <a:pt x="250" y="49"/>
                    </a:cubicBezTo>
                    <a:cubicBezTo>
                      <a:pt x="240" y="21"/>
                      <a:pt x="240" y="21"/>
                      <a:pt x="240" y="21"/>
                    </a:cubicBezTo>
                    <a:cubicBezTo>
                      <a:pt x="282" y="64"/>
                      <a:pt x="282" y="64"/>
                      <a:pt x="282" y="64"/>
                    </a:cubicBezTo>
                    <a:cubicBezTo>
                      <a:pt x="274" y="43"/>
                      <a:pt x="274" y="43"/>
                      <a:pt x="274" y="43"/>
                    </a:cubicBezTo>
                    <a:cubicBezTo>
                      <a:pt x="303" y="65"/>
                      <a:pt x="303" y="65"/>
                      <a:pt x="303" y="65"/>
                    </a:cubicBezTo>
                    <a:cubicBezTo>
                      <a:pt x="296" y="47"/>
                      <a:pt x="296" y="47"/>
                      <a:pt x="296" y="47"/>
                    </a:cubicBezTo>
                    <a:cubicBezTo>
                      <a:pt x="308" y="39"/>
                      <a:pt x="308" y="39"/>
                      <a:pt x="308" y="39"/>
                    </a:cubicBezTo>
                    <a:cubicBezTo>
                      <a:pt x="353" y="89"/>
                      <a:pt x="353" y="89"/>
                      <a:pt x="353" y="89"/>
                    </a:cubicBezTo>
                    <a:cubicBezTo>
                      <a:pt x="348" y="67"/>
                      <a:pt x="348" y="67"/>
                      <a:pt x="348" y="67"/>
                    </a:cubicBezTo>
                    <a:cubicBezTo>
                      <a:pt x="415" y="155"/>
                      <a:pt x="415" y="155"/>
                      <a:pt x="415" y="155"/>
                    </a:cubicBezTo>
                    <a:cubicBezTo>
                      <a:pt x="408" y="132"/>
                      <a:pt x="408" y="132"/>
                      <a:pt x="408" y="132"/>
                    </a:cubicBezTo>
                    <a:cubicBezTo>
                      <a:pt x="457" y="167"/>
                      <a:pt x="457" y="167"/>
                      <a:pt x="457" y="167"/>
                    </a:cubicBezTo>
                    <a:cubicBezTo>
                      <a:pt x="456" y="162"/>
                      <a:pt x="442" y="139"/>
                      <a:pt x="442" y="139"/>
                    </a:cubicBezTo>
                    <a:cubicBezTo>
                      <a:pt x="489" y="169"/>
                      <a:pt x="489" y="169"/>
                      <a:pt x="489" y="169"/>
                    </a:cubicBezTo>
                    <a:cubicBezTo>
                      <a:pt x="463" y="132"/>
                      <a:pt x="463" y="132"/>
                      <a:pt x="463" y="132"/>
                    </a:cubicBezTo>
                    <a:cubicBezTo>
                      <a:pt x="545" y="167"/>
                      <a:pt x="545" y="167"/>
                      <a:pt x="545" y="167"/>
                    </a:cubicBezTo>
                    <a:cubicBezTo>
                      <a:pt x="540" y="164"/>
                      <a:pt x="530" y="157"/>
                      <a:pt x="519" y="150"/>
                    </a:cubicBezTo>
                    <a:cubicBezTo>
                      <a:pt x="543" y="163"/>
                      <a:pt x="562" y="170"/>
                      <a:pt x="569" y="174"/>
                    </a:cubicBezTo>
                    <a:cubicBezTo>
                      <a:pt x="600" y="197"/>
                      <a:pt x="510" y="211"/>
                      <a:pt x="376" y="185"/>
                    </a:cubicBezTo>
                    <a:cubicBezTo>
                      <a:pt x="300" y="170"/>
                      <a:pt x="133" y="134"/>
                      <a:pt x="43" y="172"/>
                    </a:cubicBezTo>
                    <a:cubicBezTo>
                      <a:pt x="1" y="191"/>
                      <a:pt x="0" y="239"/>
                      <a:pt x="81" y="268"/>
                    </a:cubicBezTo>
                    <a:cubicBezTo>
                      <a:pt x="86" y="268"/>
                      <a:pt x="169" y="268"/>
                      <a:pt x="172" y="268"/>
                    </a:cubicBezTo>
                    <a:cubicBezTo>
                      <a:pt x="150" y="256"/>
                      <a:pt x="125" y="239"/>
                      <a:pt x="108" y="217"/>
                    </a:cubicBezTo>
                    <a:cubicBezTo>
                      <a:pt x="82" y="183"/>
                      <a:pt x="143" y="169"/>
                      <a:pt x="243" y="177"/>
                    </a:cubicBezTo>
                    <a:cubicBezTo>
                      <a:pt x="179" y="174"/>
                      <a:pt x="115" y="182"/>
                      <a:pt x="163" y="219"/>
                    </a:cubicBezTo>
                    <a:cubicBezTo>
                      <a:pt x="189" y="240"/>
                      <a:pt x="230" y="256"/>
                      <a:pt x="273" y="268"/>
                    </a:cubicBezTo>
                    <a:cubicBezTo>
                      <a:pt x="282" y="268"/>
                      <a:pt x="388" y="268"/>
                      <a:pt x="390" y="268"/>
                    </a:cubicBezTo>
                    <a:cubicBezTo>
                      <a:pt x="298" y="251"/>
                      <a:pt x="195" y="227"/>
                      <a:pt x="209" y="206"/>
                    </a:cubicBezTo>
                    <a:cubicBezTo>
                      <a:pt x="238" y="159"/>
                      <a:pt x="572" y="263"/>
                      <a:pt x="613" y="212"/>
                    </a:cubicBezTo>
                    <a:cubicBezTo>
                      <a:pt x="629" y="191"/>
                      <a:pt x="584" y="174"/>
                      <a:pt x="559" y="166"/>
                    </a:cubicBezTo>
                    <a:close/>
                    <a:moveTo>
                      <a:pt x="41" y="205"/>
                    </a:moveTo>
                    <a:cubicBezTo>
                      <a:pt x="44" y="221"/>
                      <a:pt x="61" y="233"/>
                      <a:pt x="61" y="233"/>
                    </a:cubicBezTo>
                    <a:cubicBezTo>
                      <a:pt x="61" y="233"/>
                      <a:pt x="33" y="221"/>
                      <a:pt x="34" y="202"/>
                    </a:cubicBezTo>
                    <a:cubicBezTo>
                      <a:pt x="35" y="181"/>
                      <a:pt x="71" y="176"/>
                      <a:pt x="71" y="176"/>
                    </a:cubicBezTo>
                    <a:cubicBezTo>
                      <a:pt x="62" y="178"/>
                      <a:pt x="38" y="183"/>
                      <a:pt x="41" y="205"/>
                    </a:cubicBezTo>
                    <a:close/>
                    <a:moveTo>
                      <a:pt x="603" y="197"/>
                    </a:moveTo>
                    <a:cubicBezTo>
                      <a:pt x="597" y="217"/>
                      <a:pt x="539" y="214"/>
                      <a:pt x="521" y="212"/>
                    </a:cubicBezTo>
                    <a:cubicBezTo>
                      <a:pt x="529" y="212"/>
                      <a:pt x="591" y="213"/>
                      <a:pt x="597" y="197"/>
                    </a:cubicBezTo>
                    <a:cubicBezTo>
                      <a:pt x="602" y="186"/>
                      <a:pt x="585" y="179"/>
                      <a:pt x="581" y="177"/>
                    </a:cubicBezTo>
                    <a:cubicBezTo>
                      <a:pt x="585" y="178"/>
                      <a:pt x="605" y="189"/>
                      <a:pt x="603"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grpSp>
          <p:nvGrpSpPr>
            <p:cNvPr id="29" name="Group 28"/>
            <p:cNvGrpSpPr/>
            <p:nvPr userDrawn="1"/>
          </p:nvGrpSpPr>
          <p:grpSpPr>
            <a:xfrm>
              <a:off x="1005539" y="1479403"/>
              <a:ext cx="909923" cy="457133"/>
              <a:chOff x="1751012" y="1069975"/>
              <a:chExt cx="2359025" cy="1143001"/>
            </a:xfrm>
            <a:solidFill>
              <a:schemeClr val="bg1">
                <a:lumMod val="50000"/>
              </a:schemeClr>
            </a:solidFill>
          </p:grpSpPr>
          <p:sp>
            <p:nvSpPr>
              <p:cNvPr id="30" name="Freeform 30"/>
              <p:cNvSpPr>
                <a:spLocks/>
              </p:cNvSpPr>
              <p:nvPr/>
            </p:nvSpPr>
            <p:spPr bwMode="auto">
              <a:xfrm>
                <a:off x="2827338" y="1069975"/>
                <a:ext cx="1068387" cy="752475"/>
              </a:xfrm>
              <a:custGeom>
                <a:avLst/>
                <a:gdLst>
                  <a:gd name="T0" fmla="*/ 19 w 285"/>
                  <a:gd name="T1" fmla="*/ 61 h 201"/>
                  <a:gd name="T2" fmla="*/ 56 w 285"/>
                  <a:gd name="T3" fmla="*/ 92 h 201"/>
                  <a:gd name="T4" fmla="*/ 74 w 285"/>
                  <a:gd name="T5" fmla="*/ 83 h 201"/>
                  <a:gd name="T6" fmla="*/ 130 w 285"/>
                  <a:gd name="T7" fmla="*/ 122 h 201"/>
                  <a:gd name="T8" fmla="*/ 151 w 285"/>
                  <a:gd name="T9" fmla="*/ 110 h 201"/>
                  <a:gd name="T10" fmla="*/ 152 w 285"/>
                  <a:gd name="T11" fmla="*/ 111 h 201"/>
                  <a:gd name="T12" fmla="*/ 253 w 285"/>
                  <a:gd name="T13" fmla="*/ 184 h 201"/>
                  <a:gd name="T14" fmla="*/ 279 w 285"/>
                  <a:gd name="T15" fmla="*/ 201 h 201"/>
                  <a:gd name="T16" fmla="*/ 285 w 285"/>
                  <a:gd name="T17" fmla="*/ 157 h 201"/>
                  <a:gd name="T18" fmla="*/ 128 w 285"/>
                  <a:gd name="T19" fmla="*/ 0 h 201"/>
                  <a:gd name="T20" fmla="*/ 0 w 285"/>
                  <a:gd name="T21" fmla="*/ 66 h 201"/>
                  <a:gd name="T22" fmla="*/ 2 w 285"/>
                  <a:gd name="T23" fmla="*/ 67 h 201"/>
                  <a:gd name="T24" fmla="*/ 19 w 285"/>
                  <a:gd name="T25" fmla="*/ 6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5" h="201">
                    <a:moveTo>
                      <a:pt x="19" y="61"/>
                    </a:moveTo>
                    <a:cubicBezTo>
                      <a:pt x="56" y="92"/>
                      <a:pt x="56" y="92"/>
                      <a:pt x="56" y="92"/>
                    </a:cubicBezTo>
                    <a:cubicBezTo>
                      <a:pt x="74" y="83"/>
                      <a:pt x="74" y="83"/>
                      <a:pt x="74" y="83"/>
                    </a:cubicBezTo>
                    <a:cubicBezTo>
                      <a:pt x="130" y="122"/>
                      <a:pt x="130" y="122"/>
                      <a:pt x="130" y="122"/>
                    </a:cubicBezTo>
                    <a:cubicBezTo>
                      <a:pt x="151" y="110"/>
                      <a:pt x="151" y="110"/>
                      <a:pt x="151" y="110"/>
                    </a:cubicBezTo>
                    <a:cubicBezTo>
                      <a:pt x="152" y="111"/>
                      <a:pt x="152" y="111"/>
                      <a:pt x="152" y="111"/>
                    </a:cubicBezTo>
                    <a:cubicBezTo>
                      <a:pt x="187" y="140"/>
                      <a:pt x="227" y="166"/>
                      <a:pt x="253" y="184"/>
                    </a:cubicBezTo>
                    <a:cubicBezTo>
                      <a:pt x="267" y="193"/>
                      <a:pt x="275" y="198"/>
                      <a:pt x="279" y="201"/>
                    </a:cubicBezTo>
                    <a:cubicBezTo>
                      <a:pt x="283" y="187"/>
                      <a:pt x="285" y="173"/>
                      <a:pt x="285" y="157"/>
                    </a:cubicBezTo>
                    <a:cubicBezTo>
                      <a:pt x="285" y="70"/>
                      <a:pt x="215" y="0"/>
                      <a:pt x="128" y="0"/>
                    </a:cubicBezTo>
                    <a:cubicBezTo>
                      <a:pt x="75" y="0"/>
                      <a:pt x="29" y="26"/>
                      <a:pt x="0" y="66"/>
                    </a:cubicBezTo>
                    <a:cubicBezTo>
                      <a:pt x="2" y="67"/>
                      <a:pt x="2" y="67"/>
                      <a:pt x="2" y="67"/>
                    </a:cubicBezTo>
                    <a:lnTo>
                      <a:pt x="19"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31" name="Freeform 31"/>
              <p:cNvSpPr>
                <a:spLocks noEditPoints="1"/>
              </p:cNvSpPr>
              <p:nvPr/>
            </p:nvSpPr>
            <p:spPr bwMode="auto">
              <a:xfrm>
                <a:off x="1751012" y="1208088"/>
                <a:ext cx="2359025" cy="1004888"/>
              </a:xfrm>
              <a:custGeom>
                <a:avLst/>
                <a:gdLst>
                  <a:gd name="T0" fmla="*/ 540 w 629"/>
                  <a:gd name="T1" fmla="*/ 154 h 268"/>
                  <a:gd name="T2" fmla="*/ 438 w 629"/>
                  <a:gd name="T3" fmla="*/ 80 h 268"/>
                  <a:gd name="T4" fmla="*/ 361 w 629"/>
                  <a:gd name="T5" fmla="*/ 54 h 268"/>
                  <a:gd name="T6" fmla="*/ 306 w 629"/>
                  <a:gd name="T7" fmla="*/ 31 h 268"/>
                  <a:gd name="T8" fmla="*/ 233 w 629"/>
                  <a:gd name="T9" fmla="*/ 0 h 268"/>
                  <a:gd name="T10" fmla="*/ 190 w 629"/>
                  <a:gd name="T11" fmla="*/ 29 h 268"/>
                  <a:gd name="T12" fmla="*/ 44 w 629"/>
                  <a:gd name="T13" fmla="*/ 163 h 268"/>
                  <a:gd name="T14" fmla="*/ 92 w 629"/>
                  <a:gd name="T15" fmla="*/ 149 h 268"/>
                  <a:gd name="T16" fmla="*/ 110 w 629"/>
                  <a:gd name="T17" fmla="*/ 116 h 268"/>
                  <a:gd name="T18" fmla="*/ 100 w 629"/>
                  <a:gd name="T19" fmla="*/ 111 h 268"/>
                  <a:gd name="T20" fmla="*/ 118 w 629"/>
                  <a:gd name="T21" fmla="*/ 83 h 268"/>
                  <a:gd name="T22" fmla="*/ 190 w 629"/>
                  <a:gd name="T23" fmla="*/ 40 h 268"/>
                  <a:gd name="T24" fmla="*/ 250 w 629"/>
                  <a:gd name="T25" fmla="*/ 49 h 268"/>
                  <a:gd name="T26" fmla="*/ 282 w 629"/>
                  <a:gd name="T27" fmla="*/ 64 h 268"/>
                  <a:gd name="T28" fmla="*/ 303 w 629"/>
                  <a:gd name="T29" fmla="*/ 65 h 268"/>
                  <a:gd name="T30" fmla="*/ 308 w 629"/>
                  <a:gd name="T31" fmla="*/ 39 h 268"/>
                  <a:gd name="T32" fmla="*/ 348 w 629"/>
                  <a:gd name="T33" fmla="*/ 67 h 268"/>
                  <a:gd name="T34" fmla="*/ 408 w 629"/>
                  <a:gd name="T35" fmla="*/ 132 h 268"/>
                  <a:gd name="T36" fmla="*/ 442 w 629"/>
                  <a:gd name="T37" fmla="*/ 139 h 268"/>
                  <a:gd name="T38" fmla="*/ 463 w 629"/>
                  <a:gd name="T39" fmla="*/ 132 h 268"/>
                  <a:gd name="T40" fmla="*/ 519 w 629"/>
                  <a:gd name="T41" fmla="*/ 150 h 268"/>
                  <a:gd name="T42" fmla="*/ 376 w 629"/>
                  <a:gd name="T43" fmla="*/ 185 h 268"/>
                  <a:gd name="T44" fmla="*/ 81 w 629"/>
                  <a:gd name="T45" fmla="*/ 268 h 268"/>
                  <a:gd name="T46" fmla="*/ 108 w 629"/>
                  <a:gd name="T47" fmla="*/ 217 h 268"/>
                  <a:gd name="T48" fmla="*/ 163 w 629"/>
                  <a:gd name="T49" fmla="*/ 219 h 268"/>
                  <a:gd name="T50" fmla="*/ 390 w 629"/>
                  <a:gd name="T51" fmla="*/ 268 h 268"/>
                  <a:gd name="T52" fmla="*/ 613 w 629"/>
                  <a:gd name="T53" fmla="*/ 212 h 268"/>
                  <a:gd name="T54" fmla="*/ 41 w 629"/>
                  <a:gd name="T55" fmla="*/ 205 h 268"/>
                  <a:gd name="T56" fmla="*/ 34 w 629"/>
                  <a:gd name="T57" fmla="*/ 202 h 268"/>
                  <a:gd name="T58" fmla="*/ 41 w 629"/>
                  <a:gd name="T59" fmla="*/ 205 h 268"/>
                  <a:gd name="T60" fmla="*/ 521 w 629"/>
                  <a:gd name="T61" fmla="*/ 212 h 268"/>
                  <a:gd name="T62" fmla="*/ 581 w 629"/>
                  <a:gd name="T63" fmla="*/ 17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29" h="268">
                    <a:moveTo>
                      <a:pt x="559" y="166"/>
                    </a:moveTo>
                    <a:cubicBezTo>
                      <a:pt x="554" y="163"/>
                      <a:pt x="547" y="159"/>
                      <a:pt x="540" y="154"/>
                    </a:cubicBezTo>
                    <a:cubicBezTo>
                      <a:pt x="514" y="137"/>
                      <a:pt x="474" y="110"/>
                      <a:pt x="439" y="81"/>
                    </a:cubicBezTo>
                    <a:cubicBezTo>
                      <a:pt x="438" y="80"/>
                      <a:pt x="438" y="80"/>
                      <a:pt x="438" y="80"/>
                    </a:cubicBezTo>
                    <a:cubicBezTo>
                      <a:pt x="417" y="93"/>
                      <a:pt x="417" y="93"/>
                      <a:pt x="417" y="93"/>
                    </a:cubicBezTo>
                    <a:cubicBezTo>
                      <a:pt x="361" y="54"/>
                      <a:pt x="361" y="54"/>
                      <a:pt x="361" y="54"/>
                    </a:cubicBezTo>
                    <a:cubicBezTo>
                      <a:pt x="343" y="62"/>
                      <a:pt x="343" y="62"/>
                      <a:pt x="343" y="62"/>
                    </a:cubicBezTo>
                    <a:cubicBezTo>
                      <a:pt x="306" y="31"/>
                      <a:pt x="306" y="31"/>
                      <a:pt x="306" y="31"/>
                    </a:cubicBezTo>
                    <a:cubicBezTo>
                      <a:pt x="289" y="38"/>
                      <a:pt x="289" y="38"/>
                      <a:pt x="289" y="38"/>
                    </a:cubicBezTo>
                    <a:cubicBezTo>
                      <a:pt x="233" y="0"/>
                      <a:pt x="233" y="0"/>
                      <a:pt x="233" y="0"/>
                    </a:cubicBezTo>
                    <a:cubicBezTo>
                      <a:pt x="231" y="2"/>
                      <a:pt x="231" y="2"/>
                      <a:pt x="231" y="2"/>
                    </a:cubicBezTo>
                    <a:cubicBezTo>
                      <a:pt x="224" y="9"/>
                      <a:pt x="197" y="29"/>
                      <a:pt x="190" y="29"/>
                    </a:cubicBezTo>
                    <a:cubicBezTo>
                      <a:pt x="184" y="25"/>
                      <a:pt x="174" y="13"/>
                      <a:pt x="174" y="13"/>
                    </a:cubicBezTo>
                    <a:cubicBezTo>
                      <a:pt x="174" y="13"/>
                      <a:pt x="82" y="112"/>
                      <a:pt x="44" y="163"/>
                    </a:cubicBezTo>
                    <a:cubicBezTo>
                      <a:pt x="97" y="121"/>
                      <a:pt x="97" y="121"/>
                      <a:pt x="97" y="121"/>
                    </a:cubicBezTo>
                    <a:cubicBezTo>
                      <a:pt x="92" y="149"/>
                      <a:pt x="92" y="149"/>
                      <a:pt x="92" y="149"/>
                    </a:cubicBezTo>
                    <a:cubicBezTo>
                      <a:pt x="149" y="79"/>
                      <a:pt x="149" y="79"/>
                      <a:pt x="149" y="79"/>
                    </a:cubicBezTo>
                    <a:cubicBezTo>
                      <a:pt x="110" y="116"/>
                      <a:pt x="110" y="116"/>
                      <a:pt x="110" y="116"/>
                    </a:cubicBezTo>
                    <a:cubicBezTo>
                      <a:pt x="156" y="53"/>
                      <a:pt x="156" y="53"/>
                      <a:pt x="156" y="53"/>
                    </a:cubicBezTo>
                    <a:cubicBezTo>
                      <a:pt x="100" y="111"/>
                      <a:pt x="100" y="111"/>
                      <a:pt x="100" y="111"/>
                    </a:cubicBezTo>
                    <a:cubicBezTo>
                      <a:pt x="118" y="83"/>
                      <a:pt x="118" y="83"/>
                      <a:pt x="118" y="83"/>
                    </a:cubicBezTo>
                    <a:cubicBezTo>
                      <a:pt x="118" y="83"/>
                      <a:pt x="118" y="83"/>
                      <a:pt x="118" y="83"/>
                    </a:cubicBezTo>
                    <a:cubicBezTo>
                      <a:pt x="151" y="49"/>
                      <a:pt x="174" y="27"/>
                      <a:pt x="174" y="27"/>
                    </a:cubicBezTo>
                    <a:cubicBezTo>
                      <a:pt x="174" y="27"/>
                      <a:pt x="183" y="38"/>
                      <a:pt x="190" y="40"/>
                    </a:cubicBezTo>
                    <a:cubicBezTo>
                      <a:pt x="199" y="35"/>
                      <a:pt x="222" y="20"/>
                      <a:pt x="222" y="20"/>
                    </a:cubicBezTo>
                    <a:cubicBezTo>
                      <a:pt x="250" y="49"/>
                      <a:pt x="250" y="49"/>
                      <a:pt x="250" y="49"/>
                    </a:cubicBezTo>
                    <a:cubicBezTo>
                      <a:pt x="240" y="21"/>
                      <a:pt x="240" y="21"/>
                      <a:pt x="240" y="21"/>
                    </a:cubicBezTo>
                    <a:cubicBezTo>
                      <a:pt x="282" y="64"/>
                      <a:pt x="282" y="64"/>
                      <a:pt x="282" y="64"/>
                    </a:cubicBezTo>
                    <a:cubicBezTo>
                      <a:pt x="274" y="43"/>
                      <a:pt x="274" y="43"/>
                      <a:pt x="274" y="43"/>
                    </a:cubicBezTo>
                    <a:cubicBezTo>
                      <a:pt x="303" y="65"/>
                      <a:pt x="303" y="65"/>
                      <a:pt x="303" y="65"/>
                    </a:cubicBezTo>
                    <a:cubicBezTo>
                      <a:pt x="296" y="47"/>
                      <a:pt x="296" y="47"/>
                      <a:pt x="296" y="47"/>
                    </a:cubicBezTo>
                    <a:cubicBezTo>
                      <a:pt x="308" y="39"/>
                      <a:pt x="308" y="39"/>
                      <a:pt x="308" y="39"/>
                    </a:cubicBezTo>
                    <a:cubicBezTo>
                      <a:pt x="353" y="89"/>
                      <a:pt x="353" y="89"/>
                      <a:pt x="353" y="89"/>
                    </a:cubicBezTo>
                    <a:cubicBezTo>
                      <a:pt x="348" y="67"/>
                      <a:pt x="348" y="67"/>
                      <a:pt x="348" y="67"/>
                    </a:cubicBezTo>
                    <a:cubicBezTo>
                      <a:pt x="415" y="155"/>
                      <a:pt x="415" y="155"/>
                      <a:pt x="415" y="155"/>
                    </a:cubicBezTo>
                    <a:cubicBezTo>
                      <a:pt x="408" y="132"/>
                      <a:pt x="408" y="132"/>
                      <a:pt x="408" y="132"/>
                    </a:cubicBezTo>
                    <a:cubicBezTo>
                      <a:pt x="457" y="167"/>
                      <a:pt x="457" y="167"/>
                      <a:pt x="457" y="167"/>
                    </a:cubicBezTo>
                    <a:cubicBezTo>
                      <a:pt x="456" y="162"/>
                      <a:pt x="442" y="139"/>
                      <a:pt x="442" y="139"/>
                    </a:cubicBezTo>
                    <a:cubicBezTo>
                      <a:pt x="489" y="169"/>
                      <a:pt x="489" y="169"/>
                      <a:pt x="489" y="169"/>
                    </a:cubicBezTo>
                    <a:cubicBezTo>
                      <a:pt x="463" y="132"/>
                      <a:pt x="463" y="132"/>
                      <a:pt x="463" y="132"/>
                    </a:cubicBezTo>
                    <a:cubicBezTo>
                      <a:pt x="545" y="167"/>
                      <a:pt x="545" y="167"/>
                      <a:pt x="545" y="167"/>
                    </a:cubicBezTo>
                    <a:cubicBezTo>
                      <a:pt x="540" y="164"/>
                      <a:pt x="530" y="157"/>
                      <a:pt x="519" y="150"/>
                    </a:cubicBezTo>
                    <a:cubicBezTo>
                      <a:pt x="543" y="163"/>
                      <a:pt x="562" y="170"/>
                      <a:pt x="569" y="174"/>
                    </a:cubicBezTo>
                    <a:cubicBezTo>
                      <a:pt x="600" y="197"/>
                      <a:pt x="510" y="211"/>
                      <a:pt x="376" y="185"/>
                    </a:cubicBezTo>
                    <a:cubicBezTo>
                      <a:pt x="300" y="170"/>
                      <a:pt x="133" y="134"/>
                      <a:pt x="43" y="172"/>
                    </a:cubicBezTo>
                    <a:cubicBezTo>
                      <a:pt x="1" y="191"/>
                      <a:pt x="0" y="239"/>
                      <a:pt x="81" y="268"/>
                    </a:cubicBezTo>
                    <a:cubicBezTo>
                      <a:pt x="86" y="268"/>
                      <a:pt x="169" y="268"/>
                      <a:pt x="172" y="268"/>
                    </a:cubicBezTo>
                    <a:cubicBezTo>
                      <a:pt x="150" y="256"/>
                      <a:pt x="125" y="239"/>
                      <a:pt x="108" y="217"/>
                    </a:cubicBezTo>
                    <a:cubicBezTo>
                      <a:pt x="82" y="183"/>
                      <a:pt x="143" y="169"/>
                      <a:pt x="243" y="177"/>
                    </a:cubicBezTo>
                    <a:cubicBezTo>
                      <a:pt x="179" y="174"/>
                      <a:pt x="115" y="182"/>
                      <a:pt x="163" y="219"/>
                    </a:cubicBezTo>
                    <a:cubicBezTo>
                      <a:pt x="189" y="240"/>
                      <a:pt x="230" y="256"/>
                      <a:pt x="273" y="268"/>
                    </a:cubicBezTo>
                    <a:cubicBezTo>
                      <a:pt x="282" y="268"/>
                      <a:pt x="388" y="268"/>
                      <a:pt x="390" y="268"/>
                    </a:cubicBezTo>
                    <a:cubicBezTo>
                      <a:pt x="298" y="251"/>
                      <a:pt x="195" y="227"/>
                      <a:pt x="209" y="206"/>
                    </a:cubicBezTo>
                    <a:cubicBezTo>
                      <a:pt x="238" y="159"/>
                      <a:pt x="572" y="263"/>
                      <a:pt x="613" y="212"/>
                    </a:cubicBezTo>
                    <a:cubicBezTo>
                      <a:pt x="629" y="191"/>
                      <a:pt x="584" y="174"/>
                      <a:pt x="559" y="166"/>
                    </a:cubicBezTo>
                    <a:close/>
                    <a:moveTo>
                      <a:pt x="41" y="205"/>
                    </a:moveTo>
                    <a:cubicBezTo>
                      <a:pt x="44" y="221"/>
                      <a:pt x="61" y="233"/>
                      <a:pt x="61" y="233"/>
                    </a:cubicBezTo>
                    <a:cubicBezTo>
                      <a:pt x="61" y="233"/>
                      <a:pt x="33" y="221"/>
                      <a:pt x="34" y="202"/>
                    </a:cubicBezTo>
                    <a:cubicBezTo>
                      <a:pt x="35" y="181"/>
                      <a:pt x="71" y="176"/>
                      <a:pt x="71" y="176"/>
                    </a:cubicBezTo>
                    <a:cubicBezTo>
                      <a:pt x="62" y="178"/>
                      <a:pt x="38" y="183"/>
                      <a:pt x="41" y="205"/>
                    </a:cubicBezTo>
                    <a:close/>
                    <a:moveTo>
                      <a:pt x="603" y="197"/>
                    </a:moveTo>
                    <a:cubicBezTo>
                      <a:pt x="597" y="217"/>
                      <a:pt x="539" y="214"/>
                      <a:pt x="521" y="212"/>
                    </a:cubicBezTo>
                    <a:cubicBezTo>
                      <a:pt x="529" y="212"/>
                      <a:pt x="591" y="213"/>
                      <a:pt x="597" y="197"/>
                    </a:cubicBezTo>
                    <a:cubicBezTo>
                      <a:pt x="602" y="186"/>
                      <a:pt x="585" y="179"/>
                      <a:pt x="581" y="177"/>
                    </a:cubicBezTo>
                    <a:cubicBezTo>
                      <a:pt x="585" y="178"/>
                      <a:pt x="605" y="189"/>
                      <a:pt x="603"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grpSp>
      <p:sp>
        <p:nvSpPr>
          <p:cNvPr id="10" name="Picture Placeholder 9"/>
          <p:cNvSpPr>
            <a:spLocks noGrp="1"/>
          </p:cNvSpPr>
          <p:nvPr>
            <p:ph type="pic" sz="quarter" idx="12" hasCustomPrompt="1"/>
          </p:nvPr>
        </p:nvSpPr>
        <p:spPr>
          <a:xfrm>
            <a:off x="611720" y="1736704"/>
            <a:ext cx="2671233" cy="1690688"/>
          </a:xfrm>
          <a:ln>
            <a:solidFill>
              <a:schemeClr val="tx1"/>
            </a:solidFill>
          </a:ln>
        </p:spPr>
        <p:txBody>
          <a:bodyPr tIns="1280160" rIns="109728" bIns="274320" anchor="b" anchorCtr="0"/>
          <a:lstStyle>
            <a:lvl1pPr marL="0" indent="0" algn="ctr">
              <a:buNone/>
              <a:defRPr sz="1600" baseline="0"/>
            </a:lvl1pPr>
          </a:lstStyle>
          <a:p>
            <a:r>
              <a:rPr lang="en-US" dirty="0"/>
              <a:t>CLICK ▲ ICON                   to add photo</a:t>
            </a:r>
          </a:p>
        </p:txBody>
      </p:sp>
      <p:sp>
        <p:nvSpPr>
          <p:cNvPr id="11" name="Picture Placeholder 9"/>
          <p:cNvSpPr>
            <a:spLocks noGrp="1"/>
          </p:cNvSpPr>
          <p:nvPr>
            <p:ph type="pic" sz="quarter" idx="13" hasCustomPrompt="1"/>
          </p:nvPr>
        </p:nvSpPr>
        <p:spPr>
          <a:xfrm>
            <a:off x="611720" y="4302635"/>
            <a:ext cx="2671233" cy="1690688"/>
          </a:xfrm>
          <a:ln>
            <a:solidFill>
              <a:schemeClr val="tx1"/>
            </a:solidFill>
          </a:ln>
        </p:spPr>
        <p:txBody>
          <a:bodyPr tIns="1280160" rIns="109728" bIns="274320" anchor="b" anchorCtr="0"/>
          <a:lstStyle>
            <a:lvl1pPr marL="0" indent="0" algn="ctr" defTabSz="1219170" rtl="0" eaLnBrk="1" latinLnBrk="0" hangingPunct="1">
              <a:lnSpc>
                <a:spcPct val="90000"/>
              </a:lnSpc>
              <a:spcBef>
                <a:spcPts val="2400"/>
              </a:spcBef>
              <a:buClr>
                <a:srgbClr val="00A9E0"/>
              </a:buClr>
              <a:buSzPct val="100000"/>
              <a:buFont typeface="Arial" panose="020B0604020202020204" pitchFamily="34" charset="0"/>
              <a:buNone/>
              <a:defRPr lang="en-US" sz="1600" b="0" kern="1200" baseline="0" dirty="0">
                <a:solidFill>
                  <a:srgbClr val="000000"/>
                </a:solidFill>
                <a:latin typeface="Arial" panose="020B0604020202020204" pitchFamily="34" charset="0"/>
                <a:ea typeface="+mn-ea"/>
                <a:cs typeface="Arial" panose="020B0604020202020204" pitchFamily="34" charset="0"/>
              </a:defRPr>
            </a:lvl1pPr>
          </a:lstStyle>
          <a:p>
            <a:r>
              <a:rPr lang="en-US" dirty="0"/>
              <a:t>CLICK ▲ ICON                   to add photo</a:t>
            </a:r>
          </a:p>
        </p:txBody>
      </p:sp>
      <p:sp>
        <p:nvSpPr>
          <p:cNvPr id="2" name="Title 1"/>
          <p:cNvSpPr>
            <a:spLocks noGrp="1"/>
          </p:cNvSpPr>
          <p:nvPr userDrawn="1">
            <p:ph type="title" hasCustomPrompt="1"/>
          </p:nvPr>
        </p:nvSpPr>
        <p:spPr/>
        <p:txBody>
          <a:bodyPr/>
          <a:lstStyle>
            <a:lvl1pPr>
              <a:defRPr sz="3200"/>
            </a:lvl1pPr>
          </a:lstStyle>
          <a:p>
            <a:r>
              <a:rPr lang="en-US" dirty="0"/>
              <a:t>Comparing two items or features</a:t>
            </a:r>
          </a:p>
        </p:txBody>
      </p:sp>
      <p:sp>
        <p:nvSpPr>
          <p:cNvPr id="4" name="Text Placeholder 3"/>
          <p:cNvSpPr>
            <a:spLocks noGrp="1"/>
          </p:cNvSpPr>
          <p:nvPr userDrawn="1">
            <p:ph type="body" sz="quarter" idx="10" hasCustomPrompt="1"/>
          </p:nvPr>
        </p:nvSpPr>
        <p:spPr>
          <a:xfrm>
            <a:off x="3676357" y="1535378"/>
            <a:ext cx="7908160" cy="2103396"/>
          </a:xfrm>
        </p:spPr>
        <p:txBody>
          <a:bodyPr/>
          <a:lstStyle>
            <a:lvl1pPr marL="0" indent="0">
              <a:buNone/>
              <a:defRPr sz="2133" baseline="0"/>
            </a:lvl1pPr>
          </a:lstStyle>
          <a:p>
            <a:pPr lvl="0"/>
            <a:r>
              <a:rPr lang="en-US" dirty="0"/>
              <a:t>Enter your text here</a:t>
            </a:r>
          </a:p>
        </p:txBody>
      </p:sp>
      <p:sp>
        <p:nvSpPr>
          <p:cNvPr id="5" name="Text Placeholder 3"/>
          <p:cNvSpPr>
            <a:spLocks noGrp="1"/>
          </p:cNvSpPr>
          <p:nvPr userDrawn="1">
            <p:ph type="body" sz="quarter" idx="11" hasCustomPrompt="1"/>
          </p:nvPr>
        </p:nvSpPr>
        <p:spPr>
          <a:xfrm>
            <a:off x="3676357" y="4128454"/>
            <a:ext cx="7908160" cy="2058407"/>
          </a:xfrm>
        </p:spPr>
        <p:txBody>
          <a:bodyPr/>
          <a:lstStyle>
            <a:lvl1pPr marL="0" indent="0">
              <a:buNone/>
              <a:defRPr sz="2133"/>
            </a:lvl1pPr>
          </a:lstStyle>
          <a:p>
            <a:pPr lvl="0"/>
            <a:r>
              <a:rPr lang="en-US" dirty="0"/>
              <a:t>Enter your text here</a:t>
            </a:r>
          </a:p>
        </p:txBody>
      </p:sp>
      <p:cxnSp>
        <p:nvCxnSpPr>
          <p:cNvPr id="7" name="Straight Connector 6"/>
          <p:cNvCxnSpPr/>
          <p:nvPr userDrawn="1"/>
        </p:nvCxnSpPr>
        <p:spPr>
          <a:xfrm>
            <a:off x="611717" y="3860359"/>
            <a:ext cx="11580283"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21" name="Text Placeholder 4"/>
          <p:cNvSpPr>
            <a:spLocks noGrp="1"/>
          </p:cNvSpPr>
          <p:nvPr userDrawn="1">
            <p:ph type="body" sz="quarter" idx="14" hasCustomPrompt="1"/>
          </p:nvPr>
        </p:nvSpPr>
        <p:spPr>
          <a:xfrm>
            <a:off x="589139" y="881767"/>
            <a:ext cx="10972800" cy="366932"/>
          </a:xfrm>
        </p:spPr>
        <p:txBody>
          <a:bodyPr/>
          <a:lstStyle>
            <a:lvl1pPr marL="0" indent="0">
              <a:buNone/>
              <a:defRPr sz="2667" baseline="0"/>
            </a:lvl1pPr>
            <a:lvl2pPr marL="302675" indent="0">
              <a:buNone/>
              <a:defRPr/>
            </a:lvl2pPr>
          </a:lstStyle>
          <a:p>
            <a:pPr lvl="0"/>
            <a:r>
              <a:rPr lang="en-US" dirty="0"/>
              <a:t>Sub-header optional—delete if not needed</a:t>
            </a:r>
          </a:p>
        </p:txBody>
      </p:sp>
      <p:sp>
        <p:nvSpPr>
          <p:cNvPr id="22" name="Text Placeholder 5"/>
          <p:cNvSpPr>
            <a:spLocks noGrp="1"/>
          </p:cNvSpPr>
          <p:nvPr userDrawn="1">
            <p:ph type="body" sz="quarter" idx="15" hasCustomPrompt="1"/>
          </p:nvPr>
        </p:nvSpPr>
        <p:spPr>
          <a:xfrm>
            <a:off x="3138793" y="6560363"/>
            <a:ext cx="5927388" cy="214955"/>
          </a:xfrm>
        </p:spPr>
        <p:txBody>
          <a:bodyPr/>
          <a:lstStyle>
            <a:lvl1pPr marL="0" indent="0" algn="ctr">
              <a:buNone/>
              <a:defRPr sz="933" baseline="0"/>
            </a:lvl1pPr>
          </a:lstStyle>
          <a:p>
            <a:pPr lvl="0"/>
            <a:r>
              <a:rPr lang="en-US" dirty="0"/>
              <a:t>For internal use only.</a:t>
            </a:r>
          </a:p>
        </p:txBody>
      </p:sp>
      <p:grpSp>
        <p:nvGrpSpPr>
          <p:cNvPr id="23" name="Group 22"/>
          <p:cNvGrpSpPr/>
          <p:nvPr userDrawn="1"/>
        </p:nvGrpSpPr>
        <p:grpSpPr>
          <a:xfrm>
            <a:off x="-2120087" y="1725355"/>
            <a:ext cx="1879365" cy="2359171"/>
            <a:chOff x="-1663544" y="2872984"/>
            <a:chExt cx="1409524" cy="2359171"/>
          </a:xfrm>
        </p:grpSpPr>
        <p:pic>
          <p:nvPicPr>
            <p:cNvPr id="2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663544" y="4584536"/>
              <a:ext cx="1409524" cy="6476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TextBox 24"/>
            <p:cNvSpPr txBox="1"/>
            <p:nvPr/>
          </p:nvSpPr>
          <p:spPr>
            <a:xfrm>
              <a:off x="-1663544" y="2872984"/>
              <a:ext cx="1386540" cy="1384995"/>
            </a:xfrm>
            <a:prstGeom prst="rect">
              <a:avLst/>
            </a:prstGeom>
            <a:noFill/>
          </p:spPr>
          <p:txBody>
            <a:bodyPr wrap="square" rtlCol="0">
              <a:spAutoFit/>
            </a:bodyPr>
            <a:lstStyle/>
            <a:p>
              <a:r>
                <a:rPr lang="en-US" sz="1400" dirty="0"/>
                <a:t>To crop image or reposition image inside of frame, right click on the image and select the crop tool</a:t>
              </a:r>
            </a:p>
          </p:txBody>
        </p:sp>
      </p:grpSp>
    </p:spTree>
    <p:extLst>
      <p:ext uri="{BB962C8B-B14F-4D97-AF65-F5344CB8AC3E}">
        <p14:creationId xmlns:p14="http://schemas.microsoft.com/office/powerpoint/2010/main" val="380437927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anoramic image with text">
    <p:spTree>
      <p:nvGrpSpPr>
        <p:cNvPr id="1" name=""/>
        <p:cNvGrpSpPr/>
        <p:nvPr/>
      </p:nvGrpSpPr>
      <p:grpSpPr>
        <a:xfrm>
          <a:off x="0" y="0"/>
          <a:ext cx="0" cy="0"/>
          <a:chOff x="0" y="0"/>
          <a:chExt cx="0" cy="0"/>
        </a:xfrm>
      </p:grpSpPr>
      <p:sp>
        <p:nvSpPr>
          <p:cNvPr id="12" name="Rectangle 11"/>
          <p:cNvSpPr/>
          <p:nvPr userDrawn="1"/>
        </p:nvSpPr>
        <p:spPr>
          <a:xfrm>
            <a:off x="737514" y="4229107"/>
            <a:ext cx="10638060" cy="1836964"/>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0" name="Picture Placeholder 9"/>
          <p:cNvSpPr>
            <a:spLocks noGrp="1"/>
          </p:cNvSpPr>
          <p:nvPr>
            <p:ph type="pic" sz="quarter" idx="12" hasCustomPrompt="1"/>
          </p:nvPr>
        </p:nvSpPr>
        <p:spPr>
          <a:xfrm>
            <a:off x="611717" y="4101880"/>
            <a:ext cx="10972800" cy="2078491"/>
          </a:xfrm>
          <a:ln>
            <a:solidFill>
              <a:schemeClr val="tx1"/>
            </a:solidFill>
          </a:ln>
        </p:spPr>
        <p:txBody>
          <a:bodyPr tIns="1097280" bIns="274320" anchor="b" anchorCtr="0"/>
          <a:lstStyle>
            <a:lvl1pPr marL="0" indent="0" algn="ctr">
              <a:buNone/>
              <a:defRPr sz="1600" baseline="0"/>
            </a:lvl1pPr>
          </a:lstStyle>
          <a:p>
            <a:r>
              <a:rPr lang="en-US" dirty="0"/>
              <a:t>CLICK ▲ ICON                                                                                                                                                                                   to add photo</a:t>
            </a:r>
          </a:p>
        </p:txBody>
      </p:sp>
      <p:grpSp>
        <p:nvGrpSpPr>
          <p:cNvPr id="14" name="Group 13"/>
          <p:cNvGrpSpPr/>
          <p:nvPr userDrawn="1"/>
        </p:nvGrpSpPr>
        <p:grpSpPr>
          <a:xfrm>
            <a:off x="883131" y="4524386"/>
            <a:ext cx="2759955" cy="1386564"/>
            <a:chOff x="1751012" y="1069975"/>
            <a:chExt cx="2359025" cy="1143001"/>
          </a:xfrm>
          <a:solidFill>
            <a:schemeClr val="bg1">
              <a:lumMod val="50000"/>
            </a:schemeClr>
          </a:solidFill>
        </p:grpSpPr>
        <p:sp>
          <p:nvSpPr>
            <p:cNvPr id="15" name="Freeform 30"/>
            <p:cNvSpPr>
              <a:spLocks/>
            </p:cNvSpPr>
            <p:nvPr/>
          </p:nvSpPr>
          <p:spPr bwMode="auto">
            <a:xfrm>
              <a:off x="2827338" y="1069975"/>
              <a:ext cx="1068387" cy="752475"/>
            </a:xfrm>
            <a:custGeom>
              <a:avLst/>
              <a:gdLst>
                <a:gd name="T0" fmla="*/ 19 w 285"/>
                <a:gd name="T1" fmla="*/ 61 h 201"/>
                <a:gd name="T2" fmla="*/ 56 w 285"/>
                <a:gd name="T3" fmla="*/ 92 h 201"/>
                <a:gd name="T4" fmla="*/ 74 w 285"/>
                <a:gd name="T5" fmla="*/ 83 h 201"/>
                <a:gd name="T6" fmla="*/ 130 w 285"/>
                <a:gd name="T7" fmla="*/ 122 h 201"/>
                <a:gd name="T8" fmla="*/ 151 w 285"/>
                <a:gd name="T9" fmla="*/ 110 h 201"/>
                <a:gd name="T10" fmla="*/ 152 w 285"/>
                <a:gd name="T11" fmla="*/ 111 h 201"/>
                <a:gd name="T12" fmla="*/ 253 w 285"/>
                <a:gd name="T13" fmla="*/ 184 h 201"/>
                <a:gd name="T14" fmla="*/ 279 w 285"/>
                <a:gd name="T15" fmla="*/ 201 h 201"/>
                <a:gd name="T16" fmla="*/ 285 w 285"/>
                <a:gd name="T17" fmla="*/ 157 h 201"/>
                <a:gd name="T18" fmla="*/ 128 w 285"/>
                <a:gd name="T19" fmla="*/ 0 h 201"/>
                <a:gd name="T20" fmla="*/ 0 w 285"/>
                <a:gd name="T21" fmla="*/ 66 h 201"/>
                <a:gd name="T22" fmla="*/ 2 w 285"/>
                <a:gd name="T23" fmla="*/ 67 h 201"/>
                <a:gd name="T24" fmla="*/ 19 w 285"/>
                <a:gd name="T25" fmla="*/ 6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5" h="201">
                  <a:moveTo>
                    <a:pt x="19" y="61"/>
                  </a:moveTo>
                  <a:cubicBezTo>
                    <a:pt x="56" y="92"/>
                    <a:pt x="56" y="92"/>
                    <a:pt x="56" y="92"/>
                  </a:cubicBezTo>
                  <a:cubicBezTo>
                    <a:pt x="74" y="83"/>
                    <a:pt x="74" y="83"/>
                    <a:pt x="74" y="83"/>
                  </a:cubicBezTo>
                  <a:cubicBezTo>
                    <a:pt x="130" y="122"/>
                    <a:pt x="130" y="122"/>
                    <a:pt x="130" y="122"/>
                  </a:cubicBezTo>
                  <a:cubicBezTo>
                    <a:pt x="151" y="110"/>
                    <a:pt x="151" y="110"/>
                    <a:pt x="151" y="110"/>
                  </a:cubicBezTo>
                  <a:cubicBezTo>
                    <a:pt x="152" y="111"/>
                    <a:pt x="152" y="111"/>
                    <a:pt x="152" y="111"/>
                  </a:cubicBezTo>
                  <a:cubicBezTo>
                    <a:pt x="187" y="140"/>
                    <a:pt x="227" y="166"/>
                    <a:pt x="253" y="184"/>
                  </a:cubicBezTo>
                  <a:cubicBezTo>
                    <a:pt x="267" y="193"/>
                    <a:pt x="275" y="198"/>
                    <a:pt x="279" y="201"/>
                  </a:cubicBezTo>
                  <a:cubicBezTo>
                    <a:pt x="283" y="187"/>
                    <a:pt x="285" y="173"/>
                    <a:pt x="285" y="157"/>
                  </a:cubicBezTo>
                  <a:cubicBezTo>
                    <a:pt x="285" y="70"/>
                    <a:pt x="215" y="0"/>
                    <a:pt x="128" y="0"/>
                  </a:cubicBezTo>
                  <a:cubicBezTo>
                    <a:pt x="75" y="0"/>
                    <a:pt x="29" y="26"/>
                    <a:pt x="0" y="66"/>
                  </a:cubicBezTo>
                  <a:cubicBezTo>
                    <a:pt x="2" y="67"/>
                    <a:pt x="2" y="67"/>
                    <a:pt x="2" y="67"/>
                  </a:cubicBezTo>
                  <a:lnTo>
                    <a:pt x="19"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6" name="Freeform 31"/>
            <p:cNvSpPr>
              <a:spLocks noEditPoints="1"/>
            </p:cNvSpPr>
            <p:nvPr/>
          </p:nvSpPr>
          <p:spPr bwMode="auto">
            <a:xfrm>
              <a:off x="1751012" y="1208088"/>
              <a:ext cx="2359025" cy="1004888"/>
            </a:xfrm>
            <a:custGeom>
              <a:avLst/>
              <a:gdLst>
                <a:gd name="T0" fmla="*/ 540 w 629"/>
                <a:gd name="T1" fmla="*/ 154 h 268"/>
                <a:gd name="T2" fmla="*/ 438 w 629"/>
                <a:gd name="T3" fmla="*/ 80 h 268"/>
                <a:gd name="T4" fmla="*/ 361 w 629"/>
                <a:gd name="T5" fmla="*/ 54 h 268"/>
                <a:gd name="T6" fmla="*/ 306 w 629"/>
                <a:gd name="T7" fmla="*/ 31 h 268"/>
                <a:gd name="T8" fmla="*/ 233 w 629"/>
                <a:gd name="T9" fmla="*/ 0 h 268"/>
                <a:gd name="T10" fmla="*/ 190 w 629"/>
                <a:gd name="T11" fmla="*/ 29 h 268"/>
                <a:gd name="T12" fmla="*/ 44 w 629"/>
                <a:gd name="T13" fmla="*/ 163 h 268"/>
                <a:gd name="T14" fmla="*/ 92 w 629"/>
                <a:gd name="T15" fmla="*/ 149 h 268"/>
                <a:gd name="T16" fmla="*/ 110 w 629"/>
                <a:gd name="T17" fmla="*/ 116 h 268"/>
                <a:gd name="T18" fmla="*/ 100 w 629"/>
                <a:gd name="T19" fmla="*/ 111 h 268"/>
                <a:gd name="T20" fmla="*/ 118 w 629"/>
                <a:gd name="T21" fmla="*/ 83 h 268"/>
                <a:gd name="T22" fmla="*/ 190 w 629"/>
                <a:gd name="T23" fmla="*/ 40 h 268"/>
                <a:gd name="T24" fmla="*/ 250 w 629"/>
                <a:gd name="T25" fmla="*/ 49 h 268"/>
                <a:gd name="T26" fmla="*/ 282 w 629"/>
                <a:gd name="T27" fmla="*/ 64 h 268"/>
                <a:gd name="T28" fmla="*/ 303 w 629"/>
                <a:gd name="T29" fmla="*/ 65 h 268"/>
                <a:gd name="T30" fmla="*/ 308 w 629"/>
                <a:gd name="T31" fmla="*/ 39 h 268"/>
                <a:gd name="T32" fmla="*/ 348 w 629"/>
                <a:gd name="T33" fmla="*/ 67 h 268"/>
                <a:gd name="T34" fmla="*/ 408 w 629"/>
                <a:gd name="T35" fmla="*/ 132 h 268"/>
                <a:gd name="T36" fmla="*/ 442 w 629"/>
                <a:gd name="T37" fmla="*/ 139 h 268"/>
                <a:gd name="T38" fmla="*/ 463 w 629"/>
                <a:gd name="T39" fmla="*/ 132 h 268"/>
                <a:gd name="T40" fmla="*/ 519 w 629"/>
                <a:gd name="T41" fmla="*/ 150 h 268"/>
                <a:gd name="T42" fmla="*/ 376 w 629"/>
                <a:gd name="T43" fmla="*/ 185 h 268"/>
                <a:gd name="T44" fmla="*/ 81 w 629"/>
                <a:gd name="T45" fmla="*/ 268 h 268"/>
                <a:gd name="T46" fmla="*/ 108 w 629"/>
                <a:gd name="T47" fmla="*/ 217 h 268"/>
                <a:gd name="T48" fmla="*/ 163 w 629"/>
                <a:gd name="T49" fmla="*/ 219 h 268"/>
                <a:gd name="T50" fmla="*/ 390 w 629"/>
                <a:gd name="T51" fmla="*/ 268 h 268"/>
                <a:gd name="T52" fmla="*/ 613 w 629"/>
                <a:gd name="T53" fmla="*/ 212 h 268"/>
                <a:gd name="T54" fmla="*/ 41 w 629"/>
                <a:gd name="T55" fmla="*/ 205 h 268"/>
                <a:gd name="T56" fmla="*/ 34 w 629"/>
                <a:gd name="T57" fmla="*/ 202 h 268"/>
                <a:gd name="T58" fmla="*/ 41 w 629"/>
                <a:gd name="T59" fmla="*/ 205 h 268"/>
                <a:gd name="T60" fmla="*/ 521 w 629"/>
                <a:gd name="T61" fmla="*/ 212 h 268"/>
                <a:gd name="T62" fmla="*/ 581 w 629"/>
                <a:gd name="T63" fmla="*/ 17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29" h="268">
                  <a:moveTo>
                    <a:pt x="559" y="166"/>
                  </a:moveTo>
                  <a:cubicBezTo>
                    <a:pt x="554" y="163"/>
                    <a:pt x="547" y="159"/>
                    <a:pt x="540" y="154"/>
                  </a:cubicBezTo>
                  <a:cubicBezTo>
                    <a:pt x="514" y="137"/>
                    <a:pt x="474" y="110"/>
                    <a:pt x="439" y="81"/>
                  </a:cubicBezTo>
                  <a:cubicBezTo>
                    <a:pt x="438" y="80"/>
                    <a:pt x="438" y="80"/>
                    <a:pt x="438" y="80"/>
                  </a:cubicBezTo>
                  <a:cubicBezTo>
                    <a:pt x="417" y="93"/>
                    <a:pt x="417" y="93"/>
                    <a:pt x="417" y="93"/>
                  </a:cubicBezTo>
                  <a:cubicBezTo>
                    <a:pt x="361" y="54"/>
                    <a:pt x="361" y="54"/>
                    <a:pt x="361" y="54"/>
                  </a:cubicBezTo>
                  <a:cubicBezTo>
                    <a:pt x="343" y="62"/>
                    <a:pt x="343" y="62"/>
                    <a:pt x="343" y="62"/>
                  </a:cubicBezTo>
                  <a:cubicBezTo>
                    <a:pt x="306" y="31"/>
                    <a:pt x="306" y="31"/>
                    <a:pt x="306" y="31"/>
                  </a:cubicBezTo>
                  <a:cubicBezTo>
                    <a:pt x="289" y="38"/>
                    <a:pt x="289" y="38"/>
                    <a:pt x="289" y="38"/>
                  </a:cubicBezTo>
                  <a:cubicBezTo>
                    <a:pt x="233" y="0"/>
                    <a:pt x="233" y="0"/>
                    <a:pt x="233" y="0"/>
                  </a:cubicBezTo>
                  <a:cubicBezTo>
                    <a:pt x="231" y="2"/>
                    <a:pt x="231" y="2"/>
                    <a:pt x="231" y="2"/>
                  </a:cubicBezTo>
                  <a:cubicBezTo>
                    <a:pt x="224" y="9"/>
                    <a:pt x="197" y="29"/>
                    <a:pt x="190" y="29"/>
                  </a:cubicBezTo>
                  <a:cubicBezTo>
                    <a:pt x="184" y="25"/>
                    <a:pt x="174" y="13"/>
                    <a:pt x="174" y="13"/>
                  </a:cubicBezTo>
                  <a:cubicBezTo>
                    <a:pt x="174" y="13"/>
                    <a:pt x="82" y="112"/>
                    <a:pt x="44" y="163"/>
                  </a:cubicBezTo>
                  <a:cubicBezTo>
                    <a:pt x="97" y="121"/>
                    <a:pt x="97" y="121"/>
                    <a:pt x="97" y="121"/>
                  </a:cubicBezTo>
                  <a:cubicBezTo>
                    <a:pt x="92" y="149"/>
                    <a:pt x="92" y="149"/>
                    <a:pt x="92" y="149"/>
                  </a:cubicBezTo>
                  <a:cubicBezTo>
                    <a:pt x="149" y="79"/>
                    <a:pt x="149" y="79"/>
                    <a:pt x="149" y="79"/>
                  </a:cubicBezTo>
                  <a:cubicBezTo>
                    <a:pt x="110" y="116"/>
                    <a:pt x="110" y="116"/>
                    <a:pt x="110" y="116"/>
                  </a:cubicBezTo>
                  <a:cubicBezTo>
                    <a:pt x="156" y="53"/>
                    <a:pt x="156" y="53"/>
                    <a:pt x="156" y="53"/>
                  </a:cubicBezTo>
                  <a:cubicBezTo>
                    <a:pt x="100" y="111"/>
                    <a:pt x="100" y="111"/>
                    <a:pt x="100" y="111"/>
                  </a:cubicBezTo>
                  <a:cubicBezTo>
                    <a:pt x="118" y="83"/>
                    <a:pt x="118" y="83"/>
                    <a:pt x="118" y="83"/>
                  </a:cubicBezTo>
                  <a:cubicBezTo>
                    <a:pt x="118" y="83"/>
                    <a:pt x="118" y="83"/>
                    <a:pt x="118" y="83"/>
                  </a:cubicBezTo>
                  <a:cubicBezTo>
                    <a:pt x="151" y="49"/>
                    <a:pt x="174" y="27"/>
                    <a:pt x="174" y="27"/>
                  </a:cubicBezTo>
                  <a:cubicBezTo>
                    <a:pt x="174" y="27"/>
                    <a:pt x="183" y="38"/>
                    <a:pt x="190" y="40"/>
                  </a:cubicBezTo>
                  <a:cubicBezTo>
                    <a:pt x="199" y="35"/>
                    <a:pt x="222" y="20"/>
                    <a:pt x="222" y="20"/>
                  </a:cubicBezTo>
                  <a:cubicBezTo>
                    <a:pt x="250" y="49"/>
                    <a:pt x="250" y="49"/>
                    <a:pt x="250" y="49"/>
                  </a:cubicBezTo>
                  <a:cubicBezTo>
                    <a:pt x="240" y="21"/>
                    <a:pt x="240" y="21"/>
                    <a:pt x="240" y="21"/>
                  </a:cubicBezTo>
                  <a:cubicBezTo>
                    <a:pt x="282" y="64"/>
                    <a:pt x="282" y="64"/>
                    <a:pt x="282" y="64"/>
                  </a:cubicBezTo>
                  <a:cubicBezTo>
                    <a:pt x="274" y="43"/>
                    <a:pt x="274" y="43"/>
                    <a:pt x="274" y="43"/>
                  </a:cubicBezTo>
                  <a:cubicBezTo>
                    <a:pt x="303" y="65"/>
                    <a:pt x="303" y="65"/>
                    <a:pt x="303" y="65"/>
                  </a:cubicBezTo>
                  <a:cubicBezTo>
                    <a:pt x="296" y="47"/>
                    <a:pt x="296" y="47"/>
                    <a:pt x="296" y="47"/>
                  </a:cubicBezTo>
                  <a:cubicBezTo>
                    <a:pt x="308" y="39"/>
                    <a:pt x="308" y="39"/>
                    <a:pt x="308" y="39"/>
                  </a:cubicBezTo>
                  <a:cubicBezTo>
                    <a:pt x="353" y="89"/>
                    <a:pt x="353" y="89"/>
                    <a:pt x="353" y="89"/>
                  </a:cubicBezTo>
                  <a:cubicBezTo>
                    <a:pt x="348" y="67"/>
                    <a:pt x="348" y="67"/>
                    <a:pt x="348" y="67"/>
                  </a:cubicBezTo>
                  <a:cubicBezTo>
                    <a:pt x="415" y="155"/>
                    <a:pt x="415" y="155"/>
                    <a:pt x="415" y="155"/>
                  </a:cubicBezTo>
                  <a:cubicBezTo>
                    <a:pt x="408" y="132"/>
                    <a:pt x="408" y="132"/>
                    <a:pt x="408" y="132"/>
                  </a:cubicBezTo>
                  <a:cubicBezTo>
                    <a:pt x="457" y="167"/>
                    <a:pt x="457" y="167"/>
                    <a:pt x="457" y="167"/>
                  </a:cubicBezTo>
                  <a:cubicBezTo>
                    <a:pt x="456" y="162"/>
                    <a:pt x="442" y="139"/>
                    <a:pt x="442" y="139"/>
                  </a:cubicBezTo>
                  <a:cubicBezTo>
                    <a:pt x="489" y="169"/>
                    <a:pt x="489" y="169"/>
                    <a:pt x="489" y="169"/>
                  </a:cubicBezTo>
                  <a:cubicBezTo>
                    <a:pt x="463" y="132"/>
                    <a:pt x="463" y="132"/>
                    <a:pt x="463" y="132"/>
                  </a:cubicBezTo>
                  <a:cubicBezTo>
                    <a:pt x="545" y="167"/>
                    <a:pt x="545" y="167"/>
                    <a:pt x="545" y="167"/>
                  </a:cubicBezTo>
                  <a:cubicBezTo>
                    <a:pt x="540" y="164"/>
                    <a:pt x="530" y="157"/>
                    <a:pt x="519" y="150"/>
                  </a:cubicBezTo>
                  <a:cubicBezTo>
                    <a:pt x="543" y="163"/>
                    <a:pt x="562" y="170"/>
                    <a:pt x="569" y="174"/>
                  </a:cubicBezTo>
                  <a:cubicBezTo>
                    <a:pt x="600" y="197"/>
                    <a:pt x="510" y="211"/>
                    <a:pt x="376" y="185"/>
                  </a:cubicBezTo>
                  <a:cubicBezTo>
                    <a:pt x="300" y="170"/>
                    <a:pt x="133" y="134"/>
                    <a:pt x="43" y="172"/>
                  </a:cubicBezTo>
                  <a:cubicBezTo>
                    <a:pt x="1" y="191"/>
                    <a:pt x="0" y="239"/>
                    <a:pt x="81" y="268"/>
                  </a:cubicBezTo>
                  <a:cubicBezTo>
                    <a:pt x="86" y="268"/>
                    <a:pt x="169" y="268"/>
                    <a:pt x="172" y="268"/>
                  </a:cubicBezTo>
                  <a:cubicBezTo>
                    <a:pt x="150" y="256"/>
                    <a:pt x="125" y="239"/>
                    <a:pt x="108" y="217"/>
                  </a:cubicBezTo>
                  <a:cubicBezTo>
                    <a:pt x="82" y="183"/>
                    <a:pt x="143" y="169"/>
                    <a:pt x="243" y="177"/>
                  </a:cubicBezTo>
                  <a:cubicBezTo>
                    <a:pt x="179" y="174"/>
                    <a:pt x="115" y="182"/>
                    <a:pt x="163" y="219"/>
                  </a:cubicBezTo>
                  <a:cubicBezTo>
                    <a:pt x="189" y="240"/>
                    <a:pt x="230" y="256"/>
                    <a:pt x="273" y="268"/>
                  </a:cubicBezTo>
                  <a:cubicBezTo>
                    <a:pt x="282" y="268"/>
                    <a:pt x="388" y="268"/>
                    <a:pt x="390" y="268"/>
                  </a:cubicBezTo>
                  <a:cubicBezTo>
                    <a:pt x="298" y="251"/>
                    <a:pt x="195" y="227"/>
                    <a:pt x="209" y="206"/>
                  </a:cubicBezTo>
                  <a:cubicBezTo>
                    <a:pt x="238" y="159"/>
                    <a:pt x="572" y="263"/>
                    <a:pt x="613" y="212"/>
                  </a:cubicBezTo>
                  <a:cubicBezTo>
                    <a:pt x="629" y="191"/>
                    <a:pt x="584" y="174"/>
                    <a:pt x="559" y="166"/>
                  </a:cubicBezTo>
                  <a:close/>
                  <a:moveTo>
                    <a:pt x="41" y="205"/>
                  </a:moveTo>
                  <a:cubicBezTo>
                    <a:pt x="44" y="221"/>
                    <a:pt x="61" y="233"/>
                    <a:pt x="61" y="233"/>
                  </a:cubicBezTo>
                  <a:cubicBezTo>
                    <a:pt x="61" y="233"/>
                    <a:pt x="33" y="221"/>
                    <a:pt x="34" y="202"/>
                  </a:cubicBezTo>
                  <a:cubicBezTo>
                    <a:pt x="35" y="181"/>
                    <a:pt x="71" y="176"/>
                    <a:pt x="71" y="176"/>
                  </a:cubicBezTo>
                  <a:cubicBezTo>
                    <a:pt x="62" y="178"/>
                    <a:pt x="38" y="183"/>
                    <a:pt x="41" y="205"/>
                  </a:cubicBezTo>
                  <a:close/>
                  <a:moveTo>
                    <a:pt x="603" y="197"/>
                  </a:moveTo>
                  <a:cubicBezTo>
                    <a:pt x="597" y="217"/>
                    <a:pt x="539" y="214"/>
                    <a:pt x="521" y="212"/>
                  </a:cubicBezTo>
                  <a:cubicBezTo>
                    <a:pt x="529" y="212"/>
                    <a:pt x="591" y="213"/>
                    <a:pt x="597" y="197"/>
                  </a:cubicBezTo>
                  <a:cubicBezTo>
                    <a:pt x="602" y="186"/>
                    <a:pt x="585" y="179"/>
                    <a:pt x="581" y="177"/>
                  </a:cubicBezTo>
                  <a:cubicBezTo>
                    <a:pt x="585" y="178"/>
                    <a:pt x="605" y="189"/>
                    <a:pt x="603"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sp>
        <p:nvSpPr>
          <p:cNvPr id="2" name="Title 1"/>
          <p:cNvSpPr>
            <a:spLocks noGrp="1"/>
          </p:cNvSpPr>
          <p:nvPr userDrawn="1">
            <p:ph type="title" hasCustomPrompt="1"/>
          </p:nvPr>
        </p:nvSpPr>
        <p:spPr/>
        <p:txBody>
          <a:bodyPr/>
          <a:lstStyle>
            <a:lvl1pPr>
              <a:defRPr/>
            </a:lvl1pPr>
          </a:lstStyle>
          <a:p>
            <a:r>
              <a:rPr lang="en-US" dirty="0"/>
              <a:t>Panoramic image with text</a:t>
            </a:r>
          </a:p>
        </p:txBody>
      </p:sp>
      <p:sp>
        <p:nvSpPr>
          <p:cNvPr id="5" name="Text Placeholder 3"/>
          <p:cNvSpPr>
            <a:spLocks noGrp="1"/>
          </p:cNvSpPr>
          <p:nvPr userDrawn="1">
            <p:ph type="body" sz="quarter" idx="11" hasCustomPrompt="1"/>
          </p:nvPr>
        </p:nvSpPr>
        <p:spPr>
          <a:xfrm>
            <a:off x="611717" y="1538289"/>
            <a:ext cx="10972800" cy="2058407"/>
          </a:xfrm>
        </p:spPr>
        <p:txBody>
          <a:bodyPr/>
          <a:lstStyle>
            <a:lvl1pPr marL="0" indent="0" algn="l">
              <a:buNone/>
              <a:defRPr sz="2400"/>
            </a:lvl1pPr>
          </a:lstStyle>
          <a:p>
            <a:pPr lvl="0"/>
            <a:r>
              <a:rPr lang="en-US" dirty="0"/>
              <a:t>Enter your text here</a:t>
            </a:r>
          </a:p>
        </p:txBody>
      </p:sp>
      <p:cxnSp>
        <p:nvCxnSpPr>
          <p:cNvPr id="7" name="Straight Connector 6"/>
          <p:cNvCxnSpPr/>
          <p:nvPr userDrawn="1"/>
        </p:nvCxnSpPr>
        <p:spPr>
          <a:xfrm>
            <a:off x="611717" y="3860359"/>
            <a:ext cx="11580283"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21" name="Text Placeholder 4"/>
          <p:cNvSpPr>
            <a:spLocks noGrp="1"/>
          </p:cNvSpPr>
          <p:nvPr userDrawn="1">
            <p:ph type="body" sz="quarter" idx="14" hasCustomPrompt="1"/>
          </p:nvPr>
        </p:nvSpPr>
        <p:spPr>
          <a:xfrm>
            <a:off x="600428" y="881767"/>
            <a:ext cx="10972800" cy="366932"/>
          </a:xfrm>
        </p:spPr>
        <p:txBody>
          <a:bodyPr/>
          <a:lstStyle>
            <a:lvl1pPr marL="0" indent="0">
              <a:buNone/>
              <a:defRPr sz="2667" baseline="0"/>
            </a:lvl1pPr>
            <a:lvl2pPr marL="302675" indent="0">
              <a:buNone/>
              <a:defRPr/>
            </a:lvl2pPr>
          </a:lstStyle>
          <a:p>
            <a:pPr lvl="0"/>
            <a:r>
              <a:rPr lang="en-US" dirty="0"/>
              <a:t>Sub-header optional—delete if not needed</a:t>
            </a:r>
          </a:p>
        </p:txBody>
      </p:sp>
      <p:sp>
        <p:nvSpPr>
          <p:cNvPr id="22" name="Text Placeholder 5"/>
          <p:cNvSpPr>
            <a:spLocks noGrp="1"/>
          </p:cNvSpPr>
          <p:nvPr>
            <p:ph type="body" sz="quarter" idx="15" hasCustomPrompt="1"/>
          </p:nvPr>
        </p:nvSpPr>
        <p:spPr>
          <a:xfrm>
            <a:off x="3138793" y="6560363"/>
            <a:ext cx="5927388" cy="214955"/>
          </a:xfrm>
        </p:spPr>
        <p:txBody>
          <a:bodyPr/>
          <a:lstStyle>
            <a:lvl1pPr marL="0" indent="0" algn="ctr">
              <a:buNone/>
              <a:defRPr sz="933" baseline="0"/>
            </a:lvl1pPr>
          </a:lstStyle>
          <a:p>
            <a:pPr lvl="0"/>
            <a:r>
              <a:rPr lang="en-US" dirty="0"/>
              <a:t>For internal use only.</a:t>
            </a:r>
          </a:p>
        </p:txBody>
      </p:sp>
      <p:grpSp>
        <p:nvGrpSpPr>
          <p:cNvPr id="23" name="Group 22"/>
          <p:cNvGrpSpPr/>
          <p:nvPr userDrawn="1"/>
        </p:nvGrpSpPr>
        <p:grpSpPr>
          <a:xfrm>
            <a:off x="-2218059" y="3785723"/>
            <a:ext cx="1879365" cy="2322331"/>
            <a:chOff x="-1663544" y="2370068"/>
            <a:chExt cx="1409524" cy="2322330"/>
          </a:xfrm>
        </p:grpSpPr>
        <p:pic>
          <p:nvPicPr>
            <p:cNvPr id="2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663544" y="4044779"/>
              <a:ext cx="1409524" cy="6476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TextBox 24"/>
            <p:cNvSpPr txBox="1"/>
            <p:nvPr/>
          </p:nvSpPr>
          <p:spPr>
            <a:xfrm>
              <a:off x="-1663544" y="2370068"/>
              <a:ext cx="1386540" cy="1446934"/>
            </a:xfrm>
            <a:prstGeom prst="rect">
              <a:avLst/>
            </a:prstGeom>
            <a:noFill/>
          </p:spPr>
          <p:txBody>
            <a:bodyPr wrap="square" rtlCol="0">
              <a:spAutoFit/>
            </a:bodyPr>
            <a:lstStyle/>
            <a:p>
              <a:r>
                <a:rPr lang="en-US" sz="1467" dirty="0"/>
                <a:t>To crop image or reposition image inside of frame, right click on the image and select the crop tool</a:t>
              </a:r>
            </a:p>
          </p:txBody>
        </p:sp>
      </p:grpSp>
    </p:spTree>
    <p:extLst>
      <p:ext uri="{BB962C8B-B14F-4D97-AF65-F5344CB8AC3E}">
        <p14:creationId xmlns:p14="http://schemas.microsoft.com/office/powerpoint/2010/main" val="87256081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ULL PAGE IMAGE layout">
    <p:spTree>
      <p:nvGrpSpPr>
        <p:cNvPr id="1" name=""/>
        <p:cNvGrpSpPr/>
        <p:nvPr/>
      </p:nvGrpSpPr>
      <p:grpSpPr>
        <a:xfrm>
          <a:off x="0" y="0"/>
          <a:ext cx="0" cy="0"/>
          <a:chOff x="0" y="0"/>
          <a:chExt cx="0" cy="0"/>
        </a:xfrm>
      </p:grpSpPr>
      <p:grpSp>
        <p:nvGrpSpPr>
          <p:cNvPr id="3" name="Group 2"/>
          <p:cNvGrpSpPr/>
          <p:nvPr userDrawn="1"/>
        </p:nvGrpSpPr>
        <p:grpSpPr>
          <a:xfrm>
            <a:off x="737514" y="1632032"/>
            <a:ext cx="10638060" cy="4434041"/>
            <a:chOff x="553135" y="1224023"/>
            <a:chExt cx="7978545" cy="3325531"/>
          </a:xfrm>
        </p:grpSpPr>
        <p:sp>
          <p:nvSpPr>
            <p:cNvPr id="12" name="Rectangle 11"/>
            <p:cNvSpPr/>
            <p:nvPr userDrawn="1"/>
          </p:nvSpPr>
          <p:spPr>
            <a:xfrm>
              <a:off x="553135" y="1224023"/>
              <a:ext cx="7978545" cy="3325531"/>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nvGrpSpPr>
            <p:cNvPr id="17" name="Group 16"/>
            <p:cNvGrpSpPr/>
            <p:nvPr userDrawn="1"/>
          </p:nvGrpSpPr>
          <p:grpSpPr>
            <a:xfrm>
              <a:off x="2788971" y="1284609"/>
              <a:ext cx="3114995" cy="1564931"/>
              <a:chOff x="1751012" y="1069975"/>
              <a:chExt cx="2359025" cy="1143001"/>
            </a:xfrm>
            <a:solidFill>
              <a:schemeClr val="bg1">
                <a:lumMod val="50000"/>
              </a:schemeClr>
            </a:solidFill>
          </p:grpSpPr>
          <p:sp>
            <p:nvSpPr>
              <p:cNvPr id="18" name="Freeform 30"/>
              <p:cNvSpPr>
                <a:spLocks/>
              </p:cNvSpPr>
              <p:nvPr/>
            </p:nvSpPr>
            <p:spPr bwMode="auto">
              <a:xfrm>
                <a:off x="2827338" y="1069975"/>
                <a:ext cx="1068387" cy="752475"/>
              </a:xfrm>
              <a:custGeom>
                <a:avLst/>
                <a:gdLst>
                  <a:gd name="T0" fmla="*/ 19 w 285"/>
                  <a:gd name="T1" fmla="*/ 61 h 201"/>
                  <a:gd name="T2" fmla="*/ 56 w 285"/>
                  <a:gd name="T3" fmla="*/ 92 h 201"/>
                  <a:gd name="T4" fmla="*/ 74 w 285"/>
                  <a:gd name="T5" fmla="*/ 83 h 201"/>
                  <a:gd name="T6" fmla="*/ 130 w 285"/>
                  <a:gd name="T7" fmla="*/ 122 h 201"/>
                  <a:gd name="T8" fmla="*/ 151 w 285"/>
                  <a:gd name="T9" fmla="*/ 110 h 201"/>
                  <a:gd name="T10" fmla="*/ 152 w 285"/>
                  <a:gd name="T11" fmla="*/ 111 h 201"/>
                  <a:gd name="T12" fmla="*/ 253 w 285"/>
                  <a:gd name="T13" fmla="*/ 184 h 201"/>
                  <a:gd name="T14" fmla="*/ 279 w 285"/>
                  <a:gd name="T15" fmla="*/ 201 h 201"/>
                  <a:gd name="T16" fmla="*/ 285 w 285"/>
                  <a:gd name="T17" fmla="*/ 157 h 201"/>
                  <a:gd name="T18" fmla="*/ 128 w 285"/>
                  <a:gd name="T19" fmla="*/ 0 h 201"/>
                  <a:gd name="T20" fmla="*/ 0 w 285"/>
                  <a:gd name="T21" fmla="*/ 66 h 201"/>
                  <a:gd name="T22" fmla="*/ 2 w 285"/>
                  <a:gd name="T23" fmla="*/ 67 h 201"/>
                  <a:gd name="T24" fmla="*/ 19 w 285"/>
                  <a:gd name="T25" fmla="*/ 6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5" h="201">
                    <a:moveTo>
                      <a:pt x="19" y="61"/>
                    </a:moveTo>
                    <a:cubicBezTo>
                      <a:pt x="56" y="92"/>
                      <a:pt x="56" y="92"/>
                      <a:pt x="56" y="92"/>
                    </a:cubicBezTo>
                    <a:cubicBezTo>
                      <a:pt x="74" y="83"/>
                      <a:pt x="74" y="83"/>
                      <a:pt x="74" y="83"/>
                    </a:cubicBezTo>
                    <a:cubicBezTo>
                      <a:pt x="130" y="122"/>
                      <a:pt x="130" y="122"/>
                      <a:pt x="130" y="122"/>
                    </a:cubicBezTo>
                    <a:cubicBezTo>
                      <a:pt x="151" y="110"/>
                      <a:pt x="151" y="110"/>
                      <a:pt x="151" y="110"/>
                    </a:cubicBezTo>
                    <a:cubicBezTo>
                      <a:pt x="152" y="111"/>
                      <a:pt x="152" y="111"/>
                      <a:pt x="152" y="111"/>
                    </a:cubicBezTo>
                    <a:cubicBezTo>
                      <a:pt x="187" y="140"/>
                      <a:pt x="227" y="166"/>
                      <a:pt x="253" y="184"/>
                    </a:cubicBezTo>
                    <a:cubicBezTo>
                      <a:pt x="267" y="193"/>
                      <a:pt x="275" y="198"/>
                      <a:pt x="279" y="201"/>
                    </a:cubicBezTo>
                    <a:cubicBezTo>
                      <a:pt x="283" y="187"/>
                      <a:pt x="285" y="173"/>
                      <a:pt x="285" y="157"/>
                    </a:cubicBezTo>
                    <a:cubicBezTo>
                      <a:pt x="285" y="70"/>
                      <a:pt x="215" y="0"/>
                      <a:pt x="128" y="0"/>
                    </a:cubicBezTo>
                    <a:cubicBezTo>
                      <a:pt x="75" y="0"/>
                      <a:pt x="29" y="26"/>
                      <a:pt x="0" y="66"/>
                    </a:cubicBezTo>
                    <a:cubicBezTo>
                      <a:pt x="2" y="67"/>
                      <a:pt x="2" y="67"/>
                      <a:pt x="2" y="67"/>
                    </a:cubicBezTo>
                    <a:lnTo>
                      <a:pt x="19"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9" name="Freeform 31"/>
              <p:cNvSpPr>
                <a:spLocks noEditPoints="1"/>
              </p:cNvSpPr>
              <p:nvPr/>
            </p:nvSpPr>
            <p:spPr bwMode="auto">
              <a:xfrm>
                <a:off x="1751012" y="1208088"/>
                <a:ext cx="2359025" cy="1004888"/>
              </a:xfrm>
              <a:custGeom>
                <a:avLst/>
                <a:gdLst>
                  <a:gd name="T0" fmla="*/ 540 w 629"/>
                  <a:gd name="T1" fmla="*/ 154 h 268"/>
                  <a:gd name="T2" fmla="*/ 438 w 629"/>
                  <a:gd name="T3" fmla="*/ 80 h 268"/>
                  <a:gd name="T4" fmla="*/ 361 w 629"/>
                  <a:gd name="T5" fmla="*/ 54 h 268"/>
                  <a:gd name="T6" fmla="*/ 306 w 629"/>
                  <a:gd name="T7" fmla="*/ 31 h 268"/>
                  <a:gd name="T8" fmla="*/ 233 w 629"/>
                  <a:gd name="T9" fmla="*/ 0 h 268"/>
                  <a:gd name="T10" fmla="*/ 190 w 629"/>
                  <a:gd name="T11" fmla="*/ 29 h 268"/>
                  <a:gd name="T12" fmla="*/ 44 w 629"/>
                  <a:gd name="T13" fmla="*/ 163 h 268"/>
                  <a:gd name="T14" fmla="*/ 92 w 629"/>
                  <a:gd name="T15" fmla="*/ 149 h 268"/>
                  <a:gd name="T16" fmla="*/ 110 w 629"/>
                  <a:gd name="T17" fmla="*/ 116 h 268"/>
                  <a:gd name="T18" fmla="*/ 100 w 629"/>
                  <a:gd name="T19" fmla="*/ 111 h 268"/>
                  <a:gd name="T20" fmla="*/ 118 w 629"/>
                  <a:gd name="T21" fmla="*/ 83 h 268"/>
                  <a:gd name="T22" fmla="*/ 190 w 629"/>
                  <a:gd name="T23" fmla="*/ 40 h 268"/>
                  <a:gd name="T24" fmla="*/ 250 w 629"/>
                  <a:gd name="T25" fmla="*/ 49 h 268"/>
                  <a:gd name="T26" fmla="*/ 282 w 629"/>
                  <a:gd name="T27" fmla="*/ 64 h 268"/>
                  <a:gd name="T28" fmla="*/ 303 w 629"/>
                  <a:gd name="T29" fmla="*/ 65 h 268"/>
                  <a:gd name="T30" fmla="*/ 308 w 629"/>
                  <a:gd name="T31" fmla="*/ 39 h 268"/>
                  <a:gd name="T32" fmla="*/ 348 w 629"/>
                  <a:gd name="T33" fmla="*/ 67 h 268"/>
                  <a:gd name="T34" fmla="*/ 408 w 629"/>
                  <a:gd name="T35" fmla="*/ 132 h 268"/>
                  <a:gd name="T36" fmla="*/ 442 w 629"/>
                  <a:gd name="T37" fmla="*/ 139 h 268"/>
                  <a:gd name="T38" fmla="*/ 463 w 629"/>
                  <a:gd name="T39" fmla="*/ 132 h 268"/>
                  <a:gd name="T40" fmla="*/ 519 w 629"/>
                  <a:gd name="T41" fmla="*/ 150 h 268"/>
                  <a:gd name="T42" fmla="*/ 376 w 629"/>
                  <a:gd name="T43" fmla="*/ 185 h 268"/>
                  <a:gd name="T44" fmla="*/ 81 w 629"/>
                  <a:gd name="T45" fmla="*/ 268 h 268"/>
                  <a:gd name="T46" fmla="*/ 108 w 629"/>
                  <a:gd name="T47" fmla="*/ 217 h 268"/>
                  <a:gd name="T48" fmla="*/ 163 w 629"/>
                  <a:gd name="T49" fmla="*/ 219 h 268"/>
                  <a:gd name="T50" fmla="*/ 390 w 629"/>
                  <a:gd name="T51" fmla="*/ 268 h 268"/>
                  <a:gd name="T52" fmla="*/ 613 w 629"/>
                  <a:gd name="T53" fmla="*/ 212 h 268"/>
                  <a:gd name="T54" fmla="*/ 41 w 629"/>
                  <a:gd name="T55" fmla="*/ 205 h 268"/>
                  <a:gd name="T56" fmla="*/ 34 w 629"/>
                  <a:gd name="T57" fmla="*/ 202 h 268"/>
                  <a:gd name="T58" fmla="*/ 41 w 629"/>
                  <a:gd name="T59" fmla="*/ 205 h 268"/>
                  <a:gd name="T60" fmla="*/ 521 w 629"/>
                  <a:gd name="T61" fmla="*/ 212 h 268"/>
                  <a:gd name="T62" fmla="*/ 581 w 629"/>
                  <a:gd name="T63" fmla="*/ 17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29" h="268">
                    <a:moveTo>
                      <a:pt x="559" y="166"/>
                    </a:moveTo>
                    <a:cubicBezTo>
                      <a:pt x="554" y="163"/>
                      <a:pt x="547" y="159"/>
                      <a:pt x="540" y="154"/>
                    </a:cubicBezTo>
                    <a:cubicBezTo>
                      <a:pt x="514" y="137"/>
                      <a:pt x="474" y="110"/>
                      <a:pt x="439" y="81"/>
                    </a:cubicBezTo>
                    <a:cubicBezTo>
                      <a:pt x="438" y="80"/>
                      <a:pt x="438" y="80"/>
                      <a:pt x="438" y="80"/>
                    </a:cubicBezTo>
                    <a:cubicBezTo>
                      <a:pt x="417" y="93"/>
                      <a:pt x="417" y="93"/>
                      <a:pt x="417" y="93"/>
                    </a:cubicBezTo>
                    <a:cubicBezTo>
                      <a:pt x="361" y="54"/>
                      <a:pt x="361" y="54"/>
                      <a:pt x="361" y="54"/>
                    </a:cubicBezTo>
                    <a:cubicBezTo>
                      <a:pt x="343" y="62"/>
                      <a:pt x="343" y="62"/>
                      <a:pt x="343" y="62"/>
                    </a:cubicBezTo>
                    <a:cubicBezTo>
                      <a:pt x="306" y="31"/>
                      <a:pt x="306" y="31"/>
                      <a:pt x="306" y="31"/>
                    </a:cubicBezTo>
                    <a:cubicBezTo>
                      <a:pt x="289" y="38"/>
                      <a:pt x="289" y="38"/>
                      <a:pt x="289" y="38"/>
                    </a:cubicBezTo>
                    <a:cubicBezTo>
                      <a:pt x="233" y="0"/>
                      <a:pt x="233" y="0"/>
                      <a:pt x="233" y="0"/>
                    </a:cubicBezTo>
                    <a:cubicBezTo>
                      <a:pt x="231" y="2"/>
                      <a:pt x="231" y="2"/>
                      <a:pt x="231" y="2"/>
                    </a:cubicBezTo>
                    <a:cubicBezTo>
                      <a:pt x="224" y="9"/>
                      <a:pt x="197" y="29"/>
                      <a:pt x="190" y="29"/>
                    </a:cubicBezTo>
                    <a:cubicBezTo>
                      <a:pt x="184" y="25"/>
                      <a:pt x="174" y="13"/>
                      <a:pt x="174" y="13"/>
                    </a:cubicBezTo>
                    <a:cubicBezTo>
                      <a:pt x="174" y="13"/>
                      <a:pt x="82" y="112"/>
                      <a:pt x="44" y="163"/>
                    </a:cubicBezTo>
                    <a:cubicBezTo>
                      <a:pt x="97" y="121"/>
                      <a:pt x="97" y="121"/>
                      <a:pt x="97" y="121"/>
                    </a:cubicBezTo>
                    <a:cubicBezTo>
                      <a:pt x="92" y="149"/>
                      <a:pt x="92" y="149"/>
                      <a:pt x="92" y="149"/>
                    </a:cubicBezTo>
                    <a:cubicBezTo>
                      <a:pt x="149" y="79"/>
                      <a:pt x="149" y="79"/>
                      <a:pt x="149" y="79"/>
                    </a:cubicBezTo>
                    <a:cubicBezTo>
                      <a:pt x="110" y="116"/>
                      <a:pt x="110" y="116"/>
                      <a:pt x="110" y="116"/>
                    </a:cubicBezTo>
                    <a:cubicBezTo>
                      <a:pt x="156" y="53"/>
                      <a:pt x="156" y="53"/>
                      <a:pt x="156" y="53"/>
                    </a:cubicBezTo>
                    <a:cubicBezTo>
                      <a:pt x="100" y="111"/>
                      <a:pt x="100" y="111"/>
                      <a:pt x="100" y="111"/>
                    </a:cubicBezTo>
                    <a:cubicBezTo>
                      <a:pt x="118" y="83"/>
                      <a:pt x="118" y="83"/>
                      <a:pt x="118" y="83"/>
                    </a:cubicBezTo>
                    <a:cubicBezTo>
                      <a:pt x="118" y="83"/>
                      <a:pt x="118" y="83"/>
                      <a:pt x="118" y="83"/>
                    </a:cubicBezTo>
                    <a:cubicBezTo>
                      <a:pt x="151" y="49"/>
                      <a:pt x="174" y="27"/>
                      <a:pt x="174" y="27"/>
                    </a:cubicBezTo>
                    <a:cubicBezTo>
                      <a:pt x="174" y="27"/>
                      <a:pt x="183" y="38"/>
                      <a:pt x="190" y="40"/>
                    </a:cubicBezTo>
                    <a:cubicBezTo>
                      <a:pt x="199" y="35"/>
                      <a:pt x="222" y="20"/>
                      <a:pt x="222" y="20"/>
                    </a:cubicBezTo>
                    <a:cubicBezTo>
                      <a:pt x="250" y="49"/>
                      <a:pt x="250" y="49"/>
                      <a:pt x="250" y="49"/>
                    </a:cubicBezTo>
                    <a:cubicBezTo>
                      <a:pt x="240" y="21"/>
                      <a:pt x="240" y="21"/>
                      <a:pt x="240" y="21"/>
                    </a:cubicBezTo>
                    <a:cubicBezTo>
                      <a:pt x="282" y="64"/>
                      <a:pt x="282" y="64"/>
                      <a:pt x="282" y="64"/>
                    </a:cubicBezTo>
                    <a:cubicBezTo>
                      <a:pt x="274" y="43"/>
                      <a:pt x="274" y="43"/>
                      <a:pt x="274" y="43"/>
                    </a:cubicBezTo>
                    <a:cubicBezTo>
                      <a:pt x="303" y="65"/>
                      <a:pt x="303" y="65"/>
                      <a:pt x="303" y="65"/>
                    </a:cubicBezTo>
                    <a:cubicBezTo>
                      <a:pt x="296" y="47"/>
                      <a:pt x="296" y="47"/>
                      <a:pt x="296" y="47"/>
                    </a:cubicBezTo>
                    <a:cubicBezTo>
                      <a:pt x="308" y="39"/>
                      <a:pt x="308" y="39"/>
                      <a:pt x="308" y="39"/>
                    </a:cubicBezTo>
                    <a:cubicBezTo>
                      <a:pt x="353" y="89"/>
                      <a:pt x="353" y="89"/>
                      <a:pt x="353" y="89"/>
                    </a:cubicBezTo>
                    <a:cubicBezTo>
                      <a:pt x="348" y="67"/>
                      <a:pt x="348" y="67"/>
                      <a:pt x="348" y="67"/>
                    </a:cubicBezTo>
                    <a:cubicBezTo>
                      <a:pt x="415" y="155"/>
                      <a:pt x="415" y="155"/>
                      <a:pt x="415" y="155"/>
                    </a:cubicBezTo>
                    <a:cubicBezTo>
                      <a:pt x="408" y="132"/>
                      <a:pt x="408" y="132"/>
                      <a:pt x="408" y="132"/>
                    </a:cubicBezTo>
                    <a:cubicBezTo>
                      <a:pt x="457" y="167"/>
                      <a:pt x="457" y="167"/>
                      <a:pt x="457" y="167"/>
                    </a:cubicBezTo>
                    <a:cubicBezTo>
                      <a:pt x="456" y="162"/>
                      <a:pt x="442" y="139"/>
                      <a:pt x="442" y="139"/>
                    </a:cubicBezTo>
                    <a:cubicBezTo>
                      <a:pt x="489" y="169"/>
                      <a:pt x="489" y="169"/>
                      <a:pt x="489" y="169"/>
                    </a:cubicBezTo>
                    <a:cubicBezTo>
                      <a:pt x="463" y="132"/>
                      <a:pt x="463" y="132"/>
                      <a:pt x="463" y="132"/>
                    </a:cubicBezTo>
                    <a:cubicBezTo>
                      <a:pt x="545" y="167"/>
                      <a:pt x="545" y="167"/>
                      <a:pt x="545" y="167"/>
                    </a:cubicBezTo>
                    <a:cubicBezTo>
                      <a:pt x="540" y="164"/>
                      <a:pt x="530" y="157"/>
                      <a:pt x="519" y="150"/>
                    </a:cubicBezTo>
                    <a:cubicBezTo>
                      <a:pt x="543" y="163"/>
                      <a:pt x="562" y="170"/>
                      <a:pt x="569" y="174"/>
                    </a:cubicBezTo>
                    <a:cubicBezTo>
                      <a:pt x="600" y="197"/>
                      <a:pt x="510" y="211"/>
                      <a:pt x="376" y="185"/>
                    </a:cubicBezTo>
                    <a:cubicBezTo>
                      <a:pt x="300" y="170"/>
                      <a:pt x="133" y="134"/>
                      <a:pt x="43" y="172"/>
                    </a:cubicBezTo>
                    <a:cubicBezTo>
                      <a:pt x="1" y="191"/>
                      <a:pt x="0" y="239"/>
                      <a:pt x="81" y="268"/>
                    </a:cubicBezTo>
                    <a:cubicBezTo>
                      <a:pt x="86" y="268"/>
                      <a:pt x="169" y="268"/>
                      <a:pt x="172" y="268"/>
                    </a:cubicBezTo>
                    <a:cubicBezTo>
                      <a:pt x="150" y="256"/>
                      <a:pt x="125" y="239"/>
                      <a:pt x="108" y="217"/>
                    </a:cubicBezTo>
                    <a:cubicBezTo>
                      <a:pt x="82" y="183"/>
                      <a:pt x="143" y="169"/>
                      <a:pt x="243" y="177"/>
                    </a:cubicBezTo>
                    <a:cubicBezTo>
                      <a:pt x="179" y="174"/>
                      <a:pt x="115" y="182"/>
                      <a:pt x="163" y="219"/>
                    </a:cubicBezTo>
                    <a:cubicBezTo>
                      <a:pt x="189" y="240"/>
                      <a:pt x="230" y="256"/>
                      <a:pt x="273" y="268"/>
                    </a:cubicBezTo>
                    <a:cubicBezTo>
                      <a:pt x="282" y="268"/>
                      <a:pt x="388" y="268"/>
                      <a:pt x="390" y="268"/>
                    </a:cubicBezTo>
                    <a:cubicBezTo>
                      <a:pt x="298" y="251"/>
                      <a:pt x="195" y="227"/>
                      <a:pt x="209" y="206"/>
                    </a:cubicBezTo>
                    <a:cubicBezTo>
                      <a:pt x="238" y="159"/>
                      <a:pt x="572" y="263"/>
                      <a:pt x="613" y="212"/>
                    </a:cubicBezTo>
                    <a:cubicBezTo>
                      <a:pt x="629" y="191"/>
                      <a:pt x="584" y="174"/>
                      <a:pt x="559" y="166"/>
                    </a:cubicBezTo>
                    <a:close/>
                    <a:moveTo>
                      <a:pt x="41" y="205"/>
                    </a:moveTo>
                    <a:cubicBezTo>
                      <a:pt x="44" y="221"/>
                      <a:pt x="61" y="233"/>
                      <a:pt x="61" y="233"/>
                    </a:cubicBezTo>
                    <a:cubicBezTo>
                      <a:pt x="61" y="233"/>
                      <a:pt x="33" y="221"/>
                      <a:pt x="34" y="202"/>
                    </a:cubicBezTo>
                    <a:cubicBezTo>
                      <a:pt x="35" y="181"/>
                      <a:pt x="71" y="176"/>
                      <a:pt x="71" y="176"/>
                    </a:cubicBezTo>
                    <a:cubicBezTo>
                      <a:pt x="62" y="178"/>
                      <a:pt x="38" y="183"/>
                      <a:pt x="41" y="205"/>
                    </a:cubicBezTo>
                    <a:close/>
                    <a:moveTo>
                      <a:pt x="603" y="197"/>
                    </a:moveTo>
                    <a:cubicBezTo>
                      <a:pt x="597" y="217"/>
                      <a:pt x="539" y="214"/>
                      <a:pt x="521" y="212"/>
                    </a:cubicBezTo>
                    <a:cubicBezTo>
                      <a:pt x="529" y="212"/>
                      <a:pt x="591" y="213"/>
                      <a:pt x="597" y="197"/>
                    </a:cubicBezTo>
                    <a:cubicBezTo>
                      <a:pt x="602" y="186"/>
                      <a:pt x="585" y="179"/>
                      <a:pt x="581" y="177"/>
                    </a:cubicBezTo>
                    <a:cubicBezTo>
                      <a:pt x="585" y="178"/>
                      <a:pt x="605" y="189"/>
                      <a:pt x="603"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grpSp>
      <p:sp>
        <p:nvSpPr>
          <p:cNvPr id="10" name="Picture Placeholder 9"/>
          <p:cNvSpPr>
            <a:spLocks noGrp="1"/>
          </p:cNvSpPr>
          <p:nvPr>
            <p:ph type="pic" sz="quarter" idx="12" hasCustomPrompt="1"/>
          </p:nvPr>
        </p:nvSpPr>
        <p:spPr>
          <a:xfrm>
            <a:off x="611717" y="1538288"/>
            <a:ext cx="10972800" cy="4642083"/>
          </a:xfrm>
          <a:ln>
            <a:solidFill>
              <a:schemeClr val="tx1"/>
            </a:solidFill>
          </a:ln>
        </p:spPr>
        <p:txBody>
          <a:bodyPr tIns="731520" bIns="1188720" anchor="b" anchorCtr="0"/>
          <a:lstStyle>
            <a:lvl1pPr marL="0" indent="0" algn="ctr">
              <a:buNone/>
              <a:defRPr sz="1867" baseline="0"/>
            </a:lvl1pPr>
          </a:lstStyle>
          <a:p>
            <a:r>
              <a:rPr lang="en-US" dirty="0"/>
              <a:t>CLICK ▲ ICON                                                                                                                                                        to add photo</a:t>
            </a:r>
          </a:p>
        </p:txBody>
      </p:sp>
      <p:sp>
        <p:nvSpPr>
          <p:cNvPr id="2" name="Title 1"/>
          <p:cNvSpPr>
            <a:spLocks noGrp="1"/>
          </p:cNvSpPr>
          <p:nvPr userDrawn="1">
            <p:ph type="title" hasCustomPrompt="1"/>
          </p:nvPr>
        </p:nvSpPr>
        <p:spPr>
          <a:xfrm>
            <a:off x="598311" y="227013"/>
            <a:ext cx="10962219" cy="498475"/>
          </a:xfrm>
        </p:spPr>
        <p:txBody>
          <a:bodyPr/>
          <a:lstStyle>
            <a:lvl1pPr>
              <a:defRPr/>
            </a:lvl1pPr>
          </a:lstStyle>
          <a:p>
            <a:r>
              <a:rPr lang="en-US" dirty="0"/>
              <a:t>Comparing two items or features</a:t>
            </a:r>
          </a:p>
        </p:txBody>
      </p:sp>
      <p:sp>
        <p:nvSpPr>
          <p:cNvPr id="21" name="Text Placeholder 4"/>
          <p:cNvSpPr>
            <a:spLocks noGrp="1"/>
          </p:cNvSpPr>
          <p:nvPr userDrawn="1">
            <p:ph type="body" sz="quarter" idx="14" hasCustomPrompt="1"/>
          </p:nvPr>
        </p:nvSpPr>
        <p:spPr>
          <a:xfrm>
            <a:off x="600428" y="881767"/>
            <a:ext cx="10972800" cy="366932"/>
          </a:xfrm>
        </p:spPr>
        <p:txBody>
          <a:bodyPr/>
          <a:lstStyle>
            <a:lvl1pPr marL="0" indent="0">
              <a:buNone/>
              <a:defRPr sz="2667" baseline="0"/>
            </a:lvl1pPr>
            <a:lvl2pPr marL="302675" indent="0">
              <a:buNone/>
              <a:defRPr/>
            </a:lvl2pPr>
          </a:lstStyle>
          <a:p>
            <a:pPr lvl="0"/>
            <a:r>
              <a:rPr lang="en-US" dirty="0"/>
              <a:t>Sub-header optional—delete if not needed</a:t>
            </a:r>
          </a:p>
        </p:txBody>
      </p:sp>
      <p:sp>
        <p:nvSpPr>
          <p:cNvPr id="22" name="Text Placeholder 5"/>
          <p:cNvSpPr>
            <a:spLocks noGrp="1"/>
          </p:cNvSpPr>
          <p:nvPr>
            <p:ph type="body" sz="quarter" idx="15" hasCustomPrompt="1"/>
          </p:nvPr>
        </p:nvSpPr>
        <p:spPr>
          <a:xfrm>
            <a:off x="3138793" y="6560363"/>
            <a:ext cx="5927388" cy="214955"/>
          </a:xfrm>
        </p:spPr>
        <p:txBody>
          <a:bodyPr/>
          <a:lstStyle>
            <a:lvl1pPr marL="0" indent="0" algn="ctr">
              <a:buNone/>
              <a:defRPr sz="933" baseline="0"/>
            </a:lvl1pPr>
          </a:lstStyle>
          <a:p>
            <a:pPr lvl="0"/>
            <a:r>
              <a:rPr lang="en-US" dirty="0"/>
              <a:t>For internal use only.</a:t>
            </a:r>
          </a:p>
        </p:txBody>
      </p:sp>
      <p:grpSp>
        <p:nvGrpSpPr>
          <p:cNvPr id="23" name="Group 22"/>
          <p:cNvGrpSpPr/>
          <p:nvPr userDrawn="1"/>
        </p:nvGrpSpPr>
        <p:grpSpPr>
          <a:xfrm>
            <a:off x="-2218059" y="2387706"/>
            <a:ext cx="1879365" cy="2545668"/>
            <a:chOff x="-1663544" y="2146731"/>
            <a:chExt cx="1409524" cy="2545667"/>
          </a:xfrm>
        </p:grpSpPr>
        <p:pic>
          <p:nvPicPr>
            <p:cNvPr id="2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663544" y="4044779"/>
              <a:ext cx="1409524" cy="6476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TextBox 24"/>
            <p:cNvSpPr txBox="1"/>
            <p:nvPr/>
          </p:nvSpPr>
          <p:spPr>
            <a:xfrm>
              <a:off x="-1663544" y="2146731"/>
              <a:ext cx="1386540" cy="1446934"/>
            </a:xfrm>
            <a:prstGeom prst="rect">
              <a:avLst/>
            </a:prstGeom>
            <a:noFill/>
          </p:spPr>
          <p:txBody>
            <a:bodyPr wrap="square" rtlCol="0">
              <a:spAutoFit/>
            </a:bodyPr>
            <a:lstStyle/>
            <a:p>
              <a:r>
                <a:rPr lang="en-US" sz="1467" dirty="0"/>
                <a:t>To crop image or reposition image inside of frame, right click on the image and select the crop tool</a:t>
              </a:r>
            </a:p>
          </p:txBody>
        </p:sp>
      </p:grpSp>
    </p:spTree>
    <p:extLst>
      <p:ext uri="{BB962C8B-B14F-4D97-AF65-F5344CB8AC3E}">
        <p14:creationId xmlns:p14="http://schemas.microsoft.com/office/powerpoint/2010/main" val="295032873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Table layout </a:t>
            </a:r>
          </a:p>
        </p:txBody>
      </p:sp>
      <p:sp>
        <p:nvSpPr>
          <p:cNvPr id="4" name="Table Placeholder 3"/>
          <p:cNvSpPr>
            <a:spLocks noGrp="1"/>
          </p:cNvSpPr>
          <p:nvPr>
            <p:ph type="tbl" sz="quarter" idx="10" hasCustomPrompt="1"/>
          </p:nvPr>
        </p:nvSpPr>
        <p:spPr>
          <a:xfrm>
            <a:off x="618067" y="1530351"/>
            <a:ext cx="10966451" cy="4660900"/>
          </a:xfrm>
        </p:spPr>
        <p:txBody>
          <a:bodyPr tIns="1280160"/>
          <a:lstStyle>
            <a:lvl1pPr marL="0" marR="0" indent="0" algn="ctr" defTabSz="1219170" rtl="0" eaLnBrk="1" fontAlgn="auto" latinLnBrk="0" hangingPunct="1">
              <a:lnSpc>
                <a:spcPct val="90000"/>
              </a:lnSpc>
              <a:spcBef>
                <a:spcPts val="0"/>
              </a:spcBef>
              <a:spcAft>
                <a:spcPts val="0"/>
              </a:spcAft>
              <a:buClr>
                <a:srgbClr val="00A9E0"/>
              </a:buClr>
              <a:buSzPct val="100000"/>
              <a:buFont typeface="Arial" panose="020B0604020202020204" pitchFamily="34" charset="0"/>
              <a:buNone/>
              <a:tabLst/>
              <a:defRPr/>
            </a:lvl1pPr>
          </a:lstStyle>
          <a:p>
            <a:r>
              <a:rPr lang="en-US" dirty="0"/>
              <a:t>CLICK ▲ ICON              </a:t>
            </a:r>
          </a:p>
          <a:p>
            <a:r>
              <a:rPr lang="en-US" dirty="0"/>
              <a:t>  to add table</a:t>
            </a:r>
          </a:p>
          <a:p>
            <a:endParaRPr lang="en-US" dirty="0"/>
          </a:p>
        </p:txBody>
      </p:sp>
      <p:sp>
        <p:nvSpPr>
          <p:cNvPr id="6" name="Text Placeholder 4"/>
          <p:cNvSpPr>
            <a:spLocks noGrp="1"/>
          </p:cNvSpPr>
          <p:nvPr>
            <p:ph type="body" sz="quarter" idx="11" hasCustomPrompt="1"/>
          </p:nvPr>
        </p:nvSpPr>
        <p:spPr>
          <a:xfrm>
            <a:off x="600428" y="881767"/>
            <a:ext cx="10972800" cy="366932"/>
          </a:xfrm>
        </p:spPr>
        <p:txBody>
          <a:bodyPr/>
          <a:lstStyle>
            <a:lvl1pPr marL="0" indent="0">
              <a:buNone/>
              <a:defRPr sz="2667" baseline="0"/>
            </a:lvl1pPr>
            <a:lvl2pPr marL="302675" indent="0">
              <a:buNone/>
              <a:defRPr/>
            </a:lvl2pPr>
          </a:lstStyle>
          <a:p>
            <a:pPr lvl="0"/>
            <a:r>
              <a:rPr lang="en-US" dirty="0"/>
              <a:t>Sub-header optional—delete if not needed</a:t>
            </a:r>
          </a:p>
        </p:txBody>
      </p:sp>
      <p:sp>
        <p:nvSpPr>
          <p:cNvPr id="7" name="Text Placeholder 5"/>
          <p:cNvSpPr>
            <a:spLocks noGrp="1"/>
          </p:cNvSpPr>
          <p:nvPr>
            <p:ph type="body" sz="quarter" idx="14" hasCustomPrompt="1"/>
          </p:nvPr>
        </p:nvSpPr>
        <p:spPr>
          <a:xfrm>
            <a:off x="3138793" y="6560363"/>
            <a:ext cx="5927388" cy="214955"/>
          </a:xfrm>
        </p:spPr>
        <p:txBody>
          <a:bodyPr/>
          <a:lstStyle>
            <a:lvl1pPr marL="0" indent="0" algn="ctr">
              <a:buNone/>
              <a:defRPr sz="933" baseline="0"/>
            </a:lvl1pPr>
          </a:lstStyle>
          <a:p>
            <a:pPr lvl="0"/>
            <a:r>
              <a:rPr lang="en-US" dirty="0"/>
              <a:t>For internal use only.</a:t>
            </a:r>
          </a:p>
        </p:txBody>
      </p:sp>
    </p:spTree>
    <p:extLst>
      <p:ext uri="{BB962C8B-B14F-4D97-AF65-F5344CB8AC3E}">
        <p14:creationId xmlns:p14="http://schemas.microsoft.com/office/powerpoint/2010/main" val="375030664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59616027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_Blank Slide with title (customiz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Blank Slide (Customize)</a:t>
            </a:r>
          </a:p>
        </p:txBody>
      </p:sp>
    </p:spTree>
    <p:extLst>
      <p:ext uri="{BB962C8B-B14F-4D97-AF65-F5344CB8AC3E}">
        <p14:creationId xmlns:p14="http://schemas.microsoft.com/office/powerpoint/2010/main" val="320754872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2_TWO images and text">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p:txBody>
          <a:bodyPr/>
          <a:lstStyle>
            <a:lvl1pPr>
              <a:defRPr sz="3200"/>
            </a:lvl1pPr>
          </a:lstStyle>
          <a:p>
            <a:r>
              <a:rPr lang="en-US" dirty="0"/>
              <a:t>Comparing two items or features</a:t>
            </a:r>
          </a:p>
        </p:txBody>
      </p:sp>
      <p:sp>
        <p:nvSpPr>
          <p:cNvPr id="4" name="Text Placeholder 3"/>
          <p:cNvSpPr>
            <a:spLocks noGrp="1"/>
          </p:cNvSpPr>
          <p:nvPr userDrawn="1">
            <p:ph type="body" sz="quarter" idx="10" hasCustomPrompt="1"/>
          </p:nvPr>
        </p:nvSpPr>
        <p:spPr>
          <a:xfrm>
            <a:off x="3676357" y="1535378"/>
            <a:ext cx="7908160" cy="2103396"/>
          </a:xfrm>
        </p:spPr>
        <p:txBody>
          <a:bodyPr/>
          <a:lstStyle>
            <a:lvl1pPr marL="0" indent="0">
              <a:buNone/>
              <a:defRPr sz="2133" baseline="0"/>
            </a:lvl1pPr>
          </a:lstStyle>
          <a:p>
            <a:pPr lvl="0"/>
            <a:r>
              <a:rPr lang="en-US" dirty="0"/>
              <a:t>Enter your text here</a:t>
            </a:r>
          </a:p>
        </p:txBody>
      </p:sp>
      <p:sp>
        <p:nvSpPr>
          <p:cNvPr id="5" name="Text Placeholder 3"/>
          <p:cNvSpPr>
            <a:spLocks noGrp="1"/>
          </p:cNvSpPr>
          <p:nvPr userDrawn="1">
            <p:ph type="body" sz="quarter" idx="11" hasCustomPrompt="1"/>
          </p:nvPr>
        </p:nvSpPr>
        <p:spPr>
          <a:xfrm>
            <a:off x="3676357" y="4128454"/>
            <a:ext cx="7908160" cy="2058407"/>
          </a:xfrm>
        </p:spPr>
        <p:txBody>
          <a:bodyPr/>
          <a:lstStyle>
            <a:lvl1pPr marL="0" indent="0">
              <a:buNone/>
              <a:defRPr sz="2133"/>
            </a:lvl1pPr>
          </a:lstStyle>
          <a:p>
            <a:pPr lvl="0"/>
            <a:r>
              <a:rPr lang="en-US" dirty="0"/>
              <a:t>Enter your text here</a:t>
            </a:r>
          </a:p>
        </p:txBody>
      </p:sp>
      <p:cxnSp>
        <p:nvCxnSpPr>
          <p:cNvPr id="7" name="Straight Connector 6"/>
          <p:cNvCxnSpPr/>
          <p:nvPr userDrawn="1"/>
        </p:nvCxnSpPr>
        <p:spPr>
          <a:xfrm>
            <a:off x="611717" y="3860359"/>
            <a:ext cx="11580283"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21" name="Text Placeholder 4"/>
          <p:cNvSpPr>
            <a:spLocks noGrp="1"/>
          </p:cNvSpPr>
          <p:nvPr userDrawn="1">
            <p:ph type="body" sz="quarter" idx="14" hasCustomPrompt="1"/>
          </p:nvPr>
        </p:nvSpPr>
        <p:spPr>
          <a:xfrm>
            <a:off x="589139" y="881767"/>
            <a:ext cx="10972800" cy="366932"/>
          </a:xfrm>
        </p:spPr>
        <p:txBody>
          <a:bodyPr/>
          <a:lstStyle>
            <a:lvl1pPr marL="0" indent="0">
              <a:buNone/>
              <a:defRPr sz="2667" baseline="0"/>
            </a:lvl1pPr>
            <a:lvl2pPr marL="302675" indent="0">
              <a:buNone/>
              <a:defRPr/>
            </a:lvl2pPr>
          </a:lstStyle>
          <a:p>
            <a:pPr lvl="0"/>
            <a:r>
              <a:rPr lang="en-US" dirty="0"/>
              <a:t>Sub-header optional—delete if not needed</a:t>
            </a:r>
          </a:p>
        </p:txBody>
      </p:sp>
      <p:sp>
        <p:nvSpPr>
          <p:cNvPr id="22" name="Text Placeholder 5"/>
          <p:cNvSpPr>
            <a:spLocks noGrp="1"/>
          </p:cNvSpPr>
          <p:nvPr userDrawn="1">
            <p:ph type="body" sz="quarter" idx="15" hasCustomPrompt="1"/>
          </p:nvPr>
        </p:nvSpPr>
        <p:spPr>
          <a:xfrm>
            <a:off x="3138793" y="6560363"/>
            <a:ext cx="5927388" cy="214955"/>
          </a:xfrm>
        </p:spPr>
        <p:txBody>
          <a:bodyPr/>
          <a:lstStyle>
            <a:lvl1pPr marL="0" indent="0" algn="ctr">
              <a:buNone/>
              <a:defRPr sz="933" baseline="0"/>
            </a:lvl1pPr>
          </a:lstStyle>
          <a:p>
            <a:pPr lvl="0"/>
            <a:r>
              <a:rPr lang="en-US" dirty="0"/>
              <a:t>For internal use only.</a:t>
            </a:r>
          </a:p>
        </p:txBody>
      </p:sp>
      <p:grpSp>
        <p:nvGrpSpPr>
          <p:cNvPr id="23" name="Group 22"/>
          <p:cNvGrpSpPr/>
          <p:nvPr userDrawn="1"/>
        </p:nvGrpSpPr>
        <p:grpSpPr>
          <a:xfrm>
            <a:off x="-2120087" y="1725355"/>
            <a:ext cx="1879365" cy="2359171"/>
            <a:chOff x="-1663544" y="2872984"/>
            <a:chExt cx="1409524" cy="2359171"/>
          </a:xfrm>
        </p:grpSpPr>
        <p:pic>
          <p:nvPicPr>
            <p:cNvPr id="2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663544" y="4584536"/>
              <a:ext cx="1409524" cy="6476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TextBox 24"/>
            <p:cNvSpPr txBox="1"/>
            <p:nvPr/>
          </p:nvSpPr>
          <p:spPr>
            <a:xfrm>
              <a:off x="-1663544" y="2872984"/>
              <a:ext cx="1386540" cy="1384995"/>
            </a:xfrm>
            <a:prstGeom prst="rect">
              <a:avLst/>
            </a:prstGeom>
            <a:noFill/>
          </p:spPr>
          <p:txBody>
            <a:bodyPr wrap="square" rtlCol="0">
              <a:spAutoFit/>
            </a:bodyPr>
            <a:lstStyle/>
            <a:p>
              <a:r>
                <a:rPr lang="en-US" sz="1400" dirty="0"/>
                <a:t>To crop image or reposition image inside of frame, right click on the image and select the crop tool</a:t>
              </a:r>
            </a:p>
          </p:txBody>
        </p:sp>
      </p:grpSp>
    </p:spTree>
    <p:extLst>
      <p:ext uri="{BB962C8B-B14F-4D97-AF65-F5344CB8AC3E}">
        <p14:creationId xmlns:p14="http://schemas.microsoft.com/office/powerpoint/2010/main" val="397801637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9" name="Content Placeholder 2"/>
          <p:cNvSpPr>
            <a:spLocks noGrp="1"/>
          </p:cNvSpPr>
          <p:nvPr>
            <p:ph idx="1"/>
          </p:nvPr>
        </p:nvSpPr>
        <p:spPr>
          <a:xfrm>
            <a:off x="609600" y="1223674"/>
            <a:ext cx="10972800" cy="2655085"/>
          </a:xfrm>
          <a:prstGeom prst="rect">
            <a:avLst/>
          </a:prstGeom>
        </p:spPr>
        <p:txBody>
          <a:bodyPr>
            <a:spAutoFit/>
          </a:bodyPr>
          <a:lstStyle>
            <a:lvl1pPr marL="306895" indent="-306895">
              <a:spcBef>
                <a:spcPts val="0"/>
              </a:spcBef>
              <a:spcAft>
                <a:spcPts val="1600"/>
              </a:spcAft>
              <a:buClr>
                <a:srgbClr val="F26B31"/>
              </a:buClr>
              <a:buSzPct val="85000"/>
              <a:buFont typeface="Wingdings 3" panose="05040102010807070707" pitchFamily="18" charset="2"/>
              <a:buChar char=""/>
              <a:defRPr sz="2667">
                <a:latin typeface="Arial" panose="020B0604020202020204" pitchFamily="34" charset="0"/>
                <a:cs typeface="Arial" panose="020B0604020202020204" pitchFamily="34" charset="0"/>
              </a:defRPr>
            </a:lvl1pPr>
            <a:lvl2pPr marL="990526" indent="-380972">
              <a:spcBef>
                <a:spcPts val="0"/>
              </a:spcBef>
              <a:spcAft>
                <a:spcPts val="1600"/>
              </a:spcAft>
              <a:buClr>
                <a:srgbClr val="F26B31"/>
              </a:buClr>
              <a:buSzPct val="85000"/>
              <a:buFont typeface="Arial" panose="020B0604020202020204" pitchFamily="34" charset="0"/>
              <a:buChar char="–"/>
              <a:defRPr sz="2400">
                <a:latin typeface="Arial" panose="020B0604020202020204" pitchFamily="34" charset="0"/>
                <a:cs typeface="Arial" panose="020B0604020202020204" pitchFamily="34" charset="0"/>
              </a:defRPr>
            </a:lvl2pPr>
            <a:lvl3pPr>
              <a:spcBef>
                <a:spcPts val="0"/>
              </a:spcBef>
              <a:spcAft>
                <a:spcPts val="1600"/>
              </a:spcAft>
              <a:buClr>
                <a:srgbClr val="F26B31"/>
              </a:buClr>
              <a:buSzPct val="100000"/>
              <a:buFont typeface="Wingdings" pitchFamily="2" charset="2"/>
              <a:buChar char="§"/>
              <a:defRPr sz="2133">
                <a:latin typeface="Arial" panose="020B0604020202020204" pitchFamily="34" charset="0"/>
                <a:cs typeface="Arial" panose="020B0604020202020204" pitchFamily="34" charset="0"/>
              </a:defRPr>
            </a:lvl3pPr>
            <a:lvl4pPr marL="2133440" indent="-304776">
              <a:spcBef>
                <a:spcPts val="0"/>
              </a:spcBef>
              <a:spcAft>
                <a:spcPts val="1600"/>
              </a:spcAft>
              <a:buClr>
                <a:srgbClr val="F26B31"/>
              </a:buClr>
              <a:buSzPct val="100000"/>
              <a:buFont typeface="Arial" pitchFamily="34" charset="0"/>
              <a:buChar char="•"/>
              <a:defRPr sz="2133">
                <a:latin typeface="Arial" panose="020B0604020202020204" pitchFamily="34" charset="0"/>
                <a:cs typeface="Arial" panose="020B0604020202020204" pitchFamily="34" charset="0"/>
              </a:defRPr>
            </a:lvl4pPr>
            <a:lvl5pPr marL="2742994" indent="-304776">
              <a:spcBef>
                <a:spcPts val="0"/>
              </a:spcBef>
              <a:spcAft>
                <a:spcPts val="1600"/>
              </a:spcAft>
              <a:buClr>
                <a:srgbClr val="F26B31"/>
              </a:buClr>
              <a:buSzPct val="100000"/>
              <a:buFont typeface="Arial" pitchFamily="34" charset="0"/>
              <a:buChar char="•"/>
              <a:defRPr sz="2133">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p:cNvSpPr>
            <a:spLocks noGrp="1"/>
          </p:cNvSpPr>
          <p:nvPr>
            <p:ph type="body" sz="quarter" idx="10" hasCustomPrompt="1"/>
          </p:nvPr>
        </p:nvSpPr>
        <p:spPr>
          <a:xfrm>
            <a:off x="609600" y="6248400"/>
            <a:ext cx="9144000" cy="457200"/>
          </a:xfrm>
          <a:prstGeom prst="rect">
            <a:avLst/>
          </a:prstGeom>
        </p:spPr>
        <p:txBody>
          <a:bodyPr/>
          <a:lstStyle>
            <a:lvl1pPr marL="0" indent="0">
              <a:lnSpc>
                <a:spcPts val="2000"/>
              </a:lnSpc>
              <a:spcBef>
                <a:spcPts val="0"/>
              </a:spcBef>
              <a:buNone/>
              <a:defRPr sz="1867"/>
            </a:lvl1pPr>
            <a:lvl2pPr marL="609555" indent="0">
              <a:buNone/>
              <a:defRPr sz="1867"/>
            </a:lvl2pPr>
            <a:lvl3pPr marL="1219110" indent="0">
              <a:buNone/>
              <a:defRPr sz="1867"/>
            </a:lvl3pPr>
            <a:lvl4pPr marL="1828664" indent="0">
              <a:buNone/>
              <a:defRPr sz="1867"/>
            </a:lvl4pPr>
            <a:lvl5pPr marL="2438218" indent="0">
              <a:buNone/>
              <a:defRPr sz="1867"/>
            </a:lvl5pPr>
          </a:lstStyle>
          <a:p>
            <a:pPr lvl="0"/>
            <a:r>
              <a:rPr lang="en-US" dirty="0"/>
              <a:t>Click to add footnote</a:t>
            </a:r>
          </a:p>
        </p:txBody>
      </p:sp>
      <p:sp>
        <p:nvSpPr>
          <p:cNvPr id="5" name="Slide Number Placeholder 3"/>
          <p:cNvSpPr>
            <a:spLocks noGrp="1"/>
          </p:cNvSpPr>
          <p:nvPr>
            <p:ph type="sldNum" sz="quarter" idx="4"/>
          </p:nvPr>
        </p:nvSpPr>
        <p:spPr>
          <a:xfrm>
            <a:off x="9987279" y="6332452"/>
            <a:ext cx="508000" cy="373149"/>
          </a:xfrm>
          <a:prstGeom prst="rect">
            <a:avLst/>
          </a:prstGeom>
        </p:spPr>
        <p:txBody>
          <a:bodyPr vert="horz" lIns="91440" tIns="45720" rIns="91440" bIns="45720" rtlCol="0" anchor="ctr"/>
          <a:lstStyle>
            <a:lvl1pPr algn="ctr">
              <a:defRPr sz="1333">
                <a:solidFill>
                  <a:schemeClr val="tx1">
                    <a:tint val="75000"/>
                  </a:schemeClr>
                </a:solidFill>
              </a:defRPr>
            </a:lvl1pPr>
          </a:lstStyle>
          <a:p>
            <a:fld id="{25225481-AED8-4991-B6A9-80D3714A3A06}"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62618419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Color background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BA933EB-78B0-4294-804D-85CD9D4C5182}"/>
              </a:ext>
            </a:extLst>
          </p:cNvPr>
          <p:cNvSpPr/>
          <p:nvPr userDrawn="1"/>
        </p:nvSpPr>
        <p:spPr>
          <a:xfrm>
            <a:off x="0" y="16044"/>
            <a:ext cx="12192000" cy="60478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 name="Rectangle 3">
            <a:extLst>
              <a:ext uri="{FF2B5EF4-FFF2-40B4-BE49-F238E27FC236}">
                <a16:creationId xmlns:a16="http://schemas.microsoft.com/office/drawing/2014/main" id="{B3180F2B-0AE1-42A9-B852-A8BA848E96E3}"/>
              </a:ext>
            </a:extLst>
          </p:cNvPr>
          <p:cNvSpPr/>
          <p:nvPr userDrawn="1"/>
        </p:nvSpPr>
        <p:spPr>
          <a:xfrm rot="10800000">
            <a:off x="-1" y="1"/>
            <a:ext cx="12192000" cy="147479"/>
          </a:xfrm>
          <a:prstGeom prst="rect">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13C22BB3-6183-4636-8A68-7BB953874512}"/>
              </a:ext>
            </a:extLst>
          </p:cNvPr>
          <p:cNvSpPr>
            <a:spLocks noGrp="1"/>
          </p:cNvSpPr>
          <p:nvPr>
            <p:ph type="title" hasCustomPrompt="1"/>
          </p:nvPr>
        </p:nvSpPr>
        <p:spPr>
          <a:xfrm>
            <a:off x="572878" y="794084"/>
            <a:ext cx="4184477" cy="4802485"/>
          </a:xfrm>
        </p:spPr>
        <p:txBody>
          <a:bodyPr/>
          <a:lstStyle>
            <a:lvl1pPr algn="l">
              <a:defRPr sz="2667">
                <a:solidFill>
                  <a:schemeClr val="bg1"/>
                </a:solidFill>
              </a:defRPr>
            </a:lvl1pPr>
          </a:lstStyle>
          <a:p>
            <a:r>
              <a:rPr lang="en-US" dirty="0"/>
              <a:t>Color background layout</a:t>
            </a:r>
          </a:p>
        </p:txBody>
      </p:sp>
    </p:spTree>
    <p:extLst>
      <p:ext uri="{BB962C8B-B14F-4D97-AF65-F5344CB8AC3E}">
        <p14:creationId xmlns:p14="http://schemas.microsoft.com/office/powerpoint/2010/main" val="24015838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BC4F0E7-7A71-CD4B-892C-E037C95A85FF}"/>
              </a:ext>
            </a:extLst>
          </p:cNvPr>
          <p:cNvGraphicFramePr>
            <a:graphicFrameLocks noChangeAspect="1"/>
          </p:cNvGraphicFramePr>
          <p:nvPr>
            <p:custDataLst>
              <p:tags r:id="rId2"/>
            </p:custDataLst>
            <p:extLst>
              <p:ext uri="{D42A27DB-BD31-4B8C-83A1-F6EECF244321}">
                <p14:modId xmlns:p14="http://schemas.microsoft.com/office/powerpoint/2010/main" val="28008935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3577"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BBC4F0E7-7A71-CD4B-892C-E037C95A85F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
        <p:nvSpPr>
          <p:cNvPr id="3" name="Content Placeholder 2"/>
          <p:cNvSpPr>
            <a:spLocks noGrp="1"/>
          </p:cNvSpPr>
          <p:nvPr>
            <p:ph sz="half" idx="1"/>
          </p:nvPr>
        </p:nvSpPr>
        <p:spPr>
          <a:xfrm>
            <a:off x="685800" y="1545336"/>
            <a:ext cx="5181600" cy="4123944"/>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24602" y="1545336"/>
            <a:ext cx="5181598" cy="4123944"/>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a:extLst>
              <a:ext uri="{FF2B5EF4-FFF2-40B4-BE49-F238E27FC236}">
                <a16:creationId xmlns:a16="http://schemas.microsoft.com/office/drawing/2014/main" id="{BE1CFF2A-43F1-D94B-93AF-F563A6206EC4}"/>
              </a:ext>
            </a:extLst>
          </p:cNvPr>
          <p:cNvSpPr>
            <a:spLocks noGrp="1"/>
          </p:cNvSpPr>
          <p:nvPr>
            <p:ph type="body" sz="quarter" idx="10" hasCustomPrompt="1"/>
          </p:nvPr>
        </p:nvSpPr>
        <p:spPr>
          <a:xfrm>
            <a:off x="685800" y="5830756"/>
            <a:ext cx="10820400" cy="344619"/>
          </a:xfrm>
        </p:spPr>
        <p:txBody>
          <a:bodyPr anchor="b"/>
          <a:lstStyle>
            <a:lvl1pPr>
              <a:defRPr sz="800"/>
            </a:lvl1pPr>
            <a:lvl2pPr marL="0" indent="0">
              <a:buNone/>
              <a:defRPr/>
            </a:lvl2pPr>
          </a:lstStyle>
          <a:p>
            <a:pPr lvl="0"/>
            <a:r>
              <a:rPr lang="en-US"/>
              <a:t>Click to add footnote</a:t>
            </a:r>
          </a:p>
        </p:txBody>
      </p:sp>
    </p:spTree>
    <p:extLst>
      <p:ext uri="{BB962C8B-B14F-4D97-AF65-F5344CB8AC3E}">
        <p14:creationId xmlns:p14="http://schemas.microsoft.com/office/powerpoint/2010/main" val="1237979899"/>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6E5EC05-B70E-0449-BE8C-62E577850024}"/>
              </a:ext>
            </a:extLst>
          </p:cNvPr>
          <p:cNvGraphicFramePr>
            <a:graphicFrameLocks noChangeAspect="1"/>
          </p:cNvGraphicFramePr>
          <p:nvPr>
            <p:custDataLst>
              <p:tags r:id="rId2"/>
            </p:custDataLst>
            <p:extLst>
              <p:ext uri="{D42A27DB-BD31-4B8C-83A1-F6EECF244321}">
                <p14:modId xmlns:p14="http://schemas.microsoft.com/office/powerpoint/2010/main" val="6683271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3513"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96E5EC05-B70E-0449-BE8C-62E57785002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Subtitle 2"/>
          <p:cNvSpPr>
            <a:spLocks noGrp="1"/>
          </p:cNvSpPr>
          <p:nvPr>
            <p:ph type="subTitle" idx="1" hasCustomPrompt="1"/>
          </p:nvPr>
        </p:nvSpPr>
        <p:spPr>
          <a:xfrm>
            <a:off x="914400" y="3538907"/>
            <a:ext cx="9448800" cy="1147393"/>
          </a:xfrm>
        </p:spPr>
        <p:txBody>
          <a:bodyPr/>
          <a:lstStyle>
            <a:lvl1pPr marL="0" indent="0" algn="l">
              <a:buNone/>
              <a:defRPr sz="3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or subtitle</a:t>
            </a:r>
          </a:p>
        </p:txBody>
      </p:sp>
      <p:sp>
        <p:nvSpPr>
          <p:cNvPr id="2" name="Title 1"/>
          <p:cNvSpPr>
            <a:spLocks noGrp="1"/>
          </p:cNvSpPr>
          <p:nvPr>
            <p:ph type="ctrTitle"/>
          </p:nvPr>
        </p:nvSpPr>
        <p:spPr>
          <a:xfrm>
            <a:off x="914400" y="1600200"/>
            <a:ext cx="10363200" cy="2000251"/>
          </a:xfrm>
        </p:spPr>
        <p:txBody>
          <a:bodyPr vert="horz" anchor="b"/>
          <a:lstStyle>
            <a:lvl1pPr>
              <a:defRPr sz="4800">
                <a:solidFill>
                  <a:schemeClr val="tx2"/>
                </a:solidFill>
              </a:defRPr>
            </a:lvl1pPr>
          </a:lstStyle>
          <a:p>
            <a:r>
              <a:rPr lang="en-US"/>
              <a:t>Click to edit Master title style</a:t>
            </a:r>
          </a:p>
        </p:txBody>
      </p:sp>
      <p:sp>
        <p:nvSpPr>
          <p:cNvPr id="7" name="Text Placeholder 3">
            <a:extLst>
              <a:ext uri="{FF2B5EF4-FFF2-40B4-BE49-F238E27FC236}">
                <a16:creationId xmlns:a16="http://schemas.microsoft.com/office/drawing/2014/main" id="{5740C42A-E075-6949-900C-E63BE9FB862C}"/>
              </a:ext>
            </a:extLst>
          </p:cNvPr>
          <p:cNvSpPr>
            <a:spLocks noGrp="1"/>
          </p:cNvSpPr>
          <p:nvPr>
            <p:ph type="body" sz="half" idx="2" hasCustomPrompt="1"/>
          </p:nvPr>
        </p:nvSpPr>
        <p:spPr>
          <a:xfrm>
            <a:off x="914399" y="6169025"/>
            <a:ext cx="3706285" cy="462819"/>
          </a:xfrm>
        </p:spPr>
        <p:txBody>
          <a:bodyPr anchor="b"/>
          <a:lstStyle>
            <a:lvl1pPr marL="0" indent="0">
              <a:buNone/>
              <a:defRPr sz="180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date</a:t>
            </a:r>
          </a:p>
        </p:txBody>
      </p:sp>
      <p:sp>
        <p:nvSpPr>
          <p:cNvPr id="9" name="TextBox 8">
            <a:extLst>
              <a:ext uri="{FF2B5EF4-FFF2-40B4-BE49-F238E27FC236}">
                <a16:creationId xmlns:a16="http://schemas.microsoft.com/office/drawing/2014/main" id="{733C8FB4-9A4D-AF4D-A6E6-B12D36795417}"/>
              </a:ext>
            </a:extLst>
          </p:cNvPr>
          <p:cNvSpPr txBox="1"/>
          <p:nvPr/>
        </p:nvSpPr>
        <p:spPr>
          <a:xfrm>
            <a:off x="9282514" y="6368176"/>
            <a:ext cx="2223686" cy="246221"/>
          </a:xfrm>
          <a:prstGeom prst="rect">
            <a:avLst/>
          </a:prstGeom>
          <a:noFill/>
        </p:spPr>
        <p:txBody>
          <a:bodyPr wrap="none" lIns="0" tIns="0" rIns="0" bIns="0" rtlCol="0" anchor="b">
            <a:noAutofit/>
          </a:bodyPr>
          <a:lstStyle/>
          <a:p>
            <a:pPr algn="r"/>
            <a:r>
              <a:rPr lang="en-US" sz="1000" dirty="0">
                <a:solidFill>
                  <a:schemeClr val="tx2"/>
                </a:solidFill>
              </a:rPr>
              <a:t>Confidential—do not copy or distribute</a:t>
            </a:r>
          </a:p>
        </p:txBody>
      </p:sp>
      <p:pic>
        <p:nvPicPr>
          <p:cNvPr id="10" name="Graphic 9">
            <a:extLst>
              <a:ext uri="{FF2B5EF4-FFF2-40B4-BE49-F238E27FC236}">
                <a16:creationId xmlns:a16="http://schemas.microsoft.com/office/drawing/2014/main" id="{38E64605-F0BA-FB47-BA44-1B4718D042C3}"/>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917576" y="457200"/>
            <a:ext cx="2057398" cy="439079"/>
          </a:xfrm>
          <a:prstGeom prst="rect">
            <a:avLst/>
          </a:prstGeom>
        </p:spPr>
      </p:pic>
      <p:sp>
        <p:nvSpPr>
          <p:cNvPr id="17" name="Graphic 15">
            <a:extLst>
              <a:ext uri="{FF2B5EF4-FFF2-40B4-BE49-F238E27FC236}">
                <a16:creationId xmlns:a16="http://schemas.microsoft.com/office/drawing/2014/main" id="{C3993FF1-66A1-8047-94FB-57CAB5A2A53C}"/>
              </a:ext>
            </a:extLst>
          </p:cNvPr>
          <p:cNvSpPr/>
          <p:nvPr/>
        </p:nvSpPr>
        <p:spPr>
          <a:xfrm>
            <a:off x="0" y="0"/>
            <a:ext cx="11495956" cy="6858000"/>
          </a:xfrm>
          <a:custGeom>
            <a:avLst/>
            <a:gdLst>
              <a:gd name="connsiteX0" fmla="*/ 913727 w 11495956"/>
              <a:gd name="connsiteY0" fmla="*/ 5845175 h 6858000"/>
              <a:gd name="connsiteX1" fmla="*/ 0 w 11495956"/>
              <a:gd name="connsiteY1" fmla="*/ 5707507 h 6858000"/>
              <a:gd name="connsiteX2" fmla="*/ 0 w 11495956"/>
              <a:gd name="connsiteY2" fmla="*/ 5674868 h 6858000"/>
              <a:gd name="connsiteX3" fmla="*/ 915631 w 11495956"/>
              <a:gd name="connsiteY3" fmla="*/ 5813425 h 6858000"/>
              <a:gd name="connsiteX4" fmla="*/ 1314117 w 11495956"/>
              <a:gd name="connsiteY4" fmla="*/ 5826125 h 6858000"/>
              <a:gd name="connsiteX5" fmla="*/ 3163400 w 11495956"/>
              <a:gd name="connsiteY5" fmla="*/ 5582158 h 6858000"/>
              <a:gd name="connsiteX6" fmla="*/ 5592518 w 11495956"/>
              <a:gd name="connsiteY6" fmla="*/ 4582414 h 6858000"/>
              <a:gd name="connsiteX7" fmla="*/ 7672262 w 11495956"/>
              <a:gd name="connsiteY7" fmla="*/ 2977007 h 6858000"/>
              <a:gd name="connsiteX8" fmla="*/ 8996405 w 11495956"/>
              <a:gd name="connsiteY8" fmla="*/ 1144651 h 6858000"/>
              <a:gd name="connsiteX9" fmla="*/ 9404536 w 11495956"/>
              <a:gd name="connsiteY9" fmla="*/ 0 h 6858000"/>
              <a:gd name="connsiteX10" fmla="*/ 9436897 w 11495956"/>
              <a:gd name="connsiteY10" fmla="*/ 0 h 6858000"/>
              <a:gd name="connsiteX11" fmla="*/ 9024832 w 11495956"/>
              <a:gd name="connsiteY11" fmla="*/ 1158621 h 6858000"/>
              <a:gd name="connsiteX12" fmla="*/ 7695105 w 11495956"/>
              <a:gd name="connsiteY12" fmla="*/ 2999232 h 6858000"/>
              <a:gd name="connsiteX13" fmla="*/ 5608381 w 11495956"/>
              <a:gd name="connsiteY13" fmla="*/ 4609846 h 6858000"/>
              <a:gd name="connsiteX14" fmla="*/ 3171775 w 11495956"/>
              <a:gd name="connsiteY14" fmla="*/ 5613146 h 6858000"/>
              <a:gd name="connsiteX15" fmla="*/ 1314752 w 11495956"/>
              <a:gd name="connsiteY15" fmla="*/ 5858002 h 6858000"/>
              <a:gd name="connsiteX16" fmla="*/ 913727 w 11495956"/>
              <a:gd name="connsiteY16" fmla="*/ 5845175 h 6858000"/>
              <a:gd name="connsiteX17" fmla="*/ 10845433 w 11495956"/>
              <a:gd name="connsiteY17" fmla="*/ 2059432 h 6858000"/>
              <a:gd name="connsiteX18" fmla="*/ 11495956 w 11495956"/>
              <a:gd name="connsiteY18" fmla="*/ 0 h 6858000"/>
              <a:gd name="connsiteX19" fmla="*/ 11463849 w 11495956"/>
              <a:gd name="connsiteY19" fmla="*/ 0 h 6858000"/>
              <a:gd name="connsiteX20" fmla="*/ 10816626 w 11495956"/>
              <a:gd name="connsiteY20" fmla="*/ 2045335 h 6858000"/>
              <a:gd name="connsiteX21" fmla="*/ 6607897 w 11495956"/>
              <a:gd name="connsiteY21" fmla="*/ 6342380 h 6858000"/>
              <a:gd name="connsiteX22" fmla="*/ 5612950 w 11495956"/>
              <a:gd name="connsiteY22" fmla="*/ 6858000 h 6858000"/>
              <a:gd name="connsiteX23" fmla="*/ 5688332 w 11495956"/>
              <a:gd name="connsiteY23" fmla="*/ 6858000 h 6858000"/>
              <a:gd name="connsiteX24" fmla="*/ 6623761 w 11495956"/>
              <a:gd name="connsiteY24" fmla="*/ 6369939 h 6858000"/>
              <a:gd name="connsiteX25" fmla="*/ 10845307 w 11495956"/>
              <a:gd name="connsiteY25" fmla="*/ 205943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495956" h="6858000">
                <a:moveTo>
                  <a:pt x="913727" y="5845175"/>
                </a:moveTo>
                <a:cubicBezTo>
                  <a:pt x="605664" y="5826592"/>
                  <a:pt x="299874" y="5780520"/>
                  <a:pt x="0" y="5707507"/>
                </a:cubicBezTo>
                <a:lnTo>
                  <a:pt x="0" y="5674868"/>
                </a:lnTo>
                <a:cubicBezTo>
                  <a:pt x="300420" y="5748543"/>
                  <a:pt x="606875" y="5794917"/>
                  <a:pt x="915631" y="5813425"/>
                </a:cubicBezTo>
                <a:cubicBezTo>
                  <a:pt x="1046852" y="5821892"/>
                  <a:pt x="1179681" y="5826125"/>
                  <a:pt x="1314117" y="5826125"/>
                </a:cubicBezTo>
                <a:cubicBezTo>
                  <a:pt x="1904994" y="5826125"/>
                  <a:pt x="2525060" y="5744464"/>
                  <a:pt x="3163400" y="5582158"/>
                </a:cubicBezTo>
                <a:cubicBezTo>
                  <a:pt x="3991211" y="5372100"/>
                  <a:pt x="4808489" y="5035296"/>
                  <a:pt x="5592518" y="4582414"/>
                </a:cubicBezTo>
                <a:cubicBezTo>
                  <a:pt x="6376546" y="4129532"/>
                  <a:pt x="7076309" y="3589274"/>
                  <a:pt x="7672262" y="2977007"/>
                </a:cubicBezTo>
                <a:cubicBezTo>
                  <a:pt x="8236235" y="2397633"/>
                  <a:pt x="8681931" y="1781048"/>
                  <a:pt x="8996405" y="1144651"/>
                </a:cubicBezTo>
                <a:cubicBezTo>
                  <a:pt x="9190064" y="752475"/>
                  <a:pt x="9326235" y="368300"/>
                  <a:pt x="9404536" y="0"/>
                </a:cubicBezTo>
                <a:lnTo>
                  <a:pt x="9436897" y="0"/>
                </a:lnTo>
                <a:cubicBezTo>
                  <a:pt x="9358342" y="373126"/>
                  <a:pt x="9221156" y="762000"/>
                  <a:pt x="9024832" y="1158621"/>
                </a:cubicBezTo>
                <a:cubicBezTo>
                  <a:pt x="8708835" y="1798066"/>
                  <a:pt x="8261489" y="2417318"/>
                  <a:pt x="7695105" y="2999232"/>
                </a:cubicBezTo>
                <a:cubicBezTo>
                  <a:pt x="7096995" y="3613531"/>
                  <a:pt x="6394948" y="4154932"/>
                  <a:pt x="5608381" y="4609846"/>
                </a:cubicBezTo>
                <a:cubicBezTo>
                  <a:pt x="4821815" y="5064760"/>
                  <a:pt x="4001871" y="5401818"/>
                  <a:pt x="3171775" y="5613146"/>
                </a:cubicBezTo>
                <a:cubicBezTo>
                  <a:pt x="2532420" y="5775579"/>
                  <a:pt x="1907532" y="5858002"/>
                  <a:pt x="1314752" y="5858002"/>
                </a:cubicBezTo>
                <a:cubicBezTo>
                  <a:pt x="1180231" y="5857875"/>
                  <a:pt x="1044822" y="5853684"/>
                  <a:pt x="913727" y="5845175"/>
                </a:cubicBezTo>
                <a:close/>
                <a:moveTo>
                  <a:pt x="10845433" y="2059432"/>
                </a:moveTo>
                <a:cubicBezTo>
                  <a:pt x="11186305" y="1369441"/>
                  <a:pt x="11403822" y="678942"/>
                  <a:pt x="11495956" y="0"/>
                </a:cubicBezTo>
                <a:lnTo>
                  <a:pt x="11463849" y="0"/>
                </a:lnTo>
                <a:cubicBezTo>
                  <a:pt x="11372222" y="674116"/>
                  <a:pt x="11155593" y="1359916"/>
                  <a:pt x="10816626" y="2045335"/>
                </a:cubicBezTo>
                <a:cubicBezTo>
                  <a:pt x="9985134" y="3728720"/>
                  <a:pt x="8490048" y="5254752"/>
                  <a:pt x="6607897" y="6342380"/>
                </a:cubicBezTo>
                <a:cubicBezTo>
                  <a:pt x="6281747" y="6530848"/>
                  <a:pt x="5950098" y="6702721"/>
                  <a:pt x="5612950" y="6858000"/>
                </a:cubicBezTo>
                <a:lnTo>
                  <a:pt x="5688332" y="6858000"/>
                </a:lnTo>
                <a:cubicBezTo>
                  <a:pt x="6003991" y="6710342"/>
                  <a:pt x="6315801" y="6547655"/>
                  <a:pt x="6623761" y="6369939"/>
                </a:cubicBezTo>
                <a:cubicBezTo>
                  <a:pt x="8511622" y="5279263"/>
                  <a:pt x="10010769" y="3748405"/>
                  <a:pt x="10845307" y="2059432"/>
                </a:cubicBezTo>
                <a:close/>
              </a:path>
            </a:pathLst>
          </a:custGeom>
          <a:solidFill>
            <a:srgbClr val="CBBBE9"/>
          </a:solidFill>
          <a:ln w="12689" cap="flat">
            <a:noFill/>
            <a:prstDash val="solid"/>
            <a:miter/>
          </a:ln>
        </p:spPr>
        <p:txBody>
          <a:bodyPr rtlCol="0" anchor="ctr"/>
          <a:lstStyle/>
          <a:p>
            <a:endParaRPr lang="en-US" dirty="0"/>
          </a:p>
        </p:txBody>
      </p:sp>
    </p:spTree>
    <p:extLst>
      <p:ext uri="{BB962C8B-B14F-4D97-AF65-F5344CB8AC3E}">
        <p14:creationId xmlns:p14="http://schemas.microsoft.com/office/powerpoint/2010/main" val="2780455333"/>
      </p:ext>
    </p:extLst>
  </p:cSld>
  <p:clrMapOvr>
    <a:masterClrMapping/>
  </p:clrMapOvr>
  <p:extLst>
    <p:ext uri="{DCECCB84-F9BA-43D5-87BE-67443E8EF086}">
      <p15:sldGuideLst xmlns:p15="http://schemas.microsoft.com/office/powerpoint/2012/main">
        <p15:guide id="1" pos="576">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Title Slide Purple">
    <p:bg>
      <p:bgPr>
        <a:solidFill>
          <a:schemeClr val="tx2"/>
        </a:solidFill>
        <a:effectLst/>
      </p:bgPr>
    </p:bg>
    <p:spTree>
      <p:nvGrpSpPr>
        <p:cNvPr id="1" name=""/>
        <p:cNvGrpSpPr/>
        <p:nvPr/>
      </p:nvGrpSpPr>
      <p:grpSpPr>
        <a:xfrm>
          <a:off x="0" y="0"/>
          <a:ext cx="0" cy="0"/>
          <a:chOff x="0" y="0"/>
          <a:chExt cx="0" cy="0"/>
        </a:xfrm>
      </p:grpSpPr>
      <p:sp>
        <p:nvSpPr>
          <p:cNvPr id="14" name="Graphic 12">
            <a:extLst>
              <a:ext uri="{FF2B5EF4-FFF2-40B4-BE49-F238E27FC236}">
                <a16:creationId xmlns:a16="http://schemas.microsoft.com/office/drawing/2014/main" id="{01473B2E-6EC3-144A-8754-5C4AED598FFE}"/>
              </a:ext>
            </a:extLst>
          </p:cNvPr>
          <p:cNvSpPr/>
          <p:nvPr/>
        </p:nvSpPr>
        <p:spPr>
          <a:xfrm>
            <a:off x="0" y="0"/>
            <a:ext cx="11495829" cy="6858000"/>
          </a:xfrm>
          <a:custGeom>
            <a:avLst/>
            <a:gdLst>
              <a:gd name="connsiteX0" fmla="*/ 10845307 w 11495829"/>
              <a:gd name="connsiteY0" fmla="*/ 2059432 h 6858000"/>
              <a:gd name="connsiteX1" fmla="*/ 11495829 w 11495829"/>
              <a:gd name="connsiteY1" fmla="*/ 0 h 6858000"/>
              <a:gd name="connsiteX2" fmla="*/ 9404536 w 11495829"/>
              <a:gd name="connsiteY2" fmla="*/ 0 h 6858000"/>
              <a:gd name="connsiteX3" fmla="*/ 8996405 w 11495829"/>
              <a:gd name="connsiteY3" fmla="*/ 1144651 h 6858000"/>
              <a:gd name="connsiteX4" fmla="*/ 7672262 w 11495829"/>
              <a:gd name="connsiteY4" fmla="*/ 2977007 h 6858000"/>
              <a:gd name="connsiteX5" fmla="*/ 5592518 w 11495829"/>
              <a:gd name="connsiteY5" fmla="*/ 4582414 h 6858000"/>
              <a:gd name="connsiteX6" fmla="*/ 3163400 w 11495829"/>
              <a:gd name="connsiteY6" fmla="*/ 5582158 h 6858000"/>
              <a:gd name="connsiteX7" fmla="*/ 915631 w 11495829"/>
              <a:gd name="connsiteY7" fmla="*/ 5813425 h 6858000"/>
              <a:gd name="connsiteX8" fmla="*/ 0 w 11495829"/>
              <a:gd name="connsiteY8" fmla="*/ 5674868 h 6858000"/>
              <a:gd name="connsiteX9" fmla="*/ 0 w 11495829"/>
              <a:gd name="connsiteY9" fmla="*/ 6858000 h 6858000"/>
              <a:gd name="connsiteX10" fmla="*/ 5688332 w 11495829"/>
              <a:gd name="connsiteY10" fmla="*/ 6858000 h 6858000"/>
              <a:gd name="connsiteX11" fmla="*/ 6623761 w 11495829"/>
              <a:gd name="connsiteY11" fmla="*/ 6369939 h 6858000"/>
              <a:gd name="connsiteX12" fmla="*/ 10845307 w 11495829"/>
              <a:gd name="connsiteY12" fmla="*/ 205943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95829" h="6858000">
                <a:moveTo>
                  <a:pt x="10845307" y="2059432"/>
                </a:moveTo>
                <a:cubicBezTo>
                  <a:pt x="11186178" y="1369441"/>
                  <a:pt x="11403696" y="678942"/>
                  <a:pt x="11495829" y="0"/>
                </a:cubicBezTo>
                <a:lnTo>
                  <a:pt x="9404536" y="0"/>
                </a:lnTo>
                <a:cubicBezTo>
                  <a:pt x="9326235" y="368300"/>
                  <a:pt x="9190064" y="752475"/>
                  <a:pt x="8996405" y="1144651"/>
                </a:cubicBezTo>
                <a:cubicBezTo>
                  <a:pt x="8681931" y="1781048"/>
                  <a:pt x="8236235" y="2397633"/>
                  <a:pt x="7672262" y="2977007"/>
                </a:cubicBezTo>
                <a:cubicBezTo>
                  <a:pt x="7075802" y="3589274"/>
                  <a:pt x="6376546" y="4129405"/>
                  <a:pt x="5592518" y="4582414"/>
                </a:cubicBezTo>
                <a:cubicBezTo>
                  <a:pt x="4808489" y="5035423"/>
                  <a:pt x="3991211" y="5372100"/>
                  <a:pt x="3163400" y="5582158"/>
                </a:cubicBezTo>
                <a:cubicBezTo>
                  <a:pt x="2379879" y="5781421"/>
                  <a:pt x="1623642" y="5859145"/>
                  <a:pt x="915631" y="5813425"/>
                </a:cubicBezTo>
                <a:cubicBezTo>
                  <a:pt x="606875" y="5794917"/>
                  <a:pt x="300420" y="5748543"/>
                  <a:pt x="0" y="5674868"/>
                </a:cubicBezTo>
                <a:lnTo>
                  <a:pt x="0" y="6858000"/>
                </a:lnTo>
                <a:lnTo>
                  <a:pt x="5688332" y="6858000"/>
                </a:lnTo>
                <a:cubicBezTo>
                  <a:pt x="6003991" y="6710342"/>
                  <a:pt x="6315801" y="6547655"/>
                  <a:pt x="6623761" y="6369939"/>
                </a:cubicBezTo>
                <a:cubicBezTo>
                  <a:pt x="8511622" y="5279263"/>
                  <a:pt x="10010769" y="3748405"/>
                  <a:pt x="10845307" y="2059432"/>
                </a:cubicBezTo>
                <a:close/>
              </a:path>
            </a:pathLst>
          </a:custGeom>
          <a:gradFill>
            <a:gsLst>
              <a:gs pos="0">
                <a:schemeClr val="accent3">
                  <a:alpha val="20000"/>
                </a:schemeClr>
              </a:gs>
              <a:gs pos="100000">
                <a:schemeClr val="accent3"/>
              </a:gs>
            </a:gsLst>
            <a:lin ang="0" scaled="1"/>
          </a:gradFill>
          <a:ln w="12689" cap="flat">
            <a:noFill/>
            <a:prstDash val="solid"/>
            <a:miter/>
          </a:ln>
        </p:spPr>
        <p:txBody>
          <a:bodyPr rtlCol="0" anchor="ctr"/>
          <a:lstStyle/>
          <a:p>
            <a:endParaRPr lang="en-US" dirty="0"/>
          </a:p>
        </p:txBody>
      </p:sp>
      <p:graphicFrame>
        <p:nvGraphicFramePr>
          <p:cNvPr id="8" name="Object 7" hidden="1">
            <a:extLst>
              <a:ext uri="{FF2B5EF4-FFF2-40B4-BE49-F238E27FC236}">
                <a16:creationId xmlns:a16="http://schemas.microsoft.com/office/drawing/2014/main" id="{96E5EC05-B70E-0449-BE8C-62E577850024}"/>
              </a:ext>
            </a:extLst>
          </p:cNvPr>
          <p:cNvGraphicFramePr>
            <a:graphicFrameLocks noChangeAspect="1"/>
          </p:cNvGraphicFramePr>
          <p:nvPr>
            <p:custDataLst>
              <p:tags r:id="rId2"/>
            </p:custDataLst>
            <p:extLst>
              <p:ext uri="{D42A27DB-BD31-4B8C-83A1-F6EECF244321}">
                <p14:modId xmlns:p14="http://schemas.microsoft.com/office/powerpoint/2010/main" val="3577999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4537"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96E5EC05-B70E-0449-BE8C-62E57785002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Subtitle 2"/>
          <p:cNvSpPr>
            <a:spLocks noGrp="1"/>
          </p:cNvSpPr>
          <p:nvPr>
            <p:ph type="subTitle" idx="1" hasCustomPrompt="1"/>
          </p:nvPr>
        </p:nvSpPr>
        <p:spPr>
          <a:xfrm>
            <a:off x="914400" y="3538907"/>
            <a:ext cx="9448800" cy="1147393"/>
          </a:xfrm>
        </p:spPr>
        <p:txBody>
          <a:bodyPr/>
          <a:lstStyle>
            <a:lvl1pPr marL="0" indent="0" algn="l">
              <a:buNone/>
              <a:defRPr sz="32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or subtitle</a:t>
            </a:r>
          </a:p>
        </p:txBody>
      </p:sp>
      <p:sp>
        <p:nvSpPr>
          <p:cNvPr id="2" name="Title 1"/>
          <p:cNvSpPr>
            <a:spLocks noGrp="1"/>
          </p:cNvSpPr>
          <p:nvPr>
            <p:ph type="ctrTitle"/>
          </p:nvPr>
        </p:nvSpPr>
        <p:spPr>
          <a:xfrm>
            <a:off x="914400" y="1600200"/>
            <a:ext cx="10363200" cy="2000251"/>
          </a:xfrm>
        </p:spPr>
        <p:txBody>
          <a:bodyPr vert="horz" anchor="b"/>
          <a:lstStyle>
            <a:lvl1pPr>
              <a:defRPr sz="4800">
                <a:solidFill>
                  <a:schemeClr val="bg1"/>
                </a:solidFill>
              </a:defRPr>
            </a:lvl1pPr>
          </a:lstStyle>
          <a:p>
            <a:r>
              <a:rPr lang="en-US"/>
              <a:t>Click to edit Master title style</a:t>
            </a:r>
          </a:p>
        </p:txBody>
      </p:sp>
      <p:sp>
        <p:nvSpPr>
          <p:cNvPr id="7" name="Text Placeholder 3">
            <a:extLst>
              <a:ext uri="{FF2B5EF4-FFF2-40B4-BE49-F238E27FC236}">
                <a16:creationId xmlns:a16="http://schemas.microsoft.com/office/drawing/2014/main" id="{5740C42A-E075-6949-900C-E63BE9FB862C}"/>
              </a:ext>
            </a:extLst>
          </p:cNvPr>
          <p:cNvSpPr>
            <a:spLocks noGrp="1"/>
          </p:cNvSpPr>
          <p:nvPr>
            <p:ph type="body" sz="half" idx="2" hasCustomPrompt="1"/>
          </p:nvPr>
        </p:nvSpPr>
        <p:spPr>
          <a:xfrm>
            <a:off x="914399" y="6169025"/>
            <a:ext cx="3706285" cy="462819"/>
          </a:xfrm>
        </p:spPr>
        <p:txBody>
          <a:bodyPr anchor="b"/>
          <a:lstStyle>
            <a:lvl1pPr marL="0" indent="0">
              <a:buNone/>
              <a:defRPr sz="1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date</a:t>
            </a:r>
          </a:p>
        </p:txBody>
      </p:sp>
      <p:sp>
        <p:nvSpPr>
          <p:cNvPr id="9" name="TextBox 8">
            <a:extLst>
              <a:ext uri="{FF2B5EF4-FFF2-40B4-BE49-F238E27FC236}">
                <a16:creationId xmlns:a16="http://schemas.microsoft.com/office/drawing/2014/main" id="{733C8FB4-9A4D-AF4D-A6E6-B12D36795417}"/>
              </a:ext>
            </a:extLst>
          </p:cNvPr>
          <p:cNvSpPr txBox="1"/>
          <p:nvPr/>
        </p:nvSpPr>
        <p:spPr>
          <a:xfrm>
            <a:off x="9282514" y="6368176"/>
            <a:ext cx="2223686" cy="246221"/>
          </a:xfrm>
          <a:prstGeom prst="rect">
            <a:avLst/>
          </a:prstGeom>
          <a:noFill/>
        </p:spPr>
        <p:txBody>
          <a:bodyPr wrap="none" lIns="0" tIns="0" rIns="0" bIns="0" rtlCol="0" anchor="b">
            <a:noAutofit/>
          </a:bodyPr>
          <a:lstStyle/>
          <a:p>
            <a:pPr algn="r"/>
            <a:r>
              <a:rPr lang="en-US" sz="1000" dirty="0">
                <a:solidFill>
                  <a:schemeClr val="bg1"/>
                </a:solidFill>
              </a:rPr>
              <a:t>Confidential—do not copy or distribute</a:t>
            </a:r>
          </a:p>
        </p:txBody>
      </p:sp>
      <p:pic>
        <p:nvPicPr>
          <p:cNvPr id="10" name="Graphic 9">
            <a:extLst>
              <a:ext uri="{FF2B5EF4-FFF2-40B4-BE49-F238E27FC236}">
                <a16:creationId xmlns:a16="http://schemas.microsoft.com/office/drawing/2014/main" id="{38E64605-F0BA-FB47-BA44-1B4718D042C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5362" y="226156"/>
            <a:ext cx="2057400" cy="439079"/>
          </a:xfrm>
          <a:prstGeom prst="rect">
            <a:avLst/>
          </a:prstGeom>
        </p:spPr>
      </p:pic>
      <p:pic>
        <p:nvPicPr>
          <p:cNvPr id="4" name="Picture 3">
            <a:extLst>
              <a:ext uri="{FF2B5EF4-FFF2-40B4-BE49-F238E27FC236}">
                <a16:creationId xmlns:a16="http://schemas.microsoft.com/office/drawing/2014/main" id="{023AA180-925A-42F6-86D2-B7A06119C565}"/>
              </a:ext>
            </a:extLst>
          </p:cNvPr>
          <p:cNvPicPr>
            <a:picLocks noChangeAspect="1"/>
          </p:cNvPicPr>
          <p:nvPr userDrawn="1"/>
        </p:nvPicPr>
        <p:blipFill>
          <a:blip r:embed="rId8"/>
          <a:stretch>
            <a:fillRect/>
          </a:stretch>
        </p:blipFill>
        <p:spPr>
          <a:xfrm>
            <a:off x="74507" y="730171"/>
            <a:ext cx="12192000" cy="2565133"/>
          </a:xfrm>
          <a:prstGeom prst="rect">
            <a:avLst/>
          </a:prstGeom>
        </p:spPr>
      </p:pic>
    </p:spTree>
    <p:extLst>
      <p:ext uri="{BB962C8B-B14F-4D97-AF65-F5344CB8AC3E}">
        <p14:creationId xmlns:p14="http://schemas.microsoft.com/office/powerpoint/2010/main" val="2427726184"/>
      </p:ext>
    </p:extLst>
  </p:cSld>
  <p:clrMapOvr>
    <a:masterClrMapping/>
  </p:clrMapOvr>
  <p:extLst>
    <p:ext uri="{DCECCB84-F9BA-43D5-87BE-67443E8EF086}">
      <p15:sldGuideLst xmlns:p15="http://schemas.microsoft.com/office/powerpoint/2012/main">
        <p15:guide id="1" pos="576">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Title Slide with Image">
    <p:bg>
      <p:bgPr>
        <a:gradFill>
          <a:gsLst>
            <a:gs pos="0">
              <a:schemeClr val="tx2"/>
            </a:gs>
            <a:gs pos="100000">
              <a:schemeClr val="accent3"/>
            </a:gs>
          </a:gsLst>
          <a:lin ang="0" scaled="1"/>
        </a:gradFill>
        <a:effectLst/>
      </p:bgPr>
    </p:bg>
    <p:spTree>
      <p:nvGrpSpPr>
        <p:cNvPr id="1" name=""/>
        <p:cNvGrpSpPr/>
        <p:nvPr/>
      </p:nvGrpSpPr>
      <p:grpSpPr>
        <a:xfrm>
          <a:off x="0" y="0"/>
          <a:ext cx="0" cy="0"/>
          <a:chOff x="0" y="0"/>
          <a:chExt cx="0" cy="0"/>
        </a:xfrm>
      </p:grpSpPr>
      <p:sp>
        <p:nvSpPr>
          <p:cNvPr id="32" name="Picture Placeholder 31">
            <a:extLst>
              <a:ext uri="{FF2B5EF4-FFF2-40B4-BE49-F238E27FC236}">
                <a16:creationId xmlns:a16="http://schemas.microsoft.com/office/drawing/2014/main" id="{68BC60EE-FD14-6043-A886-F358115215CF}"/>
              </a:ext>
            </a:extLst>
          </p:cNvPr>
          <p:cNvSpPr>
            <a:spLocks noGrp="1"/>
          </p:cNvSpPr>
          <p:nvPr>
            <p:ph type="pic" sz="quarter" idx="10" hasCustomPrompt="1"/>
          </p:nvPr>
        </p:nvSpPr>
        <p:spPr>
          <a:xfrm>
            <a:off x="0" y="0"/>
            <a:ext cx="12188949" cy="6857999"/>
          </a:xfrm>
          <a:custGeom>
            <a:avLst/>
            <a:gdLst>
              <a:gd name="connsiteX0" fmla="*/ 1299014 w 12188949"/>
              <a:gd name="connsiteY0" fmla="*/ 665059 h 6857999"/>
              <a:gd name="connsiteX1" fmla="*/ 1333593 w 12188949"/>
              <a:gd name="connsiteY1" fmla="*/ 725062 h 6857999"/>
              <a:gd name="connsiteX2" fmla="*/ 1299014 w 12188949"/>
              <a:gd name="connsiteY2" fmla="*/ 785060 h 6857999"/>
              <a:gd name="connsiteX3" fmla="*/ 1264443 w 12188949"/>
              <a:gd name="connsiteY3" fmla="*/ 725062 h 6857999"/>
              <a:gd name="connsiteX4" fmla="*/ 1299014 w 12188949"/>
              <a:gd name="connsiteY4" fmla="*/ 665059 h 6857999"/>
              <a:gd name="connsiteX5" fmla="*/ 1608854 w 12188949"/>
              <a:gd name="connsiteY5" fmla="*/ 663379 h 6857999"/>
              <a:gd name="connsiteX6" fmla="*/ 1638055 w 12188949"/>
              <a:gd name="connsiteY6" fmla="*/ 703608 h 6857999"/>
              <a:gd name="connsiteX7" fmla="*/ 1638055 w 12188949"/>
              <a:gd name="connsiteY7" fmla="*/ 709304 h 6857999"/>
              <a:gd name="connsiteX8" fmla="*/ 1574948 w 12188949"/>
              <a:gd name="connsiteY8" fmla="*/ 709304 h 6857999"/>
              <a:gd name="connsiteX9" fmla="*/ 1608854 w 12188949"/>
              <a:gd name="connsiteY9" fmla="*/ 663379 h 6857999"/>
              <a:gd name="connsiteX10" fmla="*/ 2321156 w 12188949"/>
              <a:gd name="connsiteY10" fmla="*/ 663378 h 6857999"/>
              <a:gd name="connsiteX11" fmla="*/ 2350361 w 12188949"/>
              <a:gd name="connsiteY11" fmla="*/ 703607 h 6857999"/>
              <a:gd name="connsiteX12" fmla="*/ 2350361 w 12188949"/>
              <a:gd name="connsiteY12" fmla="*/ 709303 h 6857999"/>
              <a:gd name="connsiteX13" fmla="*/ 2287252 w 12188949"/>
              <a:gd name="connsiteY13" fmla="*/ 709303 h 6857999"/>
              <a:gd name="connsiteX14" fmla="*/ 2321156 w 12188949"/>
              <a:gd name="connsiteY14" fmla="*/ 663378 h 6857999"/>
              <a:gd name="connsiteX15" fmla="*/ 2071592 w 12188949"/>
              <a:gd name="connsiteY15" fmla="*/ 643268 h 6857999"/>
              <a:gd name="connsiteX16" fmla="*/ 2137724 w 12188949"/>
              <a:gd name="connsiteY16" fmla="*/ 806849 h 6857999"/>
              <a:gd name="connsiteX17" fmla="*/ 2170621 w 12188949"/>
              <a:gd name="connsiteY17" fmla="*/ 806849 h 6857999"/>
              <a:gd name="connsiteX18" fmla="*/ 2232721 w 12188949"/>
              <a:gd name="connsiteY18" fmla="*/ 643268 h 6857999"/>
              <a:gd name="connsiteX19" fmla="*/ 2202175 w 12188949"/>
              <a:gd name="connsiteY19" fmla="*/ 643268 h 6857999"/>
              <a:gd name="connsiteX20" fmla="*/ 2163234 w 12188949"/>
              <a:gd name="connsiteY20" fmla="*/ 754220 h 6857999"/>
              <a:gd name="connsiteX21" fmla="*/ 2123625 w 12188949"/>
              <a:gd name="connsiteY21" fmla="*/ 643268 h 6857999"/>
              <a:gd name="connsiteX22" fmla="*/ 2003325 w 12188949"/>
              <a:gd name="connsiteY22" fmla="*/ 643267 h 6857999"/>
              <a:gd name="connsiteX23" fmla="*/ 2003325 w 12188949"/>
              <a:gd name="connsiteY23" fmla="*/ 686340 h 6857999"/>
              <a:gd name="connsiteX24" fmla="*/ 2003325 w 12188949"/>
              <a:gd name="connsiteY24" fmla="*/ 806848 h 6857999"/>
              <a:gd name="connsiteX25" fmla="*/ 2051661 w 12188949"/>
              <a:gd name="connsiteY25" fmla="*/ 806848 h 6857999"/>
              <a:gd name="connsiteX26" fmla="*/ 2051661 w 12188949"/>
              <a:gd name="connsiteY26" fmla="*/ 643267 h 6857999"/>
              <a:gd name="connsiteX27" fmla="*/ 1183993 w 12188949"/>
              <a:gd name="connsiteY27" fmla="*/ 639248 h 6857999"/>
              <a:gd name="connsiteX28" fmla="*/ 1144048 w 12188949"/>
              <a:gd name="connsiteY28" fmla="*/ 658355 h 6857999"/>
              <a:gd name="connsiteX29" fmla="*/ 1139349 w 12188949"/>
              <a:gd name="connsiteY29" fmla="*/ 643269 h 6857999"/>
              <a:gd name="connsiteX30" fmla="*/ 1101413 w 12188949"/>
              <a:gd name="connsiteY30" fmla="*/ 643269 h 6857999"/>
              <a:gd name="connsiteX31" fmla="*/ 1101413 w 12188949"/>
              <a:gd name="connsiteY31" fmla="*/ 806850 h 6857999"/>
              <a:gd name="connsiteX32" fmla="*/ 1149752 w 12188949"/>
              <a:gd name="connsiteY32" fmla="*/ 806850 h 6857999"/>
              <a:gd name="connsiteX33" fmla="*/ 1149752 w 12188949"/>
              <a:gd name="connsiteY33" fmla="*/ 717351 h 6857999"/>
              <a:gd name="connsiteX34" fmla="*/ 1148412 w 12188949"/>
              <a:gd name="connsiteY34" fmla="*/ 683494 h 6857999"/>
              <a:gd name="connsiteX35" fmla="*/ 1179629 w 12188949"/>
              <a:gd name="connsiteY35" fmla="*/ 672098 h 6857999"/>
              <a:gd name="connsiteX36" fmla="*/ 1200105 w 12188949"/>
              <a:gd name="connsiteY36" fmla="*/ 676119 h 6857999"/>
              <a:gd name="connsiteX37" fmla="*/ 1204803 w 12188949"/>
              <a:gd name="connsiteY37" fmla="*/ 644944 h 6857999"/>
              <a:gd name="connsiteX38" fmla="*/ 1183993 w 12188949"/>
              <a:gd name="connsiteY38" fmla="*/ 639248 h 6857999"/>
              <a:gd name="connsiteX39" fmla="*/ 1299014 w 12188949"/>
              <a:gd name="connsiteY39" fmla="*/ 639248 h 6857999"/>
              <a:gd name="connsiteX40" fmla="*/ 1214762 w 12188949"/>
              <a:gd name="connsiteY40" fmla="*/ 725062 h 6857999"/>
              <a:gd name="connsiteX41" fmla="*/ 1299014 w 12188949"/>
              <a:gd name="connsiteY41" fmla="*/ 810877 h 6857999"/>
              <a:gd name="connsiteX42" fmla="*/ 1383271 w 12188949"/>
              <a:gd name="connsiteY42" fmla="*/ 725062 h 6857999"/>
              <a:gd name="connsiteX43" fmla="*/ 1299014 w 12188949"/>
              <a:gd name="connsiteY43" fmla="*/ 639248 h 6857999"/>
              <a:gd name="connsiteX44" fmla="*/ 1608518 w 12188949"/>
              <a:gd name="connsiteY44" fmla="*/ 639248 h 6857999"/>
              <a:gd name="connsiteX45" fmla="*/ 1525937 w 12188949"/>
              <a:gd name="connsiteY45" fmla="*/ 725062 h 6857999"/>
              <a:gd name="connsiteX46" fmla="*/ 1549434 w 12188949"/>
              <a:gd name="connsiteY46" fmla="*/ 788752 h 6857999"/>
              <a:gd name="connsiteX47" fmla="*/ 1612543 w 12188949"/>
              <a:gd name="connsiteY47" fmla="*/ 810877 h 6857999"/>
              <a:gd name="connsiteX48" fmla="*/ 1672631 w 12188949"/>
              <a:gd name="connsiteY48" fmla="*/ 793443 h 6857999"/>
              <a:gd name="connsiteX49" fmla="*/ 1667597 w 12188949"/>
              <a:gd name="connsiteY49" fmla="*/ 768636 h 6857999"/>
              <a:gd name="connsiteX50" fmla="*/ 1619592 w 12188949"/>
              <a:gd name="connsiteY50" fmla="*/ 782384 h 6857999"/>
              <a:gd name="connsiteX51" fmla="*/ 1575284 w 12188949"/>
              <a:gd name="connsiteY51" fmla="*/ 734447 h 6857999"/>
              <a:gd name="connsiteX52" fmla="*/ 1667597 w 12188949"/>
              <a:gd name="connsiteY52" fmla="*/ 734447 h 6857999"/>
              <a:gd name="connsiteX53" fmla="*/ 1681357 w 12188949"/>
              <a:gd name="connsiteY53" fmla="*/ 716008 h 6857999"/>
              <a:gd name="connsiteX54" fmla="*/ 1608518 w 12188949"/>
              <a:gd name="connsiteY54" fmla="*/ 639248 h 6857999"/>
              <a:gd name="connsiteX55" fmla="*/ 1788093 w 12188949"/>
              <a:gd name="connsiteY55" fmla="*/ 639248 h 6857999"/>
              <a:gd name="connsiteX56" fmla="*/ 1704842 w 12188949"/>
              <a:gd name="connsiteY56" fmla="*/ 725728 h 6857999"/>
              <a:gd name="connsiteX57" fmla="*/ 1787759 w 12188949"/>
              <a:gd name="connsiteY57" fmla="*/ 810877 h 6857999"/>
              <a:gd name="connsiteX58" fmla="*/ 1844825 w 12188949"/>
              <a:gd name="connsiteY58" fmla="*/ 795453 h 6857999"/>
              <a:gd name="connsiteX59" fmla="*/ 1840125 w 12188949"/>
              <a:gd name="connsiteY59" fmla="*/ 770646 h 6857999"/>
              <a:gd name="connsiteX60" fmla="*/ 1798163 w 12188949"/>
              <a:gd name="connsiteY60" fmla="*/ 782384 h 6857999"/>
              <a:gd name="connsiteX61" fmla="*/ 1754523 w 12188949"/>
              <a:gd name="connsiteY61" fmla="*/ 725393 h 6857999"/>
              <a:gd name="connsiteX62" fmla="*/ 1796487 w 12188949"/>
              <a:gd name="connsiteY62" fmla="*/ 667741 h 6857999"/>
              <a:gd name="connsiteX63" fmla="*/ 1838112 w 12188949"/>
              <a:gd name="connsiteY63" fmla="*/ 680140 h 6857999"/>
              <a:gd name="connsiteX64" fmla="*/ 1842476 w 12188949"/>
              <a:gd name="connsiteY64" fmla="*/ 655001 h 6857999"/>
              <a:gd name="connsiteX65" fmla="*/ 1788093 w 12188949"/>
              <a:gd name="connsiteY65" fmla="*/ 639248 h 6857999"/>
              <a:gd name="connsiteX66" fmla="*/ 2320820 w 12188949"/>
              <a:gd name="connsiteY66" fmla="*/ 639247 h 6857999"/>
              <a:gd name="connsiteX67" fmla="*/ 2238239 w 12188949"/>
              <a:gd name="connsiteY67" fmla="*/ 725061 h 6857999"/>
              <a:gd name="connsiteX68" fmla="*/ 2261740 w 12188949"/>
              <a:gd name="connsiteY68" fmla="*/ 788751 h 6857999"/>
              <a:gd name="connsiteX69" fmla="*/ 2324847 w 12188949"/>
              <a:gd name="connsiteY69" fmla="*/ 810876 h 6857999"/>
              <a:gd name="connsiteX70" fmla="*/ 2384935 w 12188949"/>
              <a:gd name="connsiteY70" fmla="*/ 793442 h 6857999"/>
              <a:gd name="connsiteX71" fmla="*/ 2379899 w 12188949"/>
              <a:gd name="connsiteY71" fmla="*/ 768635 h 6857999"/>
              <a:gd name="connsiteX72" fmla="*/ 2331897 w 12188949"/>
              <a:gd name="connsiteY72" fmla="*/ 782383 h 6857999"/>
              <a:gd name="connsiteX73" fmla="*/ 2287588 w 12188949"/>
              <a:gd name="connsiteY73" fmla="*/ 734446 h 6857999"/>
              <a:gd name="connsiteX74" fmla="*/ 2379899 w 12188949"/>
              <a:gd name="connsiteY74" fmla="*/ 734446 h 6857999"/>
              <a:gd name="connsiteX75" fmla="*/ 2393661 w 12188949"/>
              <a:gd name="connsiteY75" fmla="*/ 716007 h 6857999"/>
              <a:gd name="connsiteX76" fmla="*/ 2320820 w 12188949"/>
              <a:gd name="connsiteY76" fmla="*/ 639247 h 6857999"/>
              <a:gd name="connsiteX77" fmla="*/ 969267 w 12188949"/>
              <a:gd name="connsiteY77" fmla="*/ 607065 h 6857999"/>
              <a:gd name="connsiteX78" fmla="*/ 983702 w 12188949"/>
              <a:gd name="connsiteY78" fmla="*/ 607065 h 6857999"/>
              <a:gd name="connsiteX79" fmla="*/ 1024987 w 12188949"/>
              <a:gd name="connsiteY79" fmla="*/ 648965 h 6857999"/>
              <a:gd name="connsiteX80" fmla="*/ 983702 w 12188949"/>
              <a:gd name="connsiteY80" fmla="*/ 690869 h 6857999"/>
              <a:gd name="connsiteX81" fmla="*/ 969267 w 12188949"/>
              <a:gd name="connsiteY81" fmla="*/ 690869 h 6857999"/>
              <a:gd name="connsiteX82" fmla="*/ 2651255 w 12188949"/>
              <a:gd name="connsiteY82" fmla="*/ 598584 h 6857999"/>
              <a:gd name="connsiteX83" fmla="*/ 2509370 w 12188949"/>
              <a:gd name="connsiteY83" fmla="*/ 790841 h 6857999"/>
              <a:gd name="connsiteX84" fmla="*/ 2523979 w 12188949"/>
              <a:gd name="connsiteY84" fmla="*/ 806901 h 6857999"/>
              <a:gd name="connsiteX85" fmla="*/ 2559218 w 12188949"/>
              <a:gd name="connsiteY85" fmla="*/ 806901 h 6857999"/>
              <a:gd name="connsiteX86" fmla="*/ 2651255 w 12188949"/>
              <a:gd name="connsiteY86" fmla="*/ 622048 h 6857999"/>
              <a:gd name="connsiteX87" fmla="*/ 2725938 w 12188949"/>
              <a:gd name="connsiteY87" fmla="*/ 688236 h 6857999"/>
              <a:gd name="connsiteX88" fmla="*/ 2726315 w 12188949"/>
              <a:gd name="connsiteY88" fmla="*/ 690131 h 6857999"/>
              <a:gd name="connsiteX89" fmla="*/ 2709521 w 12188949"/>
              <a:gd name="connsiteY89" fmla="*/ 706348 h 6857999"/>
              <a:gd name="connsiteX90" fmla="*/ 2655888 w 12188949"/>
              <a:gd name="connsiteY90" fmla="*/ 881725 h 6857999"/>
              <a:gd name="connsiteX91" fmla="*/ 2670567 w 12188949"/>
              <a:gd name="connsiteY91" fmla="*/ 896041 h 6857999"/>
              <a:gd name="connsiteX92" fmla="*/ 2707630 w 12188949"/>
              <a:gd name="connsiteY92" fmla="*/ 896041 h 6857999"/>
              <a:gd name="connsiteX93" fmla="*/ 2713091 w 12188949"/>
              <a:gd name="connsiteY93" fmla="*/ 806755 h 6857999"/>
              <a:gd name="connsiteX94" fmla="*/ 2736841 w 12188949"/>
              <a:gd name="connsiteY94" fmla="*/ 743125 h 6857999"/>
              <a:gd name="connsiteX95" fmla="*/ 2740399 w 12188949"/>
              <a:gd name="connsiteY95" fmla="*/ 761035 h 6857999"/>
              <a:gd name="connsiteX96" fmla="*/ 2744417 w 12188949"/>
              <a:gd name="connsiteY96" fmla="*/ 851471 h 6857999"/>
              <a:gd name="connsiteX97" fmla="*/ 2780627 w 12188949"/>
              <a:gd name="connsiteY97" fmla="*/ 851471 h 6857999"/>
              <a:gd name="connsiteX98" fmla="*/ 2795299 w 12188949"/>
              <a:gd name="connsiteY98" fmla="*/ 836592 h 6857999"/>
              <a:gd name="connsiteX99" fmla="*/ 2785610 w 12188949"/>
              <a:gd name="connsiteY99" fmla="*/ 740175 h 6857999"/>
              <a:gd name="connsiteX100" fmla="*/ 2770572 w 12188949"/>
              <a:gd name="connsiteY100" fmla="*/ 696847 h 6857999"/>
              <a:gd name="connsiteX101" fmla="*/ 2789394 w 12188949"/>
              <a:gd name="connsiteY101" fmla="*/ 681363 h 6857999"/>
              <a:gd name="connsiteX102" fmla="*/ 2857083 w 12188949"/>
              <a:gd name="connsiteY102" fmla="*/ 662463 h 6857999"/>
              <a:gd name="connsiteX103" fmla="*/ 2927568 w 12188949"/>
              <a:gd name="connsiteY103" fmla="*/ 730919 h 6857999"/>
              <a:gd name="connsiteX104" fmla="*/ 2825340 w 12188949"/>
              <a:gd name="connsiteY104" fmla="*/ 806901 h 6857999"/>
              <a:gd name="connsiteX105" fmla="*/ 2826532 w 12188949"/>
              <a:gd name="connsiteY105" fmla="*/ 837606 h 6857999"/>
              <a:gd name="connsiteX106" fmla="*/ 2841873 w 12188949"/>
              <a:gd name="connsiteY106" fmla="*/ 851680 h 6857999"/>
              <a:gd name="connsiteX107" fmla="*/ 2975564 w 12188949"/>
              <a:gd name="connsiteY107" fmla="*/ 741166 h 6857999"/>
              <a:gd name="connsiteX108" fmla="*/ 2857083 w 12188949"/>
              <a:gd name="connsiteY108" fmla="*/ 638998 h 6857999"/>
              <a:gd name="connsiteX109" fmla="*/ 2773892 w 12188949"/>
              <a:gd name="connsiteY109" fmla="*/ 656669 h 6857999"/>
              <a:gd name="connsiteX110" fmla="*/ 2759634 w 12188949"/>
              <a:gd name="connsiteY110" fmla="*/ 665328 h 6857999"/>
              <a:gd name="connsiteX111" fmla="*/ 2759500 w 12188949"/>
              <a:gd name="connsiteY111" fmla="*/ 664941 h 6857999"/>
              <a:gd name="connsiteX112" fmla="*/ 2651255 w 12188949"/>
              <a:gd name="connsiteY112" fmla="*/ 598584 h 6857999"/>
              <a:gd name="connsiteX113" fmla="*/ 1468890 w 12188949"/>
              <a:gd name="connsiteY113" fmla="*/ 591647 h 6857999"/>
              <a:gd name="connsiteX114" fmla="*/ 1420556 w 12188949"/>
              <a:gd name="connsiteY114" fmla="*/ 597683 h 6857999"/>
              <a:gd name="connsiteX115" fmla="*/ 1420556 w 12188949"/>
              <a:gd name="connsiteY115" fmla="*/ 643269 h 6857999"/>
              <a:gd name="connsiteX116" fmla="*/ 1394344 w 12188949"/>
              <a:gd name="connsiteY116" fmla="*/ 643269 h 6857999"/>
              <a:gd name="connsiteX117" fmla="*/ 1394344 w 12188949"/>
              <a:gd name="connsiteY117" fmla="*/ 668742 h 6857999"/>
              <a:gd name="connsiteX118" fmla="*/ 1420556 w 12188949"/>
              <a:gd name="connsiteY118" fmla="*/ 668742 h 6857999"/>
              <a:gd name="connsiteX119" fmla="*/ 1420556 w 12188949"/>
              <a:gd name="connsiteY119" fmla="*/ 754783 h 6857999"/>
              <a:gd name="connsiteX120" fmla="*/ 1472396 w 12188949"/>
              <a:gd name="connsiteY120" fmla="*/ 810877 h 6857999"/>
              <a:gd name="connsiteX121" fmla="*/ 1512168 w 12188949"/>
              <a:gd name="connsiteY121" fmla="*/ 803497 h 6857999"/>
              <a:gd name="connsiteX122" fmla="*/ 1508992 w 12188949"/>
              <a:gd name="connsiteY122" fmla="*/ 778450 h 6857999"/>
              <a:gd name="connsiteX123" fmla="*/ 1487428 w 12188949"/>
              <a:gd name="connsiteY123" fmla="*/ 782382 h 6857999"/>
              <a:gd name="connsiteX124" fmla="*/ 1468890 w 12188949"/>
              <a:gd name="connsiteY124" fmla="*/ 755766 h 6857999"/>
              <a:gd name="connsiteX125" fmla="*/ 1468890 w 12188949"/>
              <a:gd name="connsiteY125" fmla="*/ 668742 h 6857999"/>
              <a:gd name="connsiteX126" fmla="*/ 1510819 w 12188949"/>
              <a:gd name="connsiteY126" fmla="*/ 668742 h 6857999"/>
              <a:gd name="connsiteX127" fmla="*/ 1510819 w 12188949"/>
              <a:gd name="connsiteY127" fmla="*/ 643269 h 6857999"/>
              <a:gd name="connsiteX128" fmla="*/ 1468890 w 12188949"/>
              <a:gd name="connsiteY128" fmla="*/ 643269 h 6857999"/>
              <a:gd name="connsiteX129" fmla="*/ 1934250 w 12188949"/>
              <a:gd name="connsiteY129" fmla="*/ 591647 h 6857999"/>
              <a:gd name="connsiteX130" fmla="*/ 1885917 w 12188949"/>
              <a:gd name="connsiteY130" fmla="*/ 597683 h 6857999"/>
              <a:gd name="connsiteX131" fmla="*/ 1885917 w 12188949"/>
              <a:gd name="connsiteY131" fmla="*/ 643268 h 6857999"/>
              <a:gd name="connsiteX132" fmla="*/ 1859702 w 12188949"/>
              <a:gd name="connsiteY132" fmla="*/ 643268 h 6857999"/>
              <a:gd name="connsiteX133" fmla="*/ 1859702 w 12188949"/>
              <a:gd name="connsiteY133" fmla="*/ 668742 h 6857999"/>
              <a:gd name="connsiteX134" fmla="*/ 1885917 w 12188949"/>
              <a:gd name="connsiteY134" fmla="*/ 668742 h 6857999"/>
              <a:gd name="connsiteX135" fmla="*/ 1885917 w 12188949"/>
              <a:gd name="connsiteY135" fmla="*/ 754782 h 6857999"/>
              <a:gd name="connsiteX136" fmla="*/ 1937754 w 12188949"/>
              <a:gd name="connsiteY136" fmla="*/ 810876 h 6857999"/>
              <a:gd name="connsiteX137" fmla="*/ 1977529 w 12188949"/>
              <a:gd name="connsiteY137" fmla="*/ 803496 h 6857999"/>
              <a:gd name="connsiteX138" fmla="*/ 1974352 w 12188949"/>
              <a:gd name="connsiteY138" fmla="*/ 778450 h 6857999"/>
              <a:gd name="connsiteX139" fmla="*/ 1952786 w 12188949"/>
              <a:gd name="connsiteY139" fmla="*/ 782382 h 6857999"/>
              <a:gd name="connsiteX140" fmla="*/ 1934250 w 12188949"/>
              <a:gd name="connsiteY140" fmla="*/ 755765 h 6857999"/>
              <a:gd name="connsiteX141" fmla="*/ 1934250 w 12188949"/>
              <a:gd name="connsiteY141" fmla="*/ 668742 h 6857999"/>
              <a:gd name="connsiteX142" fmla="*/ 1976179 w 12188949"/>
              <a:gd name="connsiteY142" fmla="*/ 668742 h 6857999"/>
              <a:gd name="connsiteX143" fmla="*/ 1976179 w 12188949"/>
              <a:gd name="connsiteY143" fmla="*/ 643268 h 6857999"/>
              <a:gd name="connsiteX144" fmla="*/ 1934250 w 12188949"/>
              <a:gd name="connsiteY144" fmla="*/ 643268 h 6857999"/>
              <a:gd name="connsiteX145" fmla="*/ 917574 w 12188949"/>
              <a:gd name="connsiteY145" fmla="*/ 575895 h 6857999"/>
              <a:gd name="connsiteX146" fmla="*/ 917574 w 12188949"/>
              <a:gd name="connsiteY146" fmla="*/ 806850 h 6857999"/>
              <a:gd name="connsiteX147" fmla="*/ 969267 w 12188949"/>
              <a:gd name="connsiteY147" fmla="*/ 806850 h 6857999"/>
              <a:gd name="connsiteX148" fmla="*/ 969267 w 12188949"/>
              <a:gd name="connsiteY148" fmla="*/ 721708 h 6857999"/>
              <a:gd name="connsiteX149" fmla="*/ 980012 w 12188949"/>
              <a:gd name="connsiteY149" fmla="*/ 721708 h 6857999"/>
              <a:gd name="connsiteX150" fmla="*/ 1057883 w 12188949"/>
              <a:gd name="connsiteY150" fmla="*/ 701262 h 6857999"/>
              <a:gd name="connsiteX151" fmla="*/ 1077017 w 12188949"/>
              <a:gd name="connsiteY151" fmla="*/ 646618 h 6857999"/>
              <a:gd name="connsiteX152" fmla="*/ 1061242 w 12188949"/>
              <a:gd name="connsiteY152" fmla="*/ 599695 h 6857999"/>
              <a:gd name="connsiteX153" fmla="*/ 973294 w 12188949"/>
              <a:gd name="connsiteY153" fmla="*/ 575895 h 6857999"/>
              <a:gd name="connsiteX154" fmla="*/ 2027494 w 12188949"/>
              <a:gd name="connsiteY154" fmla="*/ 574214 h 6857999"/>
              <a:gd name="connsiteX155" fmla="*/ 2001984 w 12188949"/>
              <a:gd name="connsiteY155" fmla="*/ 598350 h 6857999"/>
              <a:gd name="connsiteX156" fmla="*/ 2027494 w 12188949"/>
              <a:gd name="connsiteY156" fmla="*/ 622485 h 6857999"/>
              <a:gd name="connsiteX157" fmla="*/ 2053005 w 12188949"/>
              <a:gd name="connsiteY157" fmla="*/ 598350 h 6857999"/>
              <a:gd name="connsiteX158" fmla="*/ 2027494 w 12188949"/>
              <a:gd name="connsiteY158" fmla="*/ 574214 h 6857999"/>
              <a:gd name="connsiteX159" fmla="*/ 2857084 w 12188949"/>
              <a:gd name="connsiteY159" fmla="*/ 516940 h 6857999"/>
              <a:gd name="connsiteX160" fmla="*/ 2885433 w 12188949"/>
              <a:gd name="connsiteY160" fmla="*/ 559788 h 6857999"/>
              <a:gd name="connsiteX161" fmla="*/ 2857084 w 12188949"/>
              <a:gd name="connsiteY161" fmla="*/ 602636 h 6857999"/>
              <a:gd name="connsiteX162" fmla="*/ 2828731 w 12188949"/>
              <a:gd name="connsiteY162" fmla="*/ 559788 h 6857999"/>
              <a:gd name="connsiteX163" fmla="*/ 2857084 w 12188949"/>
              <a:gd name="connsiteY163" fmla="*/ 516940 h 6857999"/>
              <a:gd name="connsiteX164" fmla="*/ 2857084 w 12188949"/>
              <a:gd name="connsiteY164" fmla="*/ 497614 h 6857999"/>
              <a:gd name="connsiteX165" fmla="*/ 2796035 w 12188949"/>
              <a:gd name="connsiteY165" fmla="*/ 559788 h 6857999"/>
              <a:gd name="connsiteX166" fmla="*/ 2857084 w 12188949"/>
              <a:gd name="connsiteY166" fmla="*/ 621962 h 6857999"/>
              <a:gd name="connsiteX167" fmla="*/ 2918132 w 12188949"/>
              <a:gd name="connsiteY167" fmla="*/ 559788 h 6857999"/>
              <a:gd name="connsiteX168" fmla="*/ 2857084 w 12188949"/>
              <a:gd name="connsiteY168" fmla="*/ 497614 h 6857999"/>
              <a:gd name="connsiteX169" fmla="*/ 2651255 w 12188949"/>
              <a:gd name="connsiteY169" fmla="*/ 476526 h 6857999"/>
              <a:gd name="connsiteX170" fmla="*/ 2679604 w 12188949"/>
              <a:gd name="connsiteY170" fmla="*/ 519374 h 6857999"/>
              <a:gd name="connsiteX171" fmla="*/ 2651255 w 12188949"/>
              <a:gd name="connsiteY171" fmla="*/ 562222 h 6857999"/>
              <a:gd name="connsiteX172" fmla="*/ 2622902 w 12188949"/>
              <a:gd name="connsiteY172" fmla="*/ 519374 h 6857999"/>
              <a:gd name="connsiteX173" fmla="*/ 2651255 w 12188949"/>
              <a:gd name="connsiteY173" fmla="*/ 476526 h 6857999"/>
              <a:gd name="connsiteX174" fmla="*/ 2651255 w 12188949"/>
              <a:gd name="connsiteY174" fmla="*/ 457200 h 6857999"/>
              <a:gd name="connsiteX175" fmla="*/ 2590205 w 12188949"/>
              <a:gd name="connsiteY175" fmla="*/ 519374 h 6857999"/>
              <a:gd name="connsiteX176" fmla="*/ 2651255 w 12188949"/>
              <a:gd name="connsiteY176" fmla="*/ 581548 h 6857999"/>
              <a:gd name="connsiteX177" fmla="*/ 2712304 w 12188949"/>
              <a:gd name="connsiteY177" fmla="*/ 519374 h 6857999"/>
              <a:gd name="connsiteX178" fmla="*/ 2651255 w 12188949"/>
              <a:gd name="connsiteY178" fmla="*/ 457200 h 6857999"/>
              <a:gd name="connsiteX179" fmla="*/ 0 w 12188949"/>
              <a:gd name="connsiteY179" fmla="*/ 0 h 6857999"/>
              <a:gd name="connsiteX180" fmla="*/ 12188949 w 12188949"/>
              <a:gd name="connsiteY180" fmla="*/ 0 h 6857999"/>
              <a:gd name="connsiteX181" fmla="*/ 12188949 w 12188949"/>
              <a:gd name="connsiteY181" fmla="*/ 6857999 h 6857999"/>
              <a:gd name="connsiteX182" fmla="*/ 8185437 w 12188949"/>
              <a:gd name="connsiteY182" fmla="*/ 6857999 h 6857999"/>
              <a:gd name="connsiteX183" fmla="*/ 8667864 w 12188949"/>
              <a:gd name="connsiteY183" fmla="*/ 6703983 h 6857999"/>
              <a:gd name="connsiteX184" fmla="*/ 12099563 w 12188949"/>
              <a:gd name="connsiteY184" fmla="*/ 5152052 h 6857999"/>
              <a:gd name="connsiteX185" fmla="*/ 12185901 w 12188949"/>
              <a:gd name="connsiteY185" fmla="*/ 5101378 h 6857999"/>
              <a:gd name="connsiteX186" fmla="*/ 12185901 w 12188949"/>
              <a:gd name="connsiteY186" fmla="*/ 1169823 h 6857999"/>
              <a:gd name="connsiteX187" fmla="*/ 10459514 w 12188949"/>
              <a:gd name="connsiteY187" fmla="*/ 2317719 h 6857999"/>
              <a:gd name="connsiteX188" fmla="*/ 10459513 w 12188949"/>
              <a:gd name="connsiteY188" fmla="*/ 2317719 h 6857999"/>
              <a:gd name="connsiteX189" fmla="*/ 6596378 w 12188949"/>
              <a:gd name="connsiteY189" fmla="*/ 3903060 h 6857999"/>
              <a:gd name="connsiteX190" fmla="*/ 3021844 w 12188949"/>
              <a:gd name="connsiteY190" fmla="*/ 4269815 h 6857999"/>
              <a:gd name="connsiteX191" fmla="*/ 242001 w 12188949"/>
              <a:gd name="connsiteY191" fmla="*/ 3555182 h 6857999"/>
              <a:gd name="connsiteX192" fmla="*/ 761 w 12188949"/>
              <a:gd name="connsiteY192" fmla="*/ 3420135 h 6857999"/>
              <a:gd name="connsiteX193" fmla="*/ 761 w 12188949"/>
              <a:gd name="connsiteY193" fmla="*/ 6857999 h 6857999"/>
              <a:gd name="connsiteX194" fmla="*/ 0 w 12188949"/>
              <a:gd name="connsiteY194"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12188949" h="6857999">
                <a:moveTo>
                  <a:pt x="1299014" y="665059"/>
                </a:moveTo>
                <a:cubicBezTo>
                  <a:pt x="1320835" y="665059"/>
                  <a:pt x="1333593" y="681483"/>
                  <a:pt x="1333593" y="725062"/>
                </a:cubicBezTo>
                <a:cubicBezTo>
                  <a:pt x="1333593" y="768636"/>
                  <a:pt x="1320835" y="785060"/>
                  <a:pt x="1299014" y="785060"/>
                </a:cubicBezTo>
                <a:cubicBezTo>
                  <a:pt x="1277199" y="785060"/>
                  <a:pt x="1264443" y="768636"/>
                  <a:pt x="1264443" y="725062"/>
                </a:cubicBezTo>
                <a:cubicBezTo>
                  <a:pt x="1264443" y="681483"/>
                  <a:pt x="1277199" y="665059"/>
                  <a:pt x="1299014" y="665059"/>
                </a:cubicBezTo>
                <a:close/>
                <a:moveTo>
                  <a:pt x="1608854" y="663379"/>
                </a:moveTo>
                <a:cubicBezTo>
                  <a:pt x="1625633" y="663379"/>
                  <a:pt x="1638055" y="676119"/>
                  <a:pt x="1638055" y="703608"/>
                </a:cubicBezTo>
                <a:lnTo>
                  <a:pt x="1638055" y="709304"/>
                </a:lnTo>
                <a:lnTo>
                  <a:pt x="1574948" y="709304"/>
                </a:lnTo>
                <a:cubicBezTo>
                  <a:pt x="1574948" y="675447"/>
                  <a:pt x="1589046" y="663379"/>
                  <a:pt x="1608854" y="663379"/>
                </a:cubicBezTo>
                <a:close/>
                <a:moveTo>
                  <a:pt x="2321156" y="663378"/>
                </a:moveTo>
                <a:cubicBezTo>
                  <a:pt x="2337942" y="663378"/>
                  <a:pt x="2350361" y="676118"/>
                  <a:pt x="2350361" y="703607"/>
                </a:cubicBezTo>
                <a:lnTo>
                  <a:pt x="2350361" y="709303"/>
                </a:lnTo>
                <a:lnTo>
                  <a:pt x="2287252" y="709303"/>
                </a:lnTo>
                <a:cubicBezTo>
                  <a:pt x="2287252" y="675446"/>
                  <a:pt x="2301351" y="663378"/>
                  <a:pt x="2321156" y="663378"/>
                </a:cubicBezTo>
                <a:close/>
                <a:moveTo>
                  <a:pt x="2071592" y="643268"/>
                </a:moveTo>
                <a:lnTo>
                  <a:pt x="2137724" y="806849"/>
                </a:lnTo>
                <a:lnTo>
                  <a:pt x="2170621" y="806849"/>
                </a:lnTo>
                <a:lnTo>
                  <a:pt x="2232721" y="643268"/>
                </a:lnTo>
                <a:lnTo>
                  <a:pt x="2202175" y="643268"/>
                </a:lnTo>
                <a:lnTo>
                  <a:pt x="2163234" y="754220"/>
                </a:lnTo>
                <a:lnTo>
                  <a:pt x="2123625" y="643268"/>
                </a:lnTo>
                <a:close/>
                <a:moveTo>
                  <a:pt x="2003325" y="643267"/>
                </a:moveTo>
                <a:lnTo>
                  <a:pt x="2003325" y="686340"/>
                </a:lnTo>
                <a:lnTo>
                  <a:pt x="2003325" y="806848"/>
                </a:lnTo>
                <a:lnTo>
                  <a:pt x="2051661" y="806848"/>
                </a:lnTo>
                <a:lnTo>
                  <a:pt x="2051661" y="643267"/>
                </a:lnTo>
                <a:close/>
                <a:moveTo>
                  <a:pt x="1183993" y="639248"/>
                </a:moveTo>
                <a:cubicBezTo>
                  <a:pt x="1169223" y="639248"/>
                  <a:pt x="1155461" y="645280"/>
                  <a:pt x="1144048" y="658355"/>
                </a:cubicBezTo>
                <a:cubicBezTo>
                  <a:pt x="1142703" y="652991"/>
                  <a:pt x="1141026" y="647962"/>
                  <a:pt x="1139349" y="643269"/>
                </a:cubicBezTo>
                <a:lnTo>
                  <a:pt x="1101413" y="643269"/>
                </a:lnTo>
                <a:lnTo>
                  <a:pt x="1101413" y="806850"/>
                </a:lnTo>
                <a:lnTo>
                  <a:pt x="1149752" y="806850"/>
                </a:lnTo>
                <a:lnTo>
                  <a:pt x="1149752" y="717351"/>
                </a:lnTo>
                <a:cubicBezTo>
                  <a:pt x="1149752" y="704275"/>
                  <a:pt x="1149416" y="692880"/>
                  <a:pt x="1148412" y="683494"/>
                </a:cubicBezTo>
                <a:cubicBezTo>
                  <a:pt x="1157810" y="675783"/>
                  <a:pt x="1168551" y="672098"/>
                  <a:pt x="1179629" y="672098"/>
                </a:cubicBezTo>
                <a:cubicBezTo>
                  <a:pt x="1186679" y="672098"/>
                  <a:pt x="1193392" y="673437"/>
                  <a:pt x="1200105" y="676119"/>
                </a:cubicBezTo>
                <a:lnTo>
                  <a:pt x="1204803" y="644944"/>
                </a:lnTo>
                <a:cubicBezTo>
                  <a:pt x="1198428" y="641259"/>
                  <a:pt x="1191379" y="639248"/>
                  <a:pt x="1183993" y="639248"/>
                </a:cubicBezTo>
                <a:close/>
                <a:moveTo>
                  <a:pt x="1299014" y="639248"/>
                </a:moveTo>
                <a:cubicBezTo>
                  <a:pt x="1245644" y="639248"/>
                  <a:pt x="1214762" y="673437"/>
                  <a:pt x="1214762" y="725062"/>
                </a:cubicBezTo>
                <a:cubicBezTo>
                  <a:pt x="1214762" y="776683"/>
                  <a:pt x="1245644" y="810877"/>
                  <a:pt x="1299014" y="810877"/>
                </a:cubicBezTo>
                <a:cubicBezTo>
                  <a:pt x="1352389" y="810877"/>
                  <a:pt x="1383271" y="776683"/>
                  <a:pt x="1383271" y="725062"/>
                </a:cubicBezTo>
                <a:cubicBezTo>
                  <a:pt x="1383271" y="673437"/>
                  <a:pt x="1352389" y="639248"/>
                  <a:pt x="1299014" y="639248"/>
                </a:cubicBezTo>
                <a:close/>
                <a:moveTo>
                  <a:pt x="1608518" y="639248"/>
                </a:moveTo>
                <a:cubicBezTo>
                  <a:pt x="1559841" y="639248"/>
                  <a:pt x="1525937" y="671090"/>
                  <a:pt x="1525937" y="725062"/>
                </a:cubicBezTo>
                <a:cubicBezTo>
                  <a:pt x="1525937" y="752883"/>
                  <a:pt x="1534331" y="774337"/>
                  <a:pt x="1549434" y="788752"/>
                </a:cubicBezTo>
                <a:cubicBezTo>
                  <a:pt x="1564541" y="803502"/>
                  <a:pt x="1587701" y="810877"/>
                  <a:pt x="1612543" y="810877"/>
                </a:cubicBezTo>
                <a:cubicBezTo>
                  <a:pt x="1633691" y="810877"/>
                  <a:pt x="1655511" y="805512"/>
                  <a:pt x="1672631" y="793443"/>
                </a:cubicBezTo>
                <a:lnTo>
                  <a:pt x="1667597" y="768636"/>
                </a:lnTo>
                <a:cubicBezTo>
                  <a:pt x="1650138" y="778357"/>
                  <a:pt x="1633691" y="782715"/>
                  <a:pt x="1619592" y="782384"/>
                </a:cubicBezTo>
                <a:cubicBezTo>
                  <a:pt x="1589383" y="781712"/>
                  <a:pt x="1575284" y="763276"/>
                  <a:pt x="1575284" y="734447"/>
                </a:cubicBezTo>
                <a:lnTo>
                  <a:pt x="1667597" y="734447"/>
                </a:lnTo>
                <a:cubicBezTo>
                  <a:pt x="1679008" y="734447"/>
                  <a:pt x="1681357" y="732432"/>
                  <a:pt x="1681357" y="716008"/>
                </a:cubicBezTo>
                <a:cubicBezTo>
                  <a:pt x="1681357" y="665059"/>
                  <a:pt x="1651147" y="639248"/>
                  <a:pt x="1608518" y="639248"/>
                </a:cubicBezTo>
                <a:close/>
                <a:moveTo>
                  <a:pt x="1788093" y="639248"/>
                </a:moveTo>
                <a:cubicBezTo>
                  <a:pt x="1738748" y="639248"/>
                  <a:pt x="1704842" y="671426"/>
                  <a:pt x="1704842" y="725728"/>
                </a:cubicBezTo>
                <a:cubicBezTo>
                  <a:pt x="1704842" y="776347"/>
                  <a:pt x="1734048" y="810877"/>
                  <a:pt x="1787759" y="810877"/>
                </a:cubicBezTo>
                <a:cubicBezTo>
                  <a:pt x="1807230" y="810877"/>
                  <a:pt x="1827369" y="806183"/>
                  <a:pt x="1844825" y="795453"/>
                </a:cubicBezTo>
                <a:lnTo>
                  <a:pt x="1840125" y="770646"/>
                </a:lnTo>
                <a:cubicBezTo>
                  <a:pt x="1825018" y="778693"/>
                  <a:pt x="1810247" y="782384"/>
                  <a:pt x="1798163" y="782384"/>
                </a:cubicBezTo>
                <a:cubicBezTo>
                  <a:pt x="1767954" y="782384"/>
                  <a:pt x="1754523" y="765286"/>
                  <a:pt x="1754523" y="725393"/>
                </a:cubicBezTo>
                <a:cubicBezTo>
                  <a:pt x="1754523" y="685169"/>
                  <a:pt x="1770975" y="667741"/>
                  <a:pt x="1796487" y="667741"/>
                </a:cubicBezTo>
                <a:cubicBezTo>
                  <a:pt x="1810247" y="667741"/>
                  <a:pt x="1825354" y="671762"/>
                  <a:pt x="1838112" y="680140"/>
                </a:cubicBezTo>
                <a:lnTo>
                  <a:pt x="1842476" y="655001"/>
                </a:lnTo>
                <a:cubicBezTo>
                  <a:pt x="1827705" y="644608"/>
                  <a:pt x="1808234" y="639248"/>
                  <a:pt x="1788093" y="639248"/>
                </a:cubicBezTo>
                <a:close/>
                <a:moveTo>
                  <a:pt x="2320820" y="639247"/>
                </a:moveTo>
                <a:cubicBezTo>
                  <a:pt x="2272145" y="639247"/>
                  <a:pt x="2238239" y="671089"/>
                  <a:pt x="2238239" y="725061"/>
                </a:cubicBezTo>
                <a:cubicBezTo>
                  <a:pt x="2238239" y="752882"/>
                  <a:pt x="2246633" y="774336"/>
                  <a:pt x="2261740" y="788751"/>
                </a:cubicBezTo>
                <a:cubicBezTo>
                  <a:pt x="2276845" y="803501"/>
                  <a:pt x="2300010" y="810876"/>
                  <a:pt x="2324847" y="810876"/>
                </a:cubicBezTo>
                <a:cubicBezTo>
                  <a:pt x="2345995" y="810876"/>
                  <a:pt x="2367815" y="805511"/>
                  <a:pt x="2384935" y="793442"/>
                </a:cubicBezTo>
                <a:lnTo>
                  <a:pt x="2379899" y="768635"/>
                </a:lnTo>
                <a:cubicBezTo>
                  <a:pt x="2362442" y="778356"/>
                  <a:pt x="2345995" y="782714"/>
                  <a:pt x="2331897" y="782383"/>
                </a:cubicBezTo>
                <a:cubicBezTo>
                  <a:pt x="2301687" y="781711"/>
                  <a:pt x="2287588" y="763275"/>
                  <a:pt x="2287588" y="734446"/>
                </a:cubicBezTo>
                <a:lnTo>
                  <a:pt x="2379899" y="734446"/>
                </a:lnTo>
                <a:cubicBezTo>
                  <a:pt x="2391312" y="734446"/>
                  <a:pt x="2393661" y="732431"/>
                  <a:pt x="2393661" y="716007"/>
                </a:cubicBezTo>
                <a:cubicBezTo>
                  <a:pt x="2393661" y="665058"/>
                  <a:pt x="2363451" y="639247"/>
                  <a:pt x="2320820" y="639247"/>
                </a:cubicBezTo>
                <a:close/>
                <a:moveTo>
                  <a:pt x="969267" y="607065"/>
                </a:moveTo>
                <a:lnTo>
                  <a:pt x="983702" y="607065"/>
                </a:lnTo>
                <a:cubicBezTo>
                  <a:pt x="1014248" y="607065"/>
                  <a:pt x="1024987" y="617794"/>
                  <a:pt x="1024987" y="648965"/>
                </a:cubicBezTo>
                <a:cubicBezTo>
                  <a:pt x="1024987" y="682155"/>
                  <a:pt x="1012571" y="690869"/>
                  <a:pt x="983702" y="690869"/>
                </a:cubicBezTo>
                <a:lnTo>
                  <a:pt x="969267" y="690869"/>
                </a:lnTo>
                <a:close/>
                <a:moveTo>
                  <a:pt x="2651255" y="598584"/>
                </a:moveTo>
                <a:cubicBezTo>
                  <a:pt x="2563130" y="598584"/>
                  <a:pt x="2519871" y="675444"/>
                  <a:pt x="2509370" y="790841"/>
                </a:cubicBezTo>
                <a:cubicBezTo>
                  <a:pt x="2508587" y="799451"/>
                  <a:pt x="2515319" y="806901"/>
                  <a:pt x="2523979" y="806901"/>
                </a:cubicBezTo>
                <a:lnTo>
                  <a:pt x="2559218" y="806901"/>
                </a:lnTo>
                <a:cubicBezTo>
                  <a:pt x="2563493" y="699686"/>
                  <a:pt x="2585176" y="622048"/>
                  <a:pt x="2651255" y="622048"/>
                </a:cubicBezTo>
                <a:cubicBezTo>
                  <a:pt x="2688724" y="622048"/>
                  <a:pt x="2712015" y="647055"/>
                  <a:pt x="2725938" y="688236"/>
                </a:cubicBezTo>
                <a:lnTo>
                  <a:pt x="2726315" y="690131"/>
                </a:lnTo>
                <a:lnTo>
                  <a:pt x="2709521" y="706348"/>
                </a:lnTo>
                <a:cubicBezTo>
                  <a:pt x="2673917" y="749025"/>
                  <a:pt x="2653967" y="809707"/>
                  <a:pt x="2655888" y="881725"/>
                </a:cubicBezTo>
                <a:cubicBezTo>
                  <a:pt x="2656100" y="889680"/>
                  <a:pt x="2662599" y="896041"/>
                  <a:pt x="2670567" y="896041"/>
                </a:cubicBezTo>
                <a:lnTo>
                  <a:pt x="2707630" y="896041"/>
                </a:lnTo>
                <a:cubicBezTo>
                  <a:pt x="2705555" y="864758"/>
                  <a:pt x="2707463" y="834518"/>
                  <a:pt x="2713091" y="806755"/>
                </a:cubicBezTo>
                <a:lnTo>
                  <a:pt x="2736841" y="743125"/>
                </a:lnTo>
                <a:lnTo>
                  <a:pt x="2740399" y="761035"/>
                </a:lnTo>
                <a:cubicBezTo>
                  <a:pt x="2743278" y="788609"/>
                  <a:pt x="2744417" y="819122"/>
                  <a:pt x="2744417" y="851471"/>
                </a:cubicBezTo>
                <a:lnTo>
                  <a:pt x="2780627" y="851471"/>
                </a:lnTo>
                <a:cubicBezTo>
                  <a:pt x="2788817" y="851471"/>
                  <a:pt x="2795459" y="844770"/>
                  <a:pt x="2795299" y="836592"/>
                </a:cubicBezTo>
                <a:cubicBezTo>
                  <a:pt x="2794618" y="801494"/>
                  <a:pt x="2791482" y="769069"/>
                  <a:pt x="2785610" y="740175"/>
                </a:cubicBezTo>
                <a:lnTo>
                  <a:pt x="2770572" y="696847"/>
                </a:lnTo>
                <a:lnTo>
                  <a:pt x="2789394" y="681363"/>
                </a:lnTo>
                <a:cubicBezTo>
                  <a:pt x="2808851" y="669241"/>
                  <a:pt x="2831501" y="662463"/>
                  <a:pt x="2857083" y="662463"/>
                </a:cubicBezTo>
                <a:cubicBezTo>
                  <a:pt x="2902887" y="662463"/>
                  <a:pt x="2927568" y="692797"/>
                  <a:pt x="2927568" y="730919"/>
                </a:cubicBezTo>
                <a:cubicBezTo>
                  <a:pt x="2927568" y="769041"/>
                  <a:pt x="2901563" y="806901"/>
                  <a:pt x="2825340" y="806901"/>
                </a:cubicBezTo>
                <a:lnTo>
                  <a:pt x="2826532" y="837606"/>
                </a:lnTo>
                <a:cubicBezTo>
                  <a:pt x="2826847" y="845730"/>
                  <a:pt x="2833739" y="852100"/>
                  <a:pt x="2841873" y="851680"/>
                </a:cubicBezTo>
                <a:cubicBezTo>
                  <a:pt x="2932692" y="846991"/>
                  <a:pt x="2975564" y="796983"/>
                  <a:pt x="2975564" y="741166"/>
                </a:cubicBezTo>
                <a:cubicBezTo>
                  <a:pt x="2975564" y="682649"/>
                  <a:pt x="2927655" y="638998"/>
                  <a:pt x="2857083" y="638998"/>
                </a:cubicBezTo>
                <a:cubicBezTo>
                  <a:pt x="2826734" y="638998"/>
                  <a:pt x="2798745" y="645166"/>
                  <a:pt x="2773892" y="656669"/>
                </a:cubicBezTo>
                <a:lnTo>
                  <a:pt x="2759634" y="665328"/>
                </a:lnTo>
                <a:lnTo>
                  <a:pt x="2759500" y="664941"/>
                </a:lnTo>
                <a:cubicBezTo>
                  <a:pt x="2736244" y="622988"/>
                  <a:pt x="2700913" y="598584"/>
                  <a:pt x="2651255" y="598584"/>
                </a:cubicBezTo>
                <a:close/>
                <a:moveTo>
                  <a:pt x="1468890" y="591647"/>
                </a:moveTo>
                <a:lnTo>
                  <a:pt x="1420556" y="597683"/>
                </a:lnTo>
                <a:lnTo>
                  <a:pt x="1420556" y="643269"/>
                </a:lnTo>
                <a:lnTo>
                  <a:pt x="1394344" y="643269"/>
                </a:lnTo>
                <a:lnTo>
                  <a:pt x="1394344" y="668742"/>
                </a:lnTo>
                <a:lnTo>
                  <a:pt x="1420556" y="668742"/>
                </a:lnTo>
                <a:lnTo>
                  <a:pt x="1420556" y="754783"/>
                </a:lnTo>
                <a:cubicBezTo>
                  <a:pt x="1420556" y="787791"/>
                  <a:pt x="1434554" y="810877"/>
                  <a:pt x="1472396" y="810877"/>
                </a:cubicBezTo>
                <a:cubicBezTo>
                  <a:pt x="1486334" y="810877"/>
                  <a:pt x="1499838" y="808028"/>
                  <a:pt x="1512168" y="803497"/>
                </a:cubicBezTo>
                <a:lnTo>
                  <a:pt x="1508992" y="778450"/>
                </a:lnTo>
                <a:cubicBezTo>
                  <a:pt x="1501747" y="781056"/>
                  <a:pt x="1494442" y="782382"/>
                  <a:pt x="1487428" y="782382"/>
                </a:cubicBezTo>
                <a:cubicBezTo>
                  <a:pt x="1473595" y="782382"/>
                  <a:pt x="1468890" y="774529"/>
                  <a:pt x="1468890" y="755766"/>
                </a:cubicBezTo>
                <a:lnTo>
                  <a:pt x="1468890" y="668742"/>
                </a:lnTo>
                <a:lnTo>
                  <a:pt x="1510819" y="668742"/>
                </a:lnTo>
                <a:lnTo>
                  <a:pt x="1510819" y="643269"/>
                </a:lnTo>
                <a:lnTo>
                  <a:pt x="1468890" y="643269"/>
                </a:lnTo>
                <a:close/>
                <a:moveTo>
                  <a:pt x="1934250" y="591647"/>
                </a:moveTo>
                <a:lnTo>
                  <a:pt x="1885917" y="597683"/>
                </a:lnTo>
                <a:lnTo>
                  <a:pt x="1885917" y="643268"/>
                </a:lnTo>
                <a:lnTo>
                  <a:pt x="1859702" y="643268"/>
                </a:lnTo>
                <a:lnTo>
                  <a:pt x="1859702" y="668742"/>
                </a:lnTo>
                <a:lnTo>
                  <a:pt x="1885917" y="668742"/>
                </a:lnTo>
                <a:lnTo>
                  <a:pt x="1885917" y="754782"/>
                </a:lnTo>
                <a:cubicBezTo>
                  <a:pt x="1885917" y="787790"/>
                  <a:pt x="1899912" y="810876"/>
                  <a:pt x="1937754" y="810876"/>
                </a:cubicBezTo>
                <a:cubicBezTo>
                  <a:pt x="1951695" y="810876"/>
                  <a:pt x="1965198" y="808027"/>
                  <a:pt x="1977529" y="803496"/>
                </a:cubicBezTo>
                <a:lnTo>
                  <a:pt x="1974352" y="778450"/>
                </a:lnTo>
                <a:cubicBezTo>
                  <a:pt x="1967108" y="781056"/>
                  <a:pt x="1959802" y="782382"/>
                  <a:pt x="1952786" y="782382"/>
                </a:cubicBezTo>
                <a:cubicBezTo>
                  <a:pt x="1938953" y="782382"/>
                  <a:pt x="1934250" y="774528"/>
                  <a:pt x="1934250" y="755765"/>
                </a:cubicBezTo>
                <a:lnTo>
                  <a:pt x="1934250" y="668742"/>
                </a:lnTo>
                <a:lnTo>
                  <a:pt x="1976179" y="668742"/>
                </a:lnTo>
                <a:lnTo>
                  <a:pt x="1976179" y="643268"/>
                </a:lnTo>
                <a:lnTo>
                  <a:pt x="1934250" y="643268"/>
                </a:lnTo>
                <a:close/>
                <a:moveTo>
                  <a:pt x="917574" y="575895"/>
                </a:moveTo>
                <a:lnTo>
                  <a:pt x="917574" y="806850"/>
                </a:lnTo>
                <a:lnTo>
                  <a:pt x="969267" y="806850"/>
                </a:lnTo>
                <a:lnTo>
                  <a:pt x="969267" y="721708"/>
                </a:lnTo>
                <a:lnTo>
                  <a:pt x="980012" y="721708"/>
                </a:lnTo>
                <a:cubicBezTo>
                  <a:pt x="1019284" y="721708"/>
                  <a:pt x="1042444" y="715341"/>
                  <a:pt x="1057883" y="701262"/>
                </a:cubicBezTo>
                <a:cubicBezTo>
                  <a:pt x="1070977" y="689194"/>
                  <a:pt x="1077017" y="671090"/>
                  <a:pt x="1077017" y="646618"/>
                </a:cubicBezTo>
                <a:cubicBezTo>
                  <a:pt x="1077017" y="626172"/>
                  <a:pt x="1071650" y="610755"/>
                  <a:pt x="1061242" y="599695"/>
                </a:cubicBezTo>
                <a:cubicBezTo>
                  <a:pt x="1046135" y="583601"/>
                  <a:pt x="1019952" y="575895"/>
                  <a:pt x="973294" y="575895"/>
                </a:cubicBezTo>
                <a:close/>
                <a:moveTo>
                  <a:pt x="2027494" y="574214"/>
                </a:moveTo>
                <a:cubicBezTo>
                  <a:pt x="2012391" y="574214"/>
                  <a:pt x="2001984" y="584271"/>
                  <a:pt x="2001984" y="598350"/>
                </a:cubicBezTo>
                <a:cubicBezTo>
                  <a:pt x="2001984" y="612428"/>
                  <a:pt x="2012391" y="622485"/>
                  <a:pt x="2027494" y="622485"/>
                </a:cubicBezTo>
                <a:cubicBezTo>
                  <a:pt x="2042596" y="622485"/>
                  <a:pt x="2053005" y="612428"/>
                  <a:pt x="2053005" y="598350"/>
                </a:cubicBezTo>
                <a:cubicBezTo>
                  <a:pt x="2053005" y="584271"/>
                  <a:pt x="2042596" y="574214"/>
                  <a:pt x="2027494" y="574214"/>
                </a:cubicBezTo>
                <a:close/>
                <a:moveTo>
                  <a:pt x="2857084" y="516940"/>
                </a:moveTo>
                <a:cubicBezTo>
                  <a:pt x="2873881" y="516940"/>
                  <a:pt x="2885433" y="531034"/>
                  <a:pt x="2885433" y="559788"/>
                </a:cubicBezTo>
                <a:cubicBezTo>
                  <a:pt x="2885433" y="588541"/>
                  <a:pt x="2873881" y="602636"/>
                  <a:pt x="2857084" y="602636"/>
                </a:cubicBezTo>
                <a:cubicBezTo>
                  <a:pt x="2840283" y="602636"/>
                  <a:pt x="2828731" y="588541"/>
                  <a:pt x="2828731" y="559788"/>
                </a:cubicBezTo>
                <a:cubicBezTo>
                  <a:pt x="2828731" y="531034"/>
                  <a:pt x="2840283" y="516940"/>
                  <a:pt x="2857084" y="516940"/>
                </a:cubicBezTo>
                <a:close/>
                <a:moveTo>
                  <a:pt x="2857084" y="497614"/>
                </a:moveTo>
                <a:cubicBezTo>
                  <a:pt x="2821807" y="497614"/>
                  <a:pt x="2796035" y="523895"/>
                  <a:pt x="2796035" y="559788"/>
                </a:cubicBezTo>
                <a:cubicBezTo>
                  <a:pt x="2796035" y="595681"/>
                  <a:pt x="2821807" y="621962"/>
                  <a:pt x="2857084" y="621962"/>
                </a:cubicBezTo>
                <a:cubicBezTo>
                  <a:pt x="2892358" y="621962"/>
                  <a:pt x="2918132" y="595681"/>
                  <a:pt x="2918132" y="559788"/>
                </a:cubicBezTo>
                <a:cubicBezTo>
                  <a:pt x="2918132" y="523895"/>
                  <a:pt x="2892358" y="497614"/>
                  <a:pt x="2857084" y="497614"/>
                </a:cubicBezTo>
                <a:close/>
                <a:moveTo>
                  <a:pt x="2651255" y="476526"/>
                </a:moveTo>
                <a:cubicBezTo>
                  <a:pt x="2668052" y="476526"/>
                  <a:pt x="2679604" y="490620"/>
                  <a:pt x="2679604" y="519374"/>
                </a:cubicBezTo>
                <a:cubicBezTo>
                  <a:pt x="2679604" y="548127"/>
                  <a:pt x="2668052" y="562222"/>
                  <a:pt x="2651255" y="562222"/>
                </a:cubicBezTo>
                <a:cubicBezTo>
                  <a:pt x="2634457" y="562222"/>
                  <a:pt x="2622902" y="548127"/>
                  <a:pt x="2622902" y="519374"/>
                </a:cubicBezTo>
                <a:cubicBezTo>
                  <a:pt x="2622902" y="490620"/>
                  <a:pt x="2634457" y="476526"/>
                  <a:pt x="2651255" y="476526"/>
                </a:cubicBezTo>
                <a:close/>
                <a:moveTo>
                  <a:pt x="2651255" y="457200"/>
                </a:moveTo>
                <a:cubicBezTo>
                  <a:pt x="2615980" y="457200"/>
                  <a:pt x="2590205" y="483481"/>
                  <a:pt x="2590205" y="519374"/>
                </a:cubicBezTo>
                <a:cubicBezTo>
                  <a:pt x="2590205" y="555267"/>
                  <a:pt x="2615980" y="581548"/>
                  <a:pt x="2651255" y="581548"/>
                </a:cubicBezTo>
                <a:cubicBezTo>
                  <a:pt x="2686529" y="581548"/>
                  <a:pt x="2712304" y="555267"/>
                  <a:pt x="2712304" y="519374"/>
                </a:cubicBezTo>
                <a:cubicBezTo>
                  <a:pt x="2712304" y="483481"/>
                  <a:pt x="2686529" y="457200"/>
                  <a:pt x="2651255" y="457200"/>
                </a:cubicBezTo>
                <a:close/>
                <a:moveTo>
                  <a:pt x="0" y="0"/>
                </a:moveTo>
                <a:lnTo>
                  <a:pt x="12188949" y="0"/>
                </a:lnTo>
                <a:lnTo>
                  <a:pt x="12188949" y="6857999"/>
                </a:lnTo>
                <a:lnTo>
                  <a:pt x="8185437" y="6857999"/>
                </a:lnTo>
                <a:lnTo>
                  <a:pt x="8667864" y="6703983"/>
                </a:lnTo>
                <a:cubicBezTo>
                  <a:pt x="9832097" y="6313371"/>
                  <a:pt x="10986147" y="5793430"/>
                  <a:pt x="12099563" y="5152052"/>
                </a:cubicBezTo>
                <a:cubicBezTo>
                  <a:pt x="12128384" y="5135457"/>
                  <a:pt x="12157206" y="5118608"/>
                  <a:pt x="12185901" y="5101378"/>
                </a:cubicBezTo>
                <a:lnTo>
                  <a:pt x="12185901" y="1169823"/>
                </a:lnTo>
                <a:cubicBezTo>
                  <a:pt x="11636026" y="1589447"/>
                  <a:pt x="11059343" y="1972890"/>
                  <a:pt x="10459514" y="2317719"/>
                </a:cubicBezTo>
                <a:lnTo>
                  <a:pt x="10459513" y="2317719"/>
                </a:lnTo>
                <a:cubicBezTo>
                  <a:pt x="9212686" y="3036026"/>
                  <a:pt x="7912911" y="3569371"/>
                  <a:pt x="6596378" y="3903060"/>
                </a:cubicBezTo>
                <a:cubicBezTo>
                  <a:pt x="5350440" y="4218887"/>
                  <a:pt x="4147798" y="4342279"/>
                  <a:pt x="3021844" y="4269815"/>
                </a:cubicBezTo>
                <a:cubicBezTo>
                  <a:pt x="1954420" y="4201025"/>
                  <a:pt x="1019172" y="3960702"/>
                  <a:pt x="242001" y="3555182"/>
                </a:cubicBezTo>
                <a:cubicBezTo>
                  <a:pt x="159048" y="3512024"/>
                  <a:pt x="78635" y="3467009"/>
                  <a:pt x="761" y="3420135"/>
                </a:cubicBezTo>
                <a:lnTo>
                  <a:pt x="761" y="6857999"/>
                </a:lnTo>
                <a:lnTo>
                  <a:pt x="0" y="6857999"/>
                </a:lnTo>
                <a:close/>
              </a:path>
            </a:pathLst>
          </a:custGeom>
          <a:solidFill>
            <a:schemeClr val="bg1">
              <a:lumMod val="95000"/>
            </a:schemeClr>
          </a:solidFill>
        </p:spPr>
        <p:txBody>
          <a:bodyPr wrap="square">
            <a:noAutofit/>
          </a:bodyPr>
          <a:lstStyle>
            <a:lvl1pPr>
              <a:defRPr sz="1400">
                <a:solidFill>
                  <a:schemeClr val="accent5"/>
                </a:solidFill>
              </a:defRPr>
            </a:lvl1pPr>
          </a:lstStyle>
          <a:p>
            <a:r>
              <a:rPr lang="en-US" dirty="0"/>
              <a:t>Click on icon to insert picture. Reset slide to make sure the logo appears and image is behind text.</a:t>
            </a:r>
          </a:p>
        </p:txBody>
      </p:sp>
      <p:sp>
        <p:nvSpPr>
          <p:cNvPr id="35" name="Graphic 33">
            <a:extLst>
              <a:ext uri="{FF2B5EF4-FFF2-40B4-BE49-F238E27FC236}">
                <a16:creationId xmlns:a16="http://schemas.microsoft.com/office/drawing/2014/main" id="{977D6BF7-E3AE-0541-A048-4AF4E0FC4465}"/>
              </a:ext>
            </a:extLst>
          </p:cNvPr>
          <p:cNvSpPr/>
          <p:nvPr/>
        </p:nvSpPr>
        <p:spPr>
          <a:xfrm>
            <a:off x="761" y="1169822"/>
            <a:ext cx="12185143" cy="5693625"/>
          </a:xfrm>
          <a:custGeom>
            <a:avLst/>
            <a:gdLst>
              <a:gd name="connsiteX0" fmla="*/ 10458755 w 12185143"/>
              <a:gd name="connsiteY0" fmla="*/ 1147897 h 5693625"/>
              <a:gd name="connsiteX1" fmla="*/ 6595620 w 12185143"/>
              <a:gd name="connsiteY1" fmla="*/ 2733239 h 5693625"/>
              <a:gd name="connsiteX2" fmla="*/ 3021083 w 12185143"/>
              <a:gd name="connsiteY2" fmla="*/ 3099994 h 5693625"/>
              <a:gd name="connsiteX3" fmla="*/ 241240 w 12185143"/>
              <a:gd name="connsiteY3" fmla="*/ 2385361 h 5693625"/>
              <a:gd name="connsiteX4" fmla="*/ 0 w 12185143"/>
              <a:gd name="connsiteY4" fmla="*/ 2250314 h 5693625"/>
              <a:gd name="connsiteX5" fmla="*/ 0 w 12185143"/>
              <a:gd name="connsiteY5" fmla="*/ 5693626 h 5693625"/>
              <a:gd name="connsiteX6" fmla="*/ 8167614 w 12185143"/>
              <a:gd name="connsiteY6" fmla="*/ 5693626 h 5693625"/>
              <a:gd name="connsiteX7" fmla="*/ 12098805 w 12185143"/>
              <a:gd name="connsiteY7" fmla="*/ 3982231 h 5693625"/>
              <a:gd name="connsiteX8" fmla="*/ 12185143 w 12185143"/>
              <a:gd name="connsiteY8" fmla="*/ 3931557 h 5693625"/>
              <a:gd name="connsiteX9" fmla="*/ 12185143 w 12185143"/>
              <a:gd name="connsiteY9" fmla="*/ 0 h 5693625"/>
              <a:gd name="connsiteX10" fmla="*/ 10458756 w 12185143"/>
              <a:gd name="connsiteY10" fmla="*/ 1147897 h 5693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85143" h="5693625">
                <a:moveTo>
                  <a:pt x="10458755" y="1147897"/>
                </a:moveTo>
                <a:cubicBezTo>
                  <a:pt x="9211928" y="1866204"/>
                  <a:pt x="7912153" y="2399550"/>
                  <a:pt x="6595620" y="2733239"/>
                </a:cubicBezTo>
                <a:cubicBezTo>
                  <a:pt x="5349680" y="3049066"/>
                  <a:pt x="4147037" y="3172458"/>
                  <a:pt x="3021083" y="3099994"/>
                </a:cubicBezTo>
                <a:cubicBezTo>
                  <a:pt x="1953660" y="3031204"/>
                  <a:pt x="1018412" y="2790881"/>
                  <a:pt x="241240" y="2385361"/>
                </a:cubicBezTo>
                <a:cubicBezTo>
                  <a:pt x="158287" y="2342203"/>
                  <a:pt x="77874" y="2297188"/>
                  <a:pt x="0" y="2250314"/>
                </a:cubicBezTo>
                <a:lnTo>
                  <a:pt x="0" y="5693626"/>
                </a:lnTo>
                <a:lnTo>
                  <a:pt x="8167614" y="5693626"/>
                </a:lnTo>
                <a:cubicBezTo>
                  <a:pt x="9500781" y="5289626"/>
                  <a:pt x="10826329" y="4715234"/>
                  <a:pt x="12098805" y="3982231"/>
                </a:cubicBezTo>
                <a:cubicBezTo>
                  <a:pt x="12127626" y="3965636"/>
                  <a:pt x="12156448" y="3948787"/>
                  <a:pt x="12185143" y="3931557"/>
                </a:cubicBezTo>
                <a:lnTo>
                  <a:pt x="12185143" y="0"/>
                </a:lnTo>
                <a:cubicBezTo>
                  <a:pt x="11635268" y="419624"/>
                  <a:pt x="11058585" y="803067"/>
                  <a:pt x="10458756" y="1147897"/>
                </a:cubicBezTo>
                <a:close/>
              </a:path>
            </a:pathLst>
          </a:custGeom>
          <a:gradFill>
            <a:gsLst>
              <a:gs pos="0">
                <a:schemeClr val="tx2"/>
              </a:gs>
              <a:gs pos="100000">
                <a:schemeClr val="accent3"/>
              </a:gs>
            </a:gsLst>
            <a:lin ang="0" scaled="1"/>
          </a:gradFill>
          <a:ln w="12690" cap="flat">
            <a:noFill/>
            <a:prstDash val="solid"/>
            <a:miter/>
          </a:ln>
        </p:spPr>
        <p:txBody>
          <a:bodyPr rtlCol="0" anchor="ctr"/>
          <a:lstStyle/>
          <a:p>
            <a:endParaRPr lang="en-US" dirty="0"/>
          </a:p>
        </p:txBody>
      </p:sp>
      <p:graphicFrame>
        <p:nvGraphicFramePr>
          <p:cNvPr id="8" name="Object 7" hidden="1">
            <a:extLst>
              <a:ext uri="{FF2B5EF4-FFF2-40B4-BE49-F238E27FC236}">
                <a16:creationId xmlns:a16="http://schemas.microsoft.com/office/drawing/2014/main" id="{96E5EC05-B70E-0449-BE8C-62E577850024}"/>
              </a:ext>
            </a:extLst>
          </p:cNvPr>
          <p:cNvGraphicFramePr>
            <a:graphicFrameLocks noChangeAspect="1"/>
          </p:cNvGraphicFramePr>
          <p:nvPr>
            <p:custDataLst>
              <p:tags r:id="rId2"/>
            </p:custDataLst>
            <p:extLst>
              <p:ext uri="{D42A27DB-BD31-4B8C-83A1-F6EECF244321}">
                <p14:modId xmlns:p14="http://schemas.microsoft.com/office/powerpoint/2010/main" val="32065824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5561"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96E5EC05-B70E-0449-BE8C-62E57785002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Text Placeholder 3">
            <a:extLst>
              <a:ext uri="{FF2B5EF4-FFF2-40B4-BE49-F238E27FC236}">
                <a16:creationId xmlns:a16="http://schemas.microsoft.com/office/drawing/2014/main" id="{5740C42A-E075-6949-900C-E63BE9FB862C}"/>
              </a:ext>
            </a:extLst>
          </p:cNvPr>
          <p:cNvSpPr>
            <a:spLocks noGrp="1"/>
          </p:cNvSpPr>
          <p:nvPr>
            <p:ph type="body" sz="half" idx="2" hasCustomPrompt="1"/>
          </p:nvPr>
        </p:nvSpPr>
        <p:spPr>
          <a:xfrm>
            <a:off x="914399" y="6169025"/>
            <a:ext cx="3706285" cy="462819"/>
          </a:xfrm>
        </p:spPr>
        <p:txBody>
          <a:bodyPr anchor="b"/>
          <a:lstStyle>
            <a:lvl1pPr marL="0" indent="0">
              <a:buNone/>
              <a:defRPr sz="1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date</a:t>
            </a:r>
          </a:p>
        </p:txBody>
      </p:sp>
      <p:sp>
        <p:nvSpPr>
          <p:cNvPr id="9" name="TextBox 8">
            <a:extLst>
              <a:ext uri="{FF2B5EF4-FFF2-40B4-BE49-F238E27FC236}">
                <a16:creationId xmlns:a16="http://schemas.microsoft.com/office/drawing/2014/main" id="{733C8FB4-9A4D-AF4D-A6E6-B12D36795417}"/>
              </a:ext>
            </a:extLst>
          </p:cNvPr>
          <p:cNvSpPr txBox="1"/>
          <p:nvPr/>
        </p:nvSpPr>
        <p:spPr>
          <a:xfrm>
            <a:off x="9282514" y="6368176"/>
            <a:ext cx="2223686" cy="246221"/>
          </a:xfrm>
          <a:prstGeom prst="rect">
            <a:avLst/>
          </a:prstGeom>
          <a:noFill/>
        </p:spPr>
        <p:txBody>
          <a:bodyPr wrap="none" lIns="0" tIns="0" rIns="0" bIns="0" rtlCol="0" anchor="b">
            <a:noAutofit/>
          </a:bodyPr>
          <a:lstStyle/>
          <a:p>
            <a:pPr algn="r"/>
            <a:r>
              <a:rPr lang="en-US" sz="1000" dirty="0">
                <a:solidFill>
                  <a:schemeClr val="bg1"/>
                </a:solidFill>
              </a:rPr>
              <a:t>Confidential—do not copy or distribute</a:t>
            </a:r>
          </a:p>
        </p:txBody>
      </p:sp>
      <p:sp>
        <p:nvSpPr>
          <p:cNvPr id="3" name="Subtitle 2"/>
          <p:cNvSpPr>
            <a:spLocks noGrp="1"/>
          </p:cNvSpPr>
          <p:nvPr>
            <p:ph type="subTitle" idx="1" hasCustomPrompt="1"/>
          </p:nvPr>
        </p:nvSpPr>
        <p:spPr>
          <a:xfrm>
            <a:off x="914400" y="5088795"/>
            <a:ext cx="9448800" cy="599383"/>
          </a:xfrm>
        </p:spPr>
        <p:txBody>
          <a:bodyPr/>
          <a:lstStyle>
            <a:lvl1pPr marL="0" indent="0" algn="l">
              <a:buNone/>
              <a:defRPr sz="32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presenter or subtitle</a:t>
            </a:r>
          </a:p>
        </p:txBody>
      </p:sp>
      <p:sp>
        <p:nvSpPr>
          <p:cNvPr id="2" name="Title 1"/>
          <p:cNvSpPr>
            <a:spLocks noGrp="1"/>
          </p:cNvSpPr>
          <p:nvPr>
            <p:ph type="ctrTitle"/>
          </p:nvPr>
        </p:nvSpPr>
        <p:spPr>
          <a:xfrm>
            <a:off x="914400" y="4343400"/>
            <a:ext cx="10363200" cy="806939"/>
          </a:xfrm>
        </p:spPr>
        <p:txBody>
          <a:bodyPr vert="horz" anchor="b"/>
          <a:lstStyle>
            <a:lvl1pPr>
              <a:defRPr sz="4800">
                <a:solidFill>
                  <a:schemeClr val="bg1"/>
                </a:solidFill>
              </a:defRPr>
            </a:lvl1pPr>
          </a:lstStyle>
          <a:p>
            <a:r>
              <a:rPr lang="en-US"/>
              <a:t>Click to edit Master title style</a:t>
            </a:r>
          </a:p>
        </p:txBody>
      </p:sp>
    </p:spTree>
    <p:extLst>
      <p:ext uri="{BB962C8B-B14F-4D97-AF65-F5344CB8AC3E}">
        <p14:creationId xmlns:p14="http://schemas.microsoft.com/office/powerpoint/2010/main" val="240808370"/>
      </p:ext>
    </p:extLst>
  </p:cSld>
  <p:clrMapOvr>
    <a:masterClrMapping/>
  </p:clrMapOvr>
  <p:extLst>
    <p:ext uri="{DCECCB84-F9BA-43D5-87BE-67443E8EF086}">
      <p15:sldGuideLst xmlns:p15="http://schemas.microsoft.com/office/powerpoint/2012/main">
        <p15:guide id="1" pos="576">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207DFA4-66A8-6F4D-823B-7E0486FE1359}"/>
              </a:ext>
            </a:extLst>
          </p:cNvPr>
          <p:cNvGraphicFramePr>
            <a:graphicFrameLocks noChangeAspect="1"/>
          </p:cNvGraphicFramePr>
          <p:nvPr>
            <p:custDataLst>
              <p:tags r:id="rId2"/>
            </p:custDataLst>
            <p:extLst>
              <p:ext uri="{D42A27DB-BD31-4B8C-83A1-F6EECF244321}">
                <p14:modId xmlns:p14="http://schemas.microsoft.com/office/powerpoint/2010/main" val="33528988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6585"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2207DFA4-66A8-6F4D-823B-7E0486FE135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6110F7E6-419E-7D4C-873C-F6B2B59B7D7D}"/>
              </a:ext>
            </a:extLst>
          </p:cNvPr>
          <p:cNvSpPr>
            <a:spLocks noGrp="1"/>
          </p:cNvSpPr>
          <p:nvPr>
            <p:ph type="body" sz="quarter" idx="10" hasCustomPrompt="1"/>
          </p:nvPr>
        </p:nvSpPr>
        <p:spPr>
          <a:xfrm>
            <a:off x="685800" y="5830756"/>
            <a:ext cx="10820400" cy="344619"/>
          </a:xfrm>
        </p:spPr>
        <p:txBody>
          <a:bodyPr anchor="b"/>
          <a:lstStyle>
            <a:lvl1pPr>
              <a:defRPr sz="800"/>
            </a:lvl1pPr>
            <a:lvl2pPr marL="0" indent="0">
              <a:buNone/>
              <a:defRPr/>
            </a:lvl2pPr>
          </a:lstStyle>
          <a:p>
            <a:pPr lvl="0"/>
            <a:r>
              <a:rPr lang="en-US"/>
              <a:t>Click to add footnote</a:t>
            </a:r>
          </a:p>
        </p:txBody>
      </p:sp>
    </p:spTree>
    <p:extLst>
      <p:ext uri="{BB962C8B-B14F-4D97-AF65-F5344CB8AC3E}">
        <p14:creationId xmlns:p14="http://schemas.microsoft.com/office/powerpoint/2010/main" val="83573633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219E1F1-2441-0547-8275-12DA6BCE99A5}"/>
              </a:ext>
            </a:extLst>
          </p:cNvPr>
          <p:cNvGraphicFramePr>
            <a:graphicFrameLocks noChangeAspect="1"/>
          </p:cNvGraphicFramePr>
          <p:nvPr>
            <p:custDataLst>
              <p:tags r:id="rId2"/>
            </p:custDataLst>
            <p:extLst>
              <p:ext uri="{D42A27DB-BD31-4B8C-83A1-F6EECF244321}">
                <p14:modId xmlns:p14="http://schemas.microsoft.com/office/powerpoint/2010/main" val="35117705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7609"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2219E1F1-2441-0547-8275-12DA6BCE99A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hasCustomPrompt="1"/>
          </p:nvPr>
        </p:nvSpPr>
        <p:spPr>
          <a:xfrm>
            <a:off x="685800" y="2940581"/>
            <a:ext cx="10820400" cy="1362075"/>
          </a:xfrm>
        </p:spPr>
        <p:txBody>
          <a:bodyPr vert="horz" anchor="t"/>
          <a:lstStyle>
            <a:lvl1pPr algn="l">
              <a:defRPr sz="4800" b="1" cap="none">
                <a:solidFill>
                  <a:schemeClr val="tx2"/>
                </a:solidFill>
              </a:defRPr>
            </a:lvl1pPr>
          </a:lstStyle>
          <a:p>
            <a:r>
              <a:rPr lang="en-US"/>
              <a:t>Click to add chapter title</a:t>
            </a:r>
          </a:p>
        </p:txBody>
      </p:sp>
      <p:sp>
        <p:nvSpPr>
          <p:cNvPr id="3" name="Text Placeholder 2"/>
          <p:cNvSpPr>
            <a:spLocks noGrp="1"/>
          </p:cNvSpPr>
          <p:nvPr>
            <p:ph type="body" idx="1" hasCustomPrompt="1"/>
          </p:nvPr>
        </p:nvSpPr>
        <p:spPr>
          <a:xfrm>
            <a:off x="685800" y="372531"/>
            <a:ext cx="1921933" cy="1362074"/>
          </a:xfrm>
        </p:spPr>
        <p:txBody>
          <a:bodyPr anchor="t"/>
          <a:lstStyle>
            <a:lvl1pPr marL="0" indent="0">
              <a:lnSpc>
                <a:spcPts val="9600"/>
              </a:lnSpc>
              <a:buNone/>
              <a:defRPr sz="96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a:t>
            </a:r>
          </a:p>
        </p:txBody>
      </p:sp>
    </p:spTree>
    <p:extLst>
      <p:ext uri="{BB962C8B-B14F-4D97-AF65-F5344CB8AC3E}">
        <p14:creationId xmlns:p14="http://schemas.microsoft.com/office/powerpoint/2010/main" val="340321302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secHead" preserve="1">
  <p:cSld name="Section Header 2">
    <p:bg>
      <p:bgPr>
        <a:solidFill>
          <a:srgbClr val="9AE6FF"/>
        </a:solidFill>
        <a:effectLst/>
      </p:bgPr>
    </p:bg>
    <p:spTree>
      <p:nvGrpSpPr>
        <p:cNvPr id="1" name=""/>
        <p:cNvGrpSpPr/>
        <p:nvPr/>
      </p:nvGrpSpPr>
      <p:grpSpPr>
        <a:xfrm>
          <a:off x="0" y="0"/>
          <a:ext cx="0" cy="0"/>
          <a:chOff x="0" y="0"/>
          <a:chExt cx="0" cy="0"/>
        </a:xfrm>
      </p:grpSpPr>
      <p:sp>
        <p:nvSpPr>
          <p:cNvPr id="10" name="Graphic 8">
            <a:extLst>
              <a:ext uri="{FF2B5EF4-FFF2-40B4-BE49-F238E27FC236}">
                <a16:creationId xmlns:a16="http://schemas.microsoft.com/office/drawing/2014/main" id="{3C511D3F-2071-ED45-989E-68FC6B425F31}"/>
              </a:ext>
            </a:extLst>
          </p:cNvPr>
          <p:cNvSpPr/>
          <p:nvPr/>
        </p:nvSpPr>
        <p:spPr>
          <a:xfrm>
            <a:off x="0" y="0"/>
            <a:ext cx="11492539" cy="6858127"/>
          </a:xfrm>
          <a:custGeom>
            <a:avLst/>
            <a:gdLst>
              <a:gd name="connsiteX0" fmla="*/ 11487961 w 11492539"/>
              <a:gd name="connsiteY0" fmla="*/ 3235325 h 6858127"/>
              <a:gd name="connsiteX1" fmla="*/ 10893784 w 11492539"/>
              <a:gd name="connsiteY1" fmla="*/ 719201 h 6858127"/>
              <a:gd name="connsiteX2" fmla="*/ 10376767 w 11492539"/>
              <a:gd name="connsiteY2" fmla="*/ 0 h 6858127"/>
              <a:gd name="connsiteX3" fmla="*/ 0 w 11492539"/>
              <a:gd name="connsiteY3" fmla="*/ 0 h 6858127"/>
              <a:gd name="connsiteX4" fmla="*/ 0 w 11492539"/>
              <a:gd name="connsiteY4" fmla="*/ 2732786 h 6858127"/>
              <a:gd name="connsiteX5" fmla="*/ 1632780 w 11492539"/>
              <a:gd name="connsiteY5" fmla="*/ 1555623 h 6858127"/>
              <a:gd name="connsiteX6" fmla="*/ 4061898 w 11492539"/>
              <a:gd name="connsiteY6" fmla="*/ 555752 h 6858127"/>
              <a:gd name="connsiteX7" fmla="*/ 5911307 w 11492539"/>
              <a:gd name="connsiteY7" fmla="*/ 311785 h 6858127"/>
              <a:gd name="connsiteX8" fmla="*/ 6309667 w 11492539"/>
              <a:gd name="connsiteY8" fmla="*/ 324485 h 6858127"/>
              <a:gd name="connsiteX9" fmla="*/ 9107575 w 11492539"/>
              <a:gd name="connsiteY9" fmla="*/ 1751203 h 6858127"/>
              <a:gd name="connsiteX10" fmla="*/ 9107575 w 11492539"/>
              <a:gd name="connsiteY10" fmla="*/ 1751203 h 6858127"/>
              <a:gd name="connsiteX11" fmla="*/ 8943231 w 11492539"/>
              <a:gd name="connsiteY11" fmla="*/ 4889500 h 6858127"/>
              <a:gd name="connsiteX12" fmla="*/ 7619215 w 11492539"/>
              <a:gd name="connsiteY12" fmla="*/ 6721983 h 6858127"/>
              <a:gd name="connsiteX13" fmla="*/ 7483425 w 11492539"/>
              <a:gd name="connsiteY13" fmla="*/ 6858127 h 6858127"/>
              <a:gd name="connsiteX14" fmla="*/ 10171814 w 11492539"/>
              <a:gd name="connsiteY14" fmla="*/ 6858127 h 6858127"/>
              <a:gd name="connsiteX15" fmla="*/ 10792133 w 11492539"/>
              <a:gd name="connsiteY15" fmla="*/ 5804027 h 6858127"/>
              <a:gd name="connsiteX16" fmla="*/ 11487961 w 11492539"/>
              <a:gd name="connsiteY16" fmla="*/ 3235325 h 6858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92539" h="6858127">
                <a:moveTo>
                  <a:pt x="11487961" y="3235325"/>
                </a:moveTo>
                <a:cubicBezTo>
                  <a:pt x="11526033" y="2315718"/>
                  <a:pt x="11326536" y="1469136"/>
                  <a:pt x="10893784" y="719201"/>
                </a:cubicBezTo>
                <a:cubicBezTo>
                  <a:pt x="10746055" y="462676"/>
                  <a:pt x="10572839" y="221722"/>
                  <a:pt x="10376767" y="0"/>
                </a:cubicBezTo>
                <a:lnTo>
                  <a:pt x="0" y="0"/>
                </a:lnTo>
                <a:lnTo>
                  <a:pt x="0" y="2732786"/>
                </a:lnTo>
                <a:cubicBezTo>
                  <a:pt x="502430" y="2285339"/>
                  <a:pt x="1049577" y="1890870"/>
                  <a:pt x="1632780" y="1555623"/>
                </a:cubicBezTo>
                <a:cubicBezTo>
                  <a:pt x="2416808" y="1102614"/>
                  <a:pt x="3234086" y="766191"/>
                  <a:pt x="4061898" y="555752"/>
                </a:cubicBezTo>
                <a:cubicBezTo>
                  <a:pt x="4700238" y="393700"/>
                  <a:pt x="5320430" y="311785"/>
                  <a:pt x="5911307" y="311785"/>
                </a:cubicBezTo>
                <a:cubicBezTo>
                  <a:pt x="6045574" y="311785"/>
                  <a:pt x="6178361" y="316018"/>
                  <a:pt x="6309667" y="324485"/>
                </a:cubicBezTo>
                <a:cubicBezTo>
                  <a:pt x="7632413" y="409829"/>
                  <a:pt x="8626091" y="916559"/>
                  <a:pt x="9107575" y="1751203"/>
                </a:cubicBezTo>
                <a:lnTo>
                  <a:pt x="9107575" y="1751203"/>
                </a:lnTo>
                <a:cubicBezTo>
                  <a:pt x="9589058" y="2585847"/>
                  <a:pt x="9530682" y="3700272"/>
                  <a:pt x="8943231" y="4889500"/>
                </a:cubicBezTo>
                <a:cubicBezTo>
                  <a:pt x="8628757" y="5526024"/>
                  <a:pt x="8183315" y="6142482"/>
                  <a:pt x="7619215" y="6721983"/>
                </a:cubicBezTo>
                <a:cubicBezTo>
                  <a:pt x="7574544" y="6767831"/>
                  <a:pt x="7529238" y="6813043"/>
                  <a:pt x="7483425" y="6858127"/>
                </a:cubicBezTo>
                <a:lnTo>
                  <a:pt x="10171814" y="6858127"/>
                </a:lnTo>
                <a:cubicBezTo>
                  <a:pt x="10403421" y="6522001"/>
                  <a:pt x="10610723" y="6169737"/>
                  <a:pt x="10792133" y="5804027"/>
                </a:cubicBezTo>
                <a:cubicBezTo>
                  <a:pt x="11218539" y="4940300"/>
                  <a:pt x="11452935" y="4076700"/>
                  <a:pt x="11487961" y="3235325"/>
                </a:cubicBezTo>
                <a:close/>
              </a:path>
            </a:pathLst>
          </a:custGeom>
          <a:gradFill flip="none" rotWithShape="1">
            <a:gsLst>
              <a:gs pos="0">
                <a:schemeClr val="accent2">
                  <a:alpha val="20000"/>
                </a:schemeClr>
              </a:gs>
              <a:gs pos="100000">
                <a:schemeClr val="accent2"/>
              </a:gs>
            </a:gsLst>
            <a:lin ang="0" scaled="1"/>
            <a:tileRect/>
          </a:gradFill>
          <a:ln w="12689" cap="flat">
            <a:noFill/>
            <a:prstDash val="solid"/>
            <a:miter/>
          </a:ln>
        </p:spPr>
        <p:txBody>
          <a:bodyPr rtlCol="0" anchor="ctr"/>
          <a:lstStyle/>
          <a:p>
            <a:endParaRPr lang="en-US" dirty="0"/>
          </a:p>
        </p:txBody>
      </p:sp>
      <p:graphicFrame>
        <p:nvGraphicFramePr>
          <p:cNvPr id="8" name="Object 7" hidden="1">
            <a:extLst>
              <a:ext uri="{FF2B5EF4-FFF2-40B4-BE49-F238E27FC236}">
                <a16:creationId xmlns:a16="http://schemas.microsoft.com/office/drawing/2014/main" id="{2219E1F1-2441-0547-8275-12DA6BCE99A5}"/>
              </a:ext>
            </a:extLst>
          </p:cNvPr>
          <p:cNvGraphicFramePr>
            <a:graphicFrameLocks noChangeAspect="1"/>
          </p:cNvGraphicFramePr>
          <p:nvPr>
            <p:custDataLst>
              <p:tags r:id="rId2"/>
            </p:custDataLst>
            <p:extLst>
              <p:ext uri="{D42A27DB-BD31-4B8C-83A1-F6EECF244321}">
                <p14:modId xmlns:p14="http://schemas.microsoft.com/office/powerpoint/2010/main" val="33216381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8633"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2219E1F1-2441-0547-8275-12DA6BCE99A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hasCustomPrompt="1"/>
          </p:nvPr>
        </p:nvSpPr>
        <p:spPr>
          <a:xfrm>
            <a:off x="685800" y="2940581"/>
            <a:ext cx="10820400" cy="1362075"/>
          </a:xfrm>
        </p:spPr>
        <p:txBody>
          <a:bodyPr vert="horz" anchor="t"/>
          <a:lstStyle>
            <a:lvl1pPr algn="l">
              <a:defRPr sz="4800" b="1" cap="none">
                <a:solidFill>
                  <a:schemeClr val="tx2"/>
                </a:solidFill>
              </a:defRPr>
            </a:lvl1pPr>
          </a:lstStyle>
          <a:p>
            <a:r>
              <a:rPr lang="en-US"/>
              <a:t>Click to add chapter title</a:t>
            </a:r>
          </a:p>
        </p:txBody>
      </p:sp>
      <p:sp>
        <p:nvSpPr>
          <p:cNvPr id="3" name="Text Placeholder 2"/>
          <p:cNvSpPr>
            <a:spLocks noGrp="1"/>
          </p:cNvSpPr>
          <p:nvPr>
            <p:ph type="body" idx="1" hasCustomPrompt="1"/>
          </p:nvPr>
        </p:nvSpPr>
        <p:spPr>
          <a:xfrm>
            <a:off x="685800" y="372530"/>
            <a:ext cx="1921933" cy="1362075"/>
          </a:xfrm>
        </p:spPr>
        <p:txBody>
          <a:bodyPr anchor="t"/>
          <a:lstStyle>
            <a:lvl1pPr marL="0" indent="0">
              <a:lnSpc>
                <a:spcPts val="9600"/>
              </a:lnSpc>
              <a:buNone/>
              <a:defRPr sz="96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a:t>
            </a:r>
          </a:p>
        </p:txBody>
      </p:sp>
      <p:pic>
        <p:nvPicPr>
          <p:cNvPr id="11" name="Graphic 10">
            <a:extLst>
              <a:ext uri="{FF2B5EF4-FFF2-40B4-BE49-F238E27FC236}">
                <a16:creationId xmlns:a16="http://schemas.microsoft.com/office/drawing/2014/main" id="{B607C2F5-FD74-744A-B328-1C68348DE69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85800" y="6345528"/>
            <a:ext cx="1377950" cy="294075"/>
          </a:xfrm>
          <a:prstGeom prst="rect">
            <a:avLst/>
          </a:prstGeom>
        </p:spPr>
      </p:pic>
      <p:sp>
        <p:nvSpPr>
          <p:cNvPr id="12" name="TextBox 11">
            <a:extLst>
              <a:ext uri="{FF2B5EF4-FFF2-40B4-BE49-F238E27FC236}">
                <a16:creationId xmlns:a16="http://schemas.microsoft.com/office/drawing/2014/main" id="{905F9B49-F9DD-9445-B754-3E4743DAACF1}"/>
              </a:ext>
            </a:extLst>
          </p:cNvPr>
          <p:cNvSpPr txBox="1"/>
          <p:nvPr/>
        </p:nvSpPr>
        <p:spPr>
          <a:xfrm>
            <a:off x="8601075" y="6368176"/>
            <a:ext cx="2223686" cy="246221"/>
          </a:xfrm>
          <a:prstGeom prst="rect">
            <a:avLst/>
          </a:prstGeom>
          <a:noFill/>
        </p:spPr>
        <p:txBody>
          <a:bodyPr wrap="none" lIns="0" tIns="0" rIns="0" bIns="0" rtlCol="0" anchor="b">
            <a:noAutofit/>
          </a:bodyPr>
          <a:lstStyle/>
          <a:p>
            <a:pPr algn="r"/>
            <a:r>
              <a:rPr lang="en-US" sz="1000" dirty="0">
                <a:solidFill>
                  <a:schemeClr val="tx1"/>
                </a:solidFill>
              </a:rPr>
              <a:t>Confidential—do not copy or distribute</a:t>
            </a:r>
          </a:p>
        </p:txBody>
      </p:sp>
      <p:sp>
        <p:nvSpPr>
          <p:cNvPr id="13" name="TextBox 12">
            <a:extLst>
              <a:ext uri="{FF2B5EF4-FFF2-40B4-BE49-F238E27FC236}">
                <a16:creationId xmlns:a16="http://schemas.microsoft.com/office/drawing/2014/main" id="{7E679624-3C66-4444-B406-9C3376A5AE36}"/>
              </a:ext>
            </a:extLst>
          </p:cNvPr>
          <p:cNvSpPr txBox="1"/>
          <p:nvPr/>
        </p:nvSpPr>
        <p:spPr>
          <a:xfrm>
            <a:off x="11162512" y="6368176"/>
            <a:ext cx="335349" cy="246221"/>
          </a:xfrm>
          <a:prstGeom prst="rect">
            <a:avLst/>
          </a:prstGeom>
          <a:noFill/>
        </p:spPr>
        <p:txBody>
          <a:bodyPr wrap="none" lIns="0" tIns="0" rIns="0" bIns="0" rtlCol="0" anchor="b">
            <a:noAutofit/>
          </a:bodyPr>
          <a:lstStyle/>
          <a:p>
            <a:pPr algn="r"/>
            <a:fld id="{25DB8DF5-C232-BC4C-8CE4-28A3F4FC6C77}" type="slidenum">
              <a:rPr lang="en-US" sz="1000" smtClean="0">
                <a:solidFill>
                  <a:schemeClr val="tx1"/>
                </a:solidFill>
              </a:rPr>
              <a:t>‹#›</a:t>
            </a:fld>
            <a:endParaRPr lang="en-US" sz="1000" dirty="0">
              <a:solidFill>
                <a:schemeClr val="tx1"/>
              </a:solidFill>
            </a:endParaRPr>
          </a:p>
        </p:txBody>
      </p:sp>
    </p:spTree>
    <p:extLst>
      <p:ext uri="{BB962C8B-B14F-4D97-AF65-F5344CB8AC3E}">
        <p14:creationId xmlns:p14="http://schemas.microsoft.com/office/powerpoint/2010/main" val="206702417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BC4F0E7-7A71-CD4B-892C-E037C95A85FF}"/>
              </a:ext>
            </a:extLst>
          </p:cNvPr>
          <p:cNvGraphicFramePr>
            <a:graphicFrameLocks noChangeAspect="1"/>
          </p:cNvGraphicFramePr>
          <p:nvPr>
            <p:custDataLst>
              <p:tags r:id="rId2"/>
            </p:custDataLst>
            <p:extLst>
              <p:ext uri="{D42A27DB-BD31-4B8C-83A1-F6EECF244321}">
                <p14:modId xmlns:p14="http://schemas.microsoft.com/office/powerpoint/2010/main" val="38741975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9657"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BBC4F0E7-7A71-CD4B-892C-E037C95A85F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
        <p:nvSpPr>
          <p:cNvPr id="3" name="Content Placeholder 2"/>
          <p:cNvSpPr>
            <a:spLocks noGrp="1"/>
          </p:cNvSpPr>
          <p:nvPr>
            <p:ph sz="half" idx="1"/>
          </p:nvPr>
        </p:nvSpPr>
        <p:spPr>
          <a:xfrm>
            <a:off x="685800" y="1545336"/>
            <a:ext cx="5181600" cy="4123944"/>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24602" y="1545336"/>
            <a:ext cx="5181598" cy="4123944"/>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a:extLst>
              <a:ext uri="{FF2B5EF4-FFF2-40B4-BE49-F238E27FC236}">
                <a16:creationId xmlns:a16="http://schemas.microsoft.com/office/drawing/2014/main" id="{BE1CFF2A-43F1-D94B-93AF-F563A6206EC4}"/>
              </a:ext>
            </a:extLst>
          </p:cNvPr>
          <p:cNvSpPr>
            <a:spLocks noGrp="1"/>
          </p:cNvSpPr>
          <p:nvPr>
            <p:ph type="body" sz="quarter" idx="10" hasCustomPrompt="1"/>
          </p:nvPr>
        </p:nvSpPr>
        <p:spPr>
          <a:xfrm>
            <a:off x="685800" y="5830756"/>
            <a:ext cx="10820400" cy="344619"/>
          </a:xfrm>
        </p:spPr>
        <p:txBody>
          <a:bodyPr anchor="b"/>
          <a:lstStyle>
            <a:lvl1pPr>
              <a:defRPr sz="800"/>
            </a:lvl1pPr>
            <a:lvl2pPr marL="0" indent="0">
              <a:buNone/>
              <a:defRPr/>
            </a:lvl2pPr>
          </a:lstStyle>
          <a:p>
            <a:pPr lvl="0"/>
            <a:r>
              <a:rPr lang="en-US"/>
              <a:t>Click to add footnote</a:t>
            </a:r>
          </a:p>
        </p:txBody>
      </p:sp>
    </p:spTree>
    <p:extLst>
      <p:ext uri="{BB962C8B-B14F-4D97-AF65-F5344CB8AC3E}">
        <p14:creationId xmlns:p14="http://schemas.microsoft.com/office/powerpoint/2010/main" val="2818611876"/>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BC4F0E7-7A71-CD4B-892C-E037C95A85FF}"/>
              </a:ext>
            </a:extLst>
          </p:cNvPr>
          <p:cNvGraphicFramePr>
            <a:graphicFrameLocks noChangeAspect="1"/>
          </p:cNvGraphicFramePr>
          <p:nvPr>
            <p:custDataLst>
              <p:tags r:id="rId2"/>
            </p:custDataLst>
            <p:extLst>
              <p:ext uri="{D42A27DB-BD31-4B8C-83A1-F6EECF244321}">
                <p14:modId xmlns:p14="http://schemas.microsoft.com/office/powerpoint/2010/main" val="4678838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70681"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BBC4F0E7-7A71-CD4B-892C-E037C95A85F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685800" y="419100"/>
            <a:ext cx="10820400" cy="960438"/>
          </a:xfrm>
        </p:spPr>
        <p:txBody>
          <a:bodyPr vert="horz"/>
          <a:lstStyle/>
          <a:p>
            <a:r>
              <a:rPr lang="en-US"/>
              <a:t>Click to edit Master title style</a:t>
            </a:r>
          </a:p>
        </p:txBody>
      </p:sp>
      <p:sp>
        <p:nvSpPr>
          <p:cNvPr id="3" name="Content Placeholder 2"/>
          <p:cNvSpPr>
            <a:spLocks noGrp="1"/>
          </p:cNvSpPr>
          <p:nvPr>
            <p:ph sz="half" idx="1"/>
          </p:nvPr>
        </p:nvSpPr>
        <p:spPr>
          <a:xfrm>
            <a:off x="685800" y="1545336"/>
            <a:ext cx="3291840" cy="412394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454652" y="1545336"/>
            <a:ext cx="3291840" cy="412394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a:extLst>
              <a:ext uri="{FF2B5EF4-FFF2-40B4-BE49-F238E27FC236}">
                <a16:creationId xmlns:a16="http://schemas.microsoft.com/office/drawing/2014/main" id="{BE1CFF2A-43F1-D94B-93AF-F563A6206EC4}"/>
              </a:ext>
            </a:extLst>
          </p:cNvPr>
          <p:cNvSpPr>
            <a:spLocks noGrp="1"/>
          </p:cNvSpPr>
          <p:nvPr>
            <p:ph type="body" sz="quarter" idx="10" hasCustomPrompt="1"/>
          </p:nvPr>
        </p:nvSpPr>
        <p:spPr>
          <a:xfrm>
            <a:off x="685800" y="5830756"/>
            <a:ext cx="10820400" cy="344619"/>
          </a:xfrm>
        </p:spPr>
        <p:txBody>
          <a:bodyPr anchor="b"/>
          <a:lstStyle>
            <a:lvl1pPr>
              <a:defRPr sz="800"/>
            </a:lvl1pPr>
            <a:lvl2pPr marL="0" indent="0">
              <a:buNone/>
              <a:defRPr/>
            </a:lvl2pPr>
          </a:lstStyle>
          <a:p>
            <a:pPr lvl="0"/>
            <a:r>
              <a:rPr lang="en-US"/>
              <a:t>Click to add footnote</a:t>
            </a:r>
          </a:p>
        </p:txBody>
      </p:sp>
      <p:sp>
        <p:nvSpPr>
          <p:cNvPr id="11" name="Content Placeholder 3">
            <a:extLst>
              <a:ext uri="{FF2B5EF4-FFF2-40B4-BE49-F238E27FC236}">
                <a16:creationId xmlns:a16="http://schemas.microsoft.com/office/drawing/2014/main" id="{5D0F65DE-7BEC-F24C-B544-263760C6321F}"/>
              </a:ext>
            </a:extLst>
          </p:cNvPr>
          <p:cNvSpPr>
            <a:spLocks noGrp="1"/>
          </p:cNvSpPr>
          <p:nvPr>
            <p:ph sz="half" idx="11"/>
          </p:nvPr>
        </p:nvSpPr>
        <p:spPr>
          <a:xfrm>
            <a:off x="8214360" y="1545336"/>
            <a:ext cx="3291840" cy="412394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6733307"/>
      </p:ext>
    </p:extLst>
  </p:cSld>
  <p:clrMapOvr>
    <a:masterClrMapping/>
  </p:clrMapOvr>
  <p:extLst>
    <p:ext uri="{DCECCB84-F9BA-43D5-87BE-67443E8EF086}">
      <p15:sldGuideLst xmlns:p15="http://schemas.microsoft.com/office/powerpoint/2012/main">
        <p15:guide id="1" pos="2506">
          <p15:clr>
            <a:srgbClr val="FBAE40"/>
          </p15:clr>
        </p15:guide>
        <p15:guide id="2" pos="2801">
          <p15:clr>
            <a:srgbClr val="FBAE40"/>
          </p15:clr>
        </p15:guide>
        <p15:guide id="3" pos="4880">
          <p15:clr>
            <a:srgbClr val="FBAE40"/>
          </p15:clr>
        </p15:guide>
        <p15:guide id="4" pos="5169">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BC4F0E7-7A71-CD4B-892C-E037C95A85FF}"/>
              </a:ext>
            </a:extLst>
          </p:cNvPr>
          <p:cNvGraphicFramePr>
            <a:graphicFrameLocks noChangeAspect="1"/>
          </p:cNvGraphicFramePr>
          <p:nvPr>
            <p:custDataLst>
              <p:tags r:id="rId2"/>
            </p:custDataLst>
            <p:extLst>
              <p:ext uri="{D42A27DB-BD31-4B8C-83A1-F6EECF244321}">
                <p14:modId xmlns:p14="http://schemas.microsoft.com/office/powerpoint/2010/main" val="42121801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71705"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BBC4F0E7-7A71-CD4B-892C-E037C95A85F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685800" y="419100"/>
            <a:ext cx="10820400" cy="960438"/>
          </a:xfrm>
        </p:spPr>
        <p:txBody>
          <a:bodyPr vert="horz"/>
          <a:lstStyle/>
          <a:p>
            <a:r>
              <a:rPr lang="en-US"/>
              <a:t>Click to edit Master title style</a:t>
            </a:r>
          </a:p>
        </p:txBody>
      </p:sp>
      <p:sp>
        <p:nvSpPr>
          <p:cNvPr id="3" name="Content Placeholder 2"/>
          <p:cNvSpPr>
            <a:spLocks noGrp="1"/>
          </p:cNvSpPr>
          <p:nvPr>
            <p:ph sz="half" idx="1"/>
          </p:nvPr>
        </p:nvSpPr>
        <p:spPr>
          <a:xfrm>
            <a:off x="685800" y="1545336"/>
            <a:ext cx="2441575" cy="412394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476625" y="1545336"/>
            <a:ext cx="2441575" cy="412394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a:extLst>
              <a:ext uri="{FF2B5EF4-FFF2-40B4-BE49-F238E27FC236}">
                <a16:creationId xmlns:a16="http://schemas.microsoft.com/office/drawing/2014/main" id="{BE1CFF2A-43F1-D94B-93AF-F563A6206EC4}"/>
              </a:ext>
            </a:extLst>
          </p:cNvPr>
          <p:cNvSpPr>
            <a:spLocks noGrp="1"/>
          </p:cNvSpPr>
          <p:nvPr>
            <p:ph type="body" sz="quarter" idx="10" hasCustomPrompt="1"/>
          </p:nvPr>
        </p:nvSpPr>
        <p:spPr>
          <a:xfrm>
            <a:off x="685800" y="5830756"/>
            <a:ext cx="10820400" cy="344619"/>
          </a:xfrm>
        </p:spPr>
        <p:txBody>
          <a:bodyPr anchor="b"/>
          <a:lstStyle>
            <a:lvl1pPr>
              <a:defRPr sz="800"/>
            </a:lvl1pPr>
            <a:lvl2pPr marL="0" indent="0">
              <a:buNone/>
              <a:defRPr/>
            </a:lvl2pPr>
          </a:lstStyle>
          <a:p>
            <a:pPr lvl="0"/>
            <a:r>
              <a:rPr lang="en-US"/>
              <a:t>Click to add footnote</a:t>
            </a:r>
          </a:p>
        </p:txBody>
      </p:sp>
      <p:sp>
        <p:nvSpPr>
          <p:cNvPr id="11" name="Content Placeholder 3">
            <a:extLst>
              <a:ext uri="{FF2B5EF4-FFF2-40B4-BE49-F238E27FC236}">
                <a16:creationId xmlns:a16="http://schemas.microsoft.com/office/drawing/2014/main" id="{5D0F65DE-7BEC-F24C-B544-263760C6321F}"/>
              </a:ext>
            </a:extLst>
          </p:cNvPr>
          <p:cNvSpPr>
            <a:spLocks noGrp="1"/>
          </p:cNvSpPr>
          <p:nvPr>
            <p:ph sz="half" idx="11"/>
          </p:nvPr>
        </p:nvSpPr>
        <p:spPr>
          <a:xfrm>
            <a:off x="6273802" y="1545336"/>
            <a:ext cx="2441575" cy="412394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C8167C8-4843-0343-8726-95415F9FBF94}"/>
              </a:ext>
            </a:extLst>
          </p:cNvPr>
          <p:cNvSpPr>
            <a:spLocks noGrp="1"/>
          </p:cNvSpPr>
          <p:nvPr>
            <p:ph sz="half" idx="12"/>
          </p:nvPr>
        </p:nvSpPr>
        <p:spPr>
          <a:xfrm>
            <a:off x="9061450" y="1545336"/>
            <a:ext cx="2444750" cy="412394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1972453"/>
      </p:ext>
    </p:extLst>
  </p:cSld>
  <p:clrMapOvr>
    <a:masterClrMapping/>
  </p:clrMapOvr>
  <p:extLst>
    <p:ext uri="{DCECCB84-F9BA-43D5-87BE-67443E8EF086}">
      <p15:sldGuideLst xmlns:p15="http://schemas.microsoft.com/office/powerpoint/2012/main">
        <p15:guide id="1" pos="1970">
          <p15:clr>
            <a:srgbClr val="FBAE40"/>
          </p15:clr>
        </p15:guide>
        <p15:guide id="2" pos="2190">
          <p15:clr>
            <a:srgbClr val="FBAE40"/>
          </p15:clr>
        </p15:guide>
        <p15:guide id="3" pos="3948">
          <p15:clr>
            <a:srgbClr val="FBAE40"/>
          </p15:clr>
        </p15:guide>
        <p15:guide id="4" pos="5486">
          <p15:clr>
            <a:srgbClr val="FBAE40"/>
          </p15:clr>
        </p15:guide>
        <p15:guide id="5" pos="3728">
          <p15:clr>
            <a:srgbClr val="FBAE40"/>
          </p15:clr>
        </p15:guide>
        <p15:guide id="6" pos="5708">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F9CC1DC-27E2-0D44-931C-EED07AE3943A}"/>
              </a:ext>
            </a:extLst>
          </p:cNvPr>
          <p:cNvGraphicFramePr>
            <a:graphicFrameLocks noChangeAspect="1"/>
          </p:cNvGraphicFramePr>
          <p:nvPr>
            <p:custDataLst>
              <p:tags r:id="rId2"/>
            </p:custDataLst>
            <p:extLst>
              <p:ext uri="{D42A27DB-BD31-4B8C-83A1-F6EECF244321}">
                <p14:modId xmlns:p14="http://schemas.microsoft.com/office/powerpoint/2010/main" val="28680673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72729"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8F9CC1DC-27E2-0D44-931C-EED07AE3943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8567015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BC4F0E7-7A71-CD4B-892C-E037C95A85FF}"/>
              </a:ext>
            </a:extLst>
          </p:cNvPr>
          <p:cNvGraphicFramePr>
            <a:graphicFrameLocks noChangeAspect="1"/>
          </p:cNvGraphicFramePr>
          <p:nvPr>
            <p:custDataLst>
              <p:tags r:id="rId2"/>
            </p:custDataLst>
            <p:extLst>
              <p:ext uri="{D42A27DB-BD31-4B8C-83A1-F6EECF244321}">
                <p14:modId xmlns:p14="http://schemas.microsoft.com/office/powerpoint/2010/main" val="300837637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4601"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BBC4F0E7-7A71-CD4B-892C-E037C95A85F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685800" y="419100"/>
            <a:ext cx="10820400" cy="960438"/>
          </a:xfrm>
        </p:spPr>
        <p:txBody>
          <a:bodyPr vert="horz"/>
          <a:lstStyle/>
          <a:p>
            <a:r>
              <a:rPr lang="en-US"/>
              <a:t>Click to edit Master title style</a:t>
            </a:r>
          </a:p>
        </p:txBody>
      </p:sp>
      <p:sp>
        <p:nvSpPr>
          <p:cNvPr id="3" name="Content Placeholder 2"/>
          <p:cNvSpPr>
            <a:spLocks noGrp="1"/>
          </p:cNvSpPr>
          <p:nvPr>
            <p:ph sz="half" idx="1"/>
          </p:nvPr>
        </p:nvSpPr>
        <p:spPr>
          <a:xfrm>
            <a:off x="685800" y="1545336"/>
            <a:ext cx="3291840" cy="412394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454652" y="1545336"/>
            <a:ext cx="3291840" cy="412394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a:extLst>
              <a:ext uri="{FF2B5EF4-FFF2-40B4-BE49-F238E27FC236}">
                <a16:creationId xmlns:a16="http://schemas.microsoft.com/office/drawing/2014/main" id="{BE1CFF2A-43F1-D94B-93AF-F563A6206EC4}"/>
              </a:ext>
            </a:extLst>
          </p:cNvPr>
          <p:cNvSpPr>
            <a:spLocks noGrp="1"/>
          </p:cNvSpPr>
          <p:nvPr>
            <p:ph type="body" sz="quarter" idx="10" hasCustomPrompt="1"/>
          </p:nvPr>
        </p:nvSpPr>
        <p:spPr>
          <a:xfrm>
            <a:off x="685800" y="5830756"/>
            <a:ext cx="10820400" cy="344619"/>
          </a:xfrm>
        </p:spPr>
        <p:txBody>
          <a:bodyPr anchor="b"/>
          <a:lstStyle>
            <a:lvl1pPr>
              <a:defRPr sz="800"/>
            </a:lvl1pPr>
            <a:lvl2pPr marL="0" indent="0">
              <a:buNone/>
              <a:defRPr/>
            </a:lvl2pPr>
          </a:lstStyle>
          <a:p>
            <a:pPr lvl="0"/>
            <a:r>
              <a:rPr lang="en-US"/>
              <a:t>Click to add footnote</a:t>
            </a:r>
          </a:p>
        </p:txBody>
      </p:sp>
      <p:sp>
        <p:nvSpPr>
          <p:cNvPr id="11" name="Content Placeholder 3">
            <a:extLst>
              <a:ext uri="{FF2B5EF4-FFF2-40B4-BE49-F238E27FC236}">
                <a16:creationId xmlns:a16="http://schemas.microsoft.com/office/drawing/2014/main" id="{5D0F65DE-7BEC-F24C-B544-263760C6321F}"/>
              </a:ext>
            </a:extLst>
          </p:cNvPr>
          <p:cNvSpPr>
            <a:spLocks noGrp="1"/>
          </p:cNvSpPr>
          <p:nvPr>
            <p:ph sz="half" idx="11"/>
          </p:nvPr>
        </p:nvSpPr>
        <p:spPr>
          <a:xfrm>
            <a:off x="8214360" y="1545336"/>
            <a:ext cx="3291840" cy="412394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0114433"/>
      </p:ext>
    </p:extLst>
  </p:cSld>
  <p:clrMapOvr>
    <a:masterClrMapping/>
  </p:clrMapOvr>
  <p:extLst>
    <p:ext uri="{DCECCB84-F9BA-43D5-87BE-67443E8EF086}">
      <p15:sldGuideLst xmlns:p15="http://schemas.microsoft.com/office/powerpoint/2012/main">
        <p15:guide id="1" pos="2506">
          <p15:clr>
            <a:srgbClr val="FBAE40"/>
          </p15:clr>
        </p15:guide>
        <p15:guide id="2" pos="2801">
          <p15:clr>
            <a:srgbClr val="FBAE40"/>
          </p15:clr>
        </p15:guide>
        <p15:guide id="3" pos="4880">
          <p15:clr>
            <a:srgbClr val="FBAE40"/>
          </p15:clr>
        </p15:guide>
        <p15:guide id="4" pos="5169">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160052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Content and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BC4F0E7-7A71-CD4B-892C-E037C95A85FF}"/>
              </a:ext>
            </a:extLst>
          </p:cNvPr>
          <p:cNvGraphicFramePr>
            <a:graphicFrameLocks noChangeAspect="1"/>
          </p:cNvGraphicFramePr>
          <p:nvPr>
            <p:custDataLst>
              <p:tags r:id="rId2"/>
            </p:custDataLst>
            <p:extLst>
              <p:ext uri="{D42A27DB-BD31-4B8C-83A1-F6EECF244321}">
                <p14:modId xmlns:p14="http://schemas.microsoft.com/office/powerpoint/2010/main" val="8496089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73753"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BBC4F0E7-7A71-CD4B-892C-E037C95A85F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
        <p:nvSpPr>
          <p:cNvPr id="3" name="Content Placeholder 2"/>
          <p:cNvSpPr>
            <a:spLocks noGrp="1"/>
          </p:cNvSpPr>
          <p:nvPr>
            <p:ph sz="half" idx="1"/>
          </p:nvPr>
        </p:nvSpPr>
        <p:spPr>
          <a:xfrm>
            <a:off x="685800" y="1545336"/>
            <a:ext cx="5181600" cy="4123944"/>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a:extLst>
              <a:ext uri="{FF2B5EF4-FFF2-40B4-BE49-F238E27FC236}">
                <a16:creationId xmlns:a16="http://schemas.microsoft.com/office/drawing/2014/main" id="{BE1CFF2A-43F1-D94B-93AF-F563A6206EC4}"/>
              </a:ext>
            </a:extLst>
          </p:cNvPr>
          <p:cNvSpPr>
            <a:spLocks noGrp="1"/>
          </p:cNvSpPr>
          <p:nvPr>
            <p:ph type="body" sz="quarter" idx="10" hasCustomPrompt="1"/>
          </p:nvPr>
        </p:nvSpPr>
        <p:spPr>
          <a:xfrm>
            <a:off x="685800" y="5830756"/>
            <a:ext cx="5181600" cy="344619"/>
          </a:xfrm>
        </p:spPr>
        <p:txBody>
          <a:bodyPr anchor="b"/>
          <a:lstStyle>
            <a:lvl1pPr>
              <a:defRPr sz="800"/>
            </a:lvl1pPr>
            <a:lvl2pPr marL="0" indent="0">
              <a:buNone/>
              <a:defRPr/>
            </a:lvl2pPr>
          </a:lstStyle>
          <a:p>
            <a:pPr lvl="0"/>
            <a:r>
              <a:rPr lang="en-US"/>
              <a:t>Click to add footnote</a:t>
            </a:r>
          </a:p>
        </p:txBody>
      </p:sp>
      <p:sp>
        <p:nvSpPr>
          <p:cNvPr id="6" name="Picture Placeholder 5">
            <a:extLst>
              <a:ext uri="{FF2B5EF4-FFF2-40B4-BE49-F238E27FC236}">
                <a16:creationId xmlns:a16="http://schemas.microsoft.com/office/drawing/2014/main" id="{DE5C0F5A-1D2E-AB42-9962-83B986F457F9}"/>
              </a:ext>
            </a:extLst>
          </p:cNvPr>
          <p:cNvSpPr>
            <a:spLocks noGrp="1"/>
          </p:cNvSpPr>
          <p:nvPr>
            <p:ph type="pic" sz="quarter" idx="11"/>
          </p:nvPr>
        </p:nvSpPr>
        <p:spPr>
          <a:xfrm>
            <a:off x="6324600" y="1600200"/>
            <a:ext cx="5181600" cy="4575175"/>
          </a:xfrm>
        </p:spPr>
        <p:txBody>
          <a:bodyPr/>
          <a:lstStyle>
            <a:lvl1pPr>
              <a:defRPr sz="1200">
                <a:solidFill>
                  <a:schemeClr val="accent5"/>
                </a:solidFill>
              </a:defRPr>
            </a:lvl1pPr>
          </a:lstStyle>
          <a:p>
            <a:r>
              <a:rPr lang="en-US" dirty="0"/>
              <a:t>Click icon to add picture</a:t>
            </a:r>
          </a:p>
        </p:txBody>
      </p:sp>
    </p:spTree>
    <p:extLst>
      <p:ext uri="{BB962C8B-B14F-4D97-AF65-F5344CB8AC3E}">
        <p14:creationId xmlns:p14="http://schemas.microsoft.com/office/powerpoint/2010/main" val="835148096"/>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BC4F0E7-7A71-CD4B-892C-E037C95A85FF}"/>
              </a:ext>
            </a:extLst>
          </p:cNvPr>
          <p:cNvGraphicFramePr>
            <a:graphicFrameLocks noChangeAspect="1"/>
          </p:cNvGraphicFramePr>
          <p:nvPr>
            <p:custDataLst>
              <p:tags r:id="rId2"/>
            </p:custDataLst>
            <p:extLst>
              <p:ext uri="{D42A27DB-BD31-4B8C-83A1-F6EECF244321}">
                <p14:modId xmlns:p14="http://schemas.microsoft.com/office/powerpoint/2010/main" val="160707725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74777"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BBC4F0E7-7A71-CD4B-892C-E037C95A85F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9902681-C126-1945-8FB5-CDCBA10AC104}"/>
              </a:ext>
            </a:extLst>
          </p:cNvPr>
          <p:cNvSpPr>
            <a:spLocks noGrp="1"/>
          </p:cNvSpPr>
          <p:nvPr>
            <p:ph type="body" sz="quarter" idx="10" hasCustomPrompt="1"/>
          </p:nvPr>
        </p:nvSpPr>
        <p:spPr>
          <a:xfrm>
            <a:off x="685800" y="1451222"/>
            <a:ext cx="7061200" cy="4645025"/>
          </a:xfrm>
        </p:spPr>
        <p:txBody>
          <a:bodyPr/>
          <a:lstStyle>
            <a:lvl1pPr>
              <a:defRPr sz="4800">
                <a:solidFill>
                  <a:schemeClr val="tx2"/>
                </a:solidFill>
              </a:defRPr>
            </a:lvl1pPr>
            <a:lvl2pPr marL="293688" indent="-293688">
              <a:buFont typeface="System Font Regular"/>
              <a:buChar char="—"/>
              <a:defRPr sz="2400" b="1">
                <a:solidFill>
                  <a:schemeClr val="tx2"/>
                </a:solidFill>
              </a:defRPr>
            </a:lvl2pPr>
          </a:lstStyle>
          <a:p>
            <a:pPr lvl="0"/>
            <a:r>
              <a:rPr lang="en-US"/>
              <a:t>Click to add quote</a:t>
            </a:r>
          </a:p>
          <a:p>
            <a:pPr lvl="1"/>
            <a:r>
              <a:rPr lang="en-US"/>
              <a:t>Quote attribution</a:t>
            </a:r>
          </a:p>
        </p:txBody>
      </p:sp>
      <p:sp>
        <p:nvSpPr>
          <p:cNvPr id="17" name="Freeform 16">
            <a:extLst>
              <a:ext uri="{FF2B5EF4-FFF2-40B4-BE49-F238E27FC236}">
                <a16:creationId xmlns:a16="http://schemas.microsoft.com/office/drawing/2014/main" id="{4574A430-1352-8D46-9275-A265880BF00E}"/>
              </a:ext>
            </a:extLst>
          </p:cNvPr>
          <p:cNvSpPr/>
          <p:nvPr/>
        </p:nvSpPr>
        <p:spPr>
          <a:xfrm>
            <a:off x="8205752" y="505"/>
            <a:ext cx="3296004" cy="2589680"/>
          </a:xfrm>
          <a:custGeom>
            <a:avLst/>
            <a:gdLst>
              <a:gd name="connsiteX0" fmla="*/ 2126516 w 3296004"/>
              <a:gd name="connsiteY0" fmla="*/ 0 h 2589680"/>
              <a:gd name="connsiteX1" fmla="*/ 2965963 w 3296004"/>
              <a:gd name="connsiteY1" fmla="*/ 0 h 2589680"/>
              <a:gd name="connsiteX2" fmla="*/ 3296004 w 3296004"/>
              <a:gd name="connsiteY2" fmla="*/ 707390 h 2589680"/>
              <a:gd name="connsiteX3" fmla="*/ 2268814 w 3296004"/>
              <a:gd name="connsiteY3" fmla="*/ 2518815 h 2589680"/>
              <a:gd name="connsiteX4" fmla="*/ 2085768 w 3296004"/>
              <a:gd name="connsiteY4" fmla="*/ 2589680 h 2589680"/>
              <a:gd name="connsiteX5" fmla="*/ 1933442 w 3296004"/>
              <a:gd name="connsiteY5" fmla="*/ 2498604 h 2589680"/>
              <a:gd name="connsiteX6" fmla="*/ 1831890 w 3296004"/>
              <a:gd name="connsiteY6" fmla="*/ 2377211 h 2589680"/>
              <a:gd name="connsiteX7" fmla="*/ 1862483 w 3296004"/>
              <a:gd name="connsiteY7" fmla="*/ 2154509 h 2589680"/>
              <a:gd name="connsiteX8" fmla="*/ 2279350 w 3296004"/>
              <a:gd name="connsiteY8" fmla="*/ 1425897 h 2589680"/>
              <a:gd name="connsiteX9" fmla="*/ 1862483 w 3296004"/>
              <a:gd name="connsiteY9" fmla="*/ 535343 h 2589680"/>
              <a:gd name="connsiteX10" fmla="*/ 2126516 w 3296004"/>
              <a:gd name="connsiteY10" fmla="*/ 0 h 2589680"/>
              <a:gd name="connsiteX11" fmla="*/ 337184 w 3296004"/>
              <a:gd name="connsiteY11" fmla="*/ 0 h 2589680"/>
              <a:gd name="connsiteX12" fmla="*/ 1176505 w 3296004"/>
              <a:gd name="connsiteY12" fmla="*/ 0 h 2589680"/>
              <a:gd name="connsiteX13" fmla="*/ 1506546 w 3296004"/>
              <a:gd name="connsiteY13" fmla="*/ 707390 h 2589680"/>
              <a:gd name="connsiteX14" fmla="*/ 479483 w 3296004"/>
              <a:gd name="connsiteY14" fmla="*/ 2518815 h 2589680"/>
              <a:gd name="connsiteX15" fmla="*/ 296437 w 3296004"/>
              <a:gd name="connsiteY15" fmla="*/ 2589680 h 2589680"/>
              <a:gd name="connsiteX16" fmla="*/ 144110 w 3296004"/>
              <a:gd name="connsiteY16" fmla="*/ 2498604 h 2589680"/>
              <a:gd name="connsiteX17" fmla="*/ 42559 w 3296004"/>
              <a:gd name="connsiteY17" fmla="*/ 2377211 h 2589680"/>
              <a:gd name="connsiteX18" fmla="*/ 73025 w 3296004"/>
              <a:gd name="connsiteY18" fmla="*/ 2154509 h 2589680"/>
              <a:gd name="connsiteX19" fmla="*/ 490019 w 3296004"/>
              <a:gd name="connsiteY19" fmla="*/ 1425897 h 2589680"/>
              <a:gd name="connsiteX20" fmla="*/ 73025 w 3296004"/>
              <a:gd name="connsiteY20" fmla="*/ 535343 h 2589680"/>
              <a:gd name="connsiteX21" fmla="*/ 337184 w 3296004"/>
              <a:gd name="connsiteY21" fmla="*/ 0 h 258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296004" h="2589680">
                <a:moveTo>
                  <a:pt x="2126516" y="0"/>
                </a:moveTo>
                <a:lnTo>
                  <a:pt x="2965963" y="0"/>
                </a:lnTo>
                <a:cubicBezTo>
                  <a:pt x="3172112" y="161437"/>
                  <a:pt x="3296004" y="438582"/>
                  <a:pt x="3296004" y="707390"/>
                </a:cubicBezTo>
                <a:cubicBezTo>
                  <a:pt x="3296004" y="1446108"/>
                  <a:pt x="2848544" y="2114592"/>
                  <a:pt x="2268814" y="2518815"/>
                </a:cubicBezTo>
                <a:cubicBezTo>
                  <a:pt x="2197601" y="2569469"/>
                  <a:pt x="2136544" y="2589680"/>
                  <a:pt x="2085768" y="2589680"/>
                </a:cubicBezTo>
                <a:cubicBezTo>
                  <a:pt x="2024965" y="2589680"/>
                  <a:pt x="1984217" y="2559364"/>
                  <a:pt x="1933442" y="2498604"/>
                </a:cubicBezTo>
                <a:lnTo>
                  <a:pt x="1831890" y="2377211"/>
                </a:lnTo>
                <a:cubicBezTo>
                  <a:pt x="1770960" y="2296240"/>
                  <a:pt x="1770960" y="2245586"/>
                  <a:pt x="1862483" y="2154509"/>
                </a:cubicBezTo>
                <a:cubicBezTo>
                  <a:pt x="2065839" y="1952145"/>
                  <a:pt x="2279350" y="1668810"/>
                  <a:pt x="2279350" y="1425897"/>
                </a:cubicBezTo>
                <a:cubicBezTo>
                  <a:pt x="2279350" y="1122351"/>
                  <a:pt x="1862483" y="899649"/>
                  <a:pt x="1862483" y="535343"/>
                </a:cubicBezTo>
                <a:cubicBezTo>
                  <a:pt x="1859909" y="325260"/>
                  <a:pt x="1957941" y="126494"/>
                  <a:pt x="2126516" y="0"/>
                </a:cubicBezTo>
                <a:close/>
                <a:moveTo>
                  <a:pt x="337184" y="0"/>
                </a:moveTo>
                <a:lnTo>
                  <a:pt x="1176505" y="0"/>
                </a:lnTo>
                <a:cubicBezTo>
                  <a:pt x="1382653" y="161437"/>
                  <a:pt x="1506546" y="438582"/>
                  <a:pt x="1506546" y="707390"/>
                </a:cubicBezTo>
                <a:cubicBezTo>
                  <a:pt x="1506546" y="1446108"/>
                  <a:pt x="1059086" y="2114592"/>
                  <a:pt x="479483" y="2518815"/>
                </a:cubicBezTo>
                <a:cubicBezTo>
                  <a:pt x="408270" y="2569469"/>
                  <a:pt x="347213" y="2589680"/>
                  <a:pt x="296437" y="2589680"/>
                </a:cubicBezTo>
                <a:cubicBezTo>
                  <a:pt x="235633" y="2589680"/>
                  <a:pt x="194886" y="2559364"/>
                  <a:pt x="144110" y="2498604"/>
                </a:cubicBezTo>
                <a:lnTo>
                  <a:pt x="42559" y="2377211"/>
                </a:lnTo>
                <a:cubicBezTo>
                  <a:pt x="-18498" y="2296240"/>
                  <a:pt x="-18498" y="2245586"/>
                  <a:pt x="73025" y="2154509"/>
                </a:cubicBezTo>
                <a:cubicBezTo>
                  <a:pt x="276508" y="1952145"/>
                  <a:pt x="490019" y="1668810"/>
                  <a:pt x="490019" y="1425897"/>
                </a:cubicBezTo>
                <a:cubicBezTo>
                  <a:pt x="490019" y="1122351"/>
                  <a:pt x="73025" y="899649"/>
                  <a:pt x="73025" y="535343"/>
                </a:cubicBezTo>
                <a:cubicBezTo>
                  <a:pt x="70501" y="325242"/>
                  <a:pt x="168578" y="126480"/>
                  <a:pt x="337184" y="0"/>
                </a:cubicBezTo>
                <a:close/>
              </a:path>
            </a:pathLst>
          </a:custGeom>
          <a:solidFill>
            <a:schemeClr val="accent2"/>
          </a:solidFill>
          <a:ln w="12676" cap="flat">
            <a:noFill/>
            <a:prstDash val="solid"/>
            <a:miter/>
          </a:ln>
        </p:spPr>
        <p:txBody>
          <a:bodyPr rtlCol="0" anchor="ctr"/>
          <a:lstStyle/>
          <a:p>
            <a:endParaRPr lang="en-US" dirty="0"/>
          </a:p>
        </p:txBody>
      </p:sp>
    </p:spTree>
    <p:extLst>
      <p:ext uri="{BB962C8B-B14F-4D97-AF65-F5344CB8AC3E}">
        <p14:creationId xmlns:p14="http://schemas.microsoft.com/office/powerpoint/2010/main" val="1555750490"/>
      </p:ext>
    </p:extLst>
  </p:cSld>
  <p:clrMapOvr>
    <a:masterClrMapping/>
  </p:clrMapOvr>
  <p:extLst>
    <p:ext uri="{DCECCB84-F9BA-43D5-87BE-67443E8EF086}">
      <p15:sldGuideLst xmlns:p15="http://schemas.microsoft.com/office/powerpoint/2012/main">
        <p15:guide id="1" pos="2506">
          <p15:clr>
            <a:srgbClr val="FBAE40"/>
          </p15:clr>
        </p15:guide>
        <p15:guide id="2" pos="2801">
          <p15:clr>
            <a:srgbClr val="FBAE40"/>
          </p15:clr>
        </p15:guide>
        <p15:guide id="3" pos="4880">
          <p15:clr>
            <a:srgbClr val="FBAE40"/>
          </p15:clr>
        </p15:guide>
        <p15:guide id="4" pos="5169">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Back Page Whit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697ED2-7864-804D-A838-3895B0E880AA}"/>
              </a:ext>
            </a:extLst>
          </p:cNvPr>
          <p:cNvGraphicFramePr>
            <a:graphicFrameLocks noChangeAspect="1"/>
          </p:cNvGraphicFramePr>
          <p:nvPr>
            <p:custDataLst>
              <p:tags r:id="rId2"/>
            </p:custDataLst>
            <p:extLst>
              <p:ext uri="{D42A27DB-BD31-4B8C-83A1-F6EECF244321}">
                <p14:modId xmlns:p14="http://schemas.microsoft.com/office/powerpoint/2010/main" val="208411059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75801"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36697ED2-7864-804D-A838-3895B0E880A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7" name="Graphic 6">
            <a:extLst>
              <a:ext uri="{FF2B5EF4-FFF2-40B4-BE49-F238E27FC236}">
                <a16:creationId xmlns:a16="http://schemas.microsoft.com/office/drawing/2014/main" id="{C38FFA5E-DB10-9E4A-8BC3-341A85808E30}"/>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4498111" y="2884787"/>
            <a:ext cx="3195778" cy="682026"/>
          </a:xfrm>
          <a:prstGeom prst="rect">
            <a:avLst/>
          </a:prstGeom>
        </p:spPr>
      </p:pic>
    </p:spTree>
    <p:extLst>
      <p:ext uri="{BB962C8B-B14F-4D97-AF65-F5344CB8AC3E}">
        <p14:creationId xmlns:p14="http://schemas.microsoft.com/office/powerpoint/2010/main" val="3157534130"/>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Back Page Purpl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697ED2-7864-804D-A838-3895B0E880AA}"/>
              </a:ext>
            </a:extLst>
          </p:cNvPr>
          <p:cNvGraphicFramePr>
            <a:graphicFrameLocks noChangeAspect="1"/>
          </p:cNvGraphicFramePr>
          <p:nvPr>
            <p:custDataLst>
              <p:tags r:id="rId2"/>
            </p:custDataLst>
            <p:extLst>
              <p:ext uri="{D42A27DB-BD31-4B8C-83A1-F6EECF244321}">
                <p14:modId xmlns:p14="http://schemas.microsoft.com/office/powerpoint/2010/main" val="34632389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76825"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36697ED2-7864-804D-A838-3895B0E880A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7" name="Graphic 6">
            <a:extLst>
              <a:ext uri="{FF2B5EF4-FFF2-40B4-BE49-F238E27FC236}">
                <a16:creationId xmlns:a16="http://schemas.microsoft.com/office/drawing/2014/main" id="{C38FFA5E-DB10-9E4A-8BC3-341A85808E3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98109" y="2884787"/>
            <a:ext cx="3195782" cy="682026"/>
          </a:xfrm>
          <a:prstGeom prst="rect">
            <a:avLst/>
          </a:prstGeom>
        </p:spPr>
      </p:pic>
    </p:spTree>
    <p:extLst>
      <p:ext uri="{BB962C8B-B14F-4D97-AF65-F5344CB8AC3E}">
        <p14:creationId xmlns:p14="http://schemas.microsoft.com/office/powerpoint/2010/main" val="3248418216"/>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Agenda slide">
    <p:spTree>
      <p:nvGrpSpPr>
        <p:cNvPr id="1" name=""/>
        <p:cNvGrpSpPr/>
        <p:nvPr/>
      </p:nvGrpSpPr>
      <p:grpSpPr>
        <a:xfrm>
          <a:off x="0" y="0"/>
          <a:ext cx="0" cy="0"/>
          <a:chOff x="0" y="0"/>
          <a:chExt cx="0" cy="0"/>
        </a:xfrm>
      </p:grpSpPr>
      <p:sp>
        <p:nvSpPr>
          <p:cNvPr id="8" name="Title 3">
            <a:extLst>
              <a:ext uri="{FF2B5EF4-FFF2-40B4-BE49-F238E27FC236}">
                <a16:creationId xmlns:a16="http://schemas.microsoft.com/office/drawing/2014/main" id="{E17BC4B8-D150-4BA8-93A0-C48FE0AAAB7A}"/>
              </a:ext>
            </a:extLst>
          </p:cNvPr>
          <p:cNvSpPr txBox="1">
            <a:spLocks/>
          </p:cNvSpPr>
          <p:nvPr userDrawn="1"/>
        </p:nvSpPr>
        <p:spPr>
          <a:xfrm>
            <a:off x="799075" y="2864273"/>
            <a:ext cx="2591304" cy="760907"/>
          </a:xfrm>
          <a:prstGeom prst="rect">
            <a:avLst/>
          </a:prstGeom>
        </p:spPr>
        <p:txBody>
          <a:bodyPr vert="horz" lIns="0" tIns="0" rIns="0" bIns="0" rtlCol="0" anchor="ctr">
            <a:noAutofit/>
          </a:bodyPr>
          <a:lstStyle>
            <a:lvl1pPr algn="l" defTabSz="914400" rtl="0" eaLnBrk="1" latinLnBrk="0" hangingPunct="1">
              <a:spcBef>
                <a:spcPct val="0"/>
              </a:spcBef>
              <a:buNone/>
              <a:defRPr sz="2000" kern="1200">
                <a:solidFill>
                  <a:srgbClr val="00A9E0"/>
                </a:solidFill>
                <a:latin typeface="+mj-lt"/>
                <a:ea typeface="+mj-ea"/>
                <a:cs typeface="+mj-cs"/>
              </a:defRPr>
            </a:lvl1pPr>
          </a:lstStyle>
          <a:p>
            <a:r>
              <a:rPr lang="en-US" sz="2000" dirty="0">
                <a:solidFill>
                  <a:schemeClr val="accent1"/>
                </a:solidFill>
              </a:rPr>
              <a:t>Agenda</a:t>
            </a:r>
          </a:p>
        </p:txBody>
      </p:sp>
      <p:sp>
        <p:nvSpPr>
          <p:cNvPr id="6" name="Table Placeholder 5">
            <a:extLst>
              <a:ext uri="{FF2B5EF4-FFF2-40B4-BE49-F238E27FC236}">
                <a16:creationId xmlns:a16="http://schemas.microsoft.com/office/drawing/2014/main" id="{61F637FD-D272-41C4-8249-3D645E08E813}"/>
              </a:ext>
            </a:extLst>
          </p:cNvPr>
          <p:cNvSpPr>
            <a:spLocks noGrp="1"/>
          </p:cNvSpPr>
          <p:nvPr>
            <p:ph type="tbl" sz="quarter" idx="10" hasCustomPrompt="1"/>
          </p:nvPr>
        </p:nvSpPr>
        <p:spPr>
          <a:xfrm>
            <a:off x="3639237" y="1970761"/>
            <a:ext cx="4913529" cy="2547928"/>
          </a:xfrm>
        </p:spPr>
        <p:txBody>
          <a:bodyPr/>
          <a:lstStyle>
            <a:lvl1pPr marL="0" indent="0" algn="ctr">
              <a:buNone/>
              <a:defRPr i="1">
                <a:solidFill>
                  <a:schemeClr val="bg1">
                    <a:lumMod val="65000"/>
                  </a:schemeClr>
                </a:solidFill>
              </a:defRPr>
            </a:lvl1pPr>
          </a:lstStyle>
          <a:p>
            <a:r>
              <a:rPr lang="en-US" dirty="0"/>
              <a:t>Click to insert table</a:t>
            </a:r>
          </a:p>
        </p:txBody>
      </p:sp>
      <p:sp>
        <p:nvSpPr>
          <p:cNvPr id="9" name="Footer Placeholder 4">
            <a:extLst>
              <a:ext uri="{FF2B5EF4-FFF2-40B4-BE49-F238E27FC236}">
                <a16:creationId xmlns:a16="http://schemas.microsoft.com/office/drawing/2014/main" id="{B4BB518C-F02D-4A7A-85E6-B54DAE9A607F}"/>
              </a:ext>
            </a:extLst>
          </p:cNvPr>
          <p:cNvSpPr>
            <a:spLocks noGrp="1"/>
          </p:cNvSpPr>
          <p:nvPr>
            <p:ph type="ftr" sz="quarter" idx="3"/>
          </p:nvPr>
        </p:nvSpPr>
        <p:spPr>
          <a:xfrm>
            <a:off x="5134751" y="6322703"/>
            <a:ext cx="5753352" cy="366183"/>
          </a:xfrm>
          <a:prstGeom prst="rect">
            <a:avLst/>
          </a:prstGeom>
        </p:spPr>
        <p:txBody>
          <a:bodyPr vert="horz" lIns="91440" tIns="45720" rIns="91440" bIns="45720" rtlCol="0" anchor="ctr"/>
          <a:lstStyle>
            <a:lvl1pPr algn="r">
              <a:defRPr sz="800">
                <a:solidFill>
                  <a:schemeClr val="bg1"/>
                </a:solidFill>
              </a:defRPr>
            </a:lvl1pPr>
          </a:lstStyle>
          <a:p>
            <a:r>
              <a:rPr lang="en-US" dirty="0"/>
              <a:t>Disclosure (i.e. For Internal Use Only) – </a:t>
            </a:r>
            <a:r>
              <a:rPr lang="en-US" i="1" dirty="0"/>
              <a:t>click to modify</a:t>
            </a:r>
          </a:p>
        </p:txBody>
      </p:sp>
      <p:sp>
        <p:nvSpPr>
          <p:cNvPr id="10" name="TextBox 9">
            <a:extLst>
              <a:ext uri="{FF2B5EF4-FFF2-40B4-BE49-F238E27FC236}">
                <a16:creationId xmlns:a16="http://schemas.microsoft.com/office/drawing/2014/main" id="{FF32C669-5108-4AD7-981A-FA62F6B3166D}"/>
              </a:ext>
            </a:extLst>
          </p:cNvPr>
          <p:cNvSpPr txBox="1"/>
          <p:nvPr userDrawn="1"/>
        </p:nvSpPr>
        <p:spPr>
          <a:xfrm>
            <a:off x="1891566" y="-1056745"/>
            <a:ext cx="10037157" cy="538609"/>
          </a:xfrm>
          <a:prstGeom prst="rect">
            <a:avLst/>
          </a:prstGeom>
          <a:noFill/>
        </p:spPr>
        <p:txBody>
          <a:bodyPr wrap="square" rtlCol="0">
            <a:spAutoFit/>
          </a:bodyPr>
          <a:lstStyle/>
          <a:p>
            <a:r>
              <a:rPr lang="en-US" sz="1100" i="1" kern="1200" dirty="0">
                <a:solidFill>
                  <a:schemeClr val="bg1">
                    <a:lumMod val="50000"/>
                  </a:schemeClr>
                </a:solidFill>
                <a:latin typeface="+mn-lt"/>
                <a:ea typeface="+mn-ea"/>
                <a:cs typeface="+mn-cs"/>
              </a:rPr>
              <a:t>To</a:t>
            </a:r>
            <a:r>
              <a:rPr lang="en-US" sz="1800" dirty="0"/>
              <a:t> </a:t>
            </a:r>
            <a:r>
              <a:rPr lang="en-US" sz="1100" i="1" dirty="0">
                <a:solidFill>
                  <a:schemeClr val="bg1">
                    <a:lumMod val="50000"/>
                  </a:schemeClr>
                </a:solidFill>
              </a:rPr>
              <a:t>add more rows to your agenda, click on the last row of the table and press Tab on your keyboard.</a:t>
            </a:r>
          </a:p>
          <a:p>
            <a:r>
              <a:rPr lang="en-US" sz="1100" i="1" dirty="0">
                <a:solidFill>
                  <a:schemeClr val="bg1">
                    <a:lumMod val="50000"/>
                  </a:schemeClr>
                </a:solidFill>
              </a:rPr>
              <a:t>To delete rows, right click in row, click Delete &gt; Delete Rows</a:t>
            </a:r>
          </a:p>
        </p:txBody>
      </p:sp>
      <p:grpSp>
        <p:nvGrpSpPr>
          <p:cNvPr id="11" name="Group 10">
            <a:extLst>
              <a:ext uri="{FF2B5EF4-FFF2-40B4-BE49-F238E27FC236}">
                <a16:creationId xmlns:a16="http://schemas.microsoft.com/office/drawing/2014/main" id="{C8BA2027-A496-4C31-AD40-9F204688B87F}"/>
              </a:ext>
            </a:extLst>
          </p:cNvPr>
          <p:cNvGrpSpPr/>
          <p:nvPr userDrawn="1"/>
        </p:nvGrpSpPr>
        <p:grpSpPr>
          <a:xfrm>
            <a:off x="1170946" y="-980671"/>
            <a:ext cx="565997" cy="629832"/>
            <a:chOff x="576263" y="2547938"/>
            <a:chExt cx="633412" cy="704850"/>
          </a:xfrm>
          <a:solidFill>
            <a:schemeClr val="tx2"/>
          </a:solidFill>
        </p:grpSpPr>
        <p:sp>
          <p:nvSpPr>
            <p:cNvPr id="12" name="Freeform 12">
              <a:extLst>
                <a:ext uri="{FF2B5EF4-FFF2-40B4-BE49-F238E27FC236}">
                  <a16:creationId xmlns:a16="http://schemas.microsoft.com/office/drawing/2014/main" id="{394C5CEB-0F05-469D-8DFD-260C5439A5D0}"/>
                </a:ext>
              </a:extLst>
            </p:cNvPr>
            <p:cNvSpPr>
              <a:spLocks/>
            </p:cNvSpPr>
            <p:nvPr/>
          </p:nvSpPr>
          <p:spPr bwMode="auto">
            <a:xfrm>
              <a:off x="863600" y="2547938"/>
              <a:ext cx="57150" cy="119063"/>
            </a:xfrm>
            <a:custGeom>
              <a:avLst/>
              <a:gdLst>
                <a:gd name="T0" fmla="*/ 5 w 228"/>
                <a:gd name="T1" fmla="*/ 287 h 477"/>
                <a:gd name="T2" fmla="*/ 5 w 228"/>
                <a:gd name="T3" fmla="*/ 364 h 477"/>
                <a:gd name="T4" fmla="*/ 115 w 228"/>
                <a:gd name="T5" fmla="*/ 477 h 477"/>
                <a:gd name="T6" fmla="*/ 116 w 228"/>
                <a:gd name="T7" fmla="*/ 477 h 477"/>
                <a:gd name="T8" fmla="*/ 223 w 228"/>
                <a:gd name="T9" fmla="*/ 364 h 477"/>
                <a:gd name="T10" fmla="*/ 223 w 228"/>
                <a:gd name="T11" fmla="*/ 290 h 477"/>
                <a:gd name="T12" fmla="*/ 224 w 228"/>
                <a:gd name="T13" fmla="*/ 141 h 477"/>
                <a:gd name="T14" fmla="*/ 148 w 228"/>
                <a:gd name="T15" fmla="*/ 4 h 477"/>
                <a:gd name="T16" fmla="*/ 138 w 228"/>
                <a:gd name="T17" fmla="*/ 0 h 477"/>
                <a:gd name="T18" fmla="*/ 90 w 228"/>
                <a:gd name="T19" fmla="*/ 0 h 477"/>
                <a:gd name="T20" fmla="*/ 81 w 228"/>
                <a:gd name="T21" fmla="*/ 4 h 477"/>
                <a:gd name="T22" fmla="*/ 4 w 228"/>
                <a:gd name="T23" fmla="*/ 141 h 477"/>
                <a:gd name="T24" fmla="*/ 5 w 228"/>
                <a:gd name="T25" fmla="*/ 28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477">
                  <a:moveTo>
                    <a:pt x="5" y="287"/>
                  </a:moveTo>
                  <a:cubicBezTo>
                    <a:pt x="5" y="312"/>
                    <a:pt x="5" y="338"/>
                    <a:pt x="5" y="364"/>
                  </a:cubicBezTo>
                  <a:cubicBezTo>
                    <a:pt x="5" y="431"/>
                    <a:pt x="50" y="477"/>
                    <a:pt x="115" y="477"/>
                  </a:cubicBezTo>
                  <a:cubicBezTo>
                    <a:pt x="116" y="477"/>
                    <a:pt x="116" y="477"/>
                    <a:pt x="116" y="477"/>
                  </a:cubicBezTo>
                  <a:cubicBezTo>
                    <a:pt x="178" y="477"/>
                    <a:pt x="223" y="429"/>
                    <a:pt x="223" y="364"/>
                  </a:cubicBezTo>
                  <a:cubicBezTo>
                    <a:pt x="223" y="340"/>
                    <a:pt x="223" y="314"/>
                    <a:pt x="223" y="290"/>
                  </a:cubicBezTo>
                  <a:cubicBezTo>
                    <a:pt x="223" y="241"/>
                    <a:pt x="222" y="190"/>
                    <a:pt x="224" y="141"/>
                  </a:cubicBezTo>
                  <a:cubicBezTo>
                    <a:pt x="225" y="116"/>
                    <a:pt x="228" y="41"/>
                    <a:pt x="148" y="4"/>
                  </a:cubicBezTo>
                  <a:cubicBezTo>
                    <a:pt x="138" y="0"/>
                    <a:pt x="138" y="0"/>
                    <a:pt x="138" y="0"/>
                  </a:cubicBezTo>
                  <a:cubicBezTo>
                    <a:pt x="90" y="0"/>
                    <a:pt x="90" y="0"/>
                    <a:pt x="90" y="0"/>
                  </a:cubicBezTo>
                  <a:cubicBezTo>
                    <a:pt x="81" y="4"/>
                    <a:pt x="81" y="4"/>
                    <a:pt x="81" y="4"/>
                  </a:cubicBezTo>
                  <a:cubicBezTo>
                    <a:pt x="0" y="40"/>
                    <a:pt x="3" y="116"/>
                    <a:pt x="4" y="141"/>
                  </a:cubicBezTo>
                  <a:cubicBezTo>
                    <a:pt x="6" y="189"/>
                    <a:pt x="5" y="239"/>
                    <a:pt x="5" y="2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3" name="Freeform 13">
              <a:extLst>
                <a:ext uri="{FF2B5EF4-FFF2-40B4-BE49-F238E27FC236}">
                  <a16:creationId xmlns:a16="http://schemas.microsoft.com/office/drawing/2014/main" id="{D6CFB3A5-256C-42C9-9843-9855AD7ECB0A}"/>
                </a:ext>
              </a:extLst>
            </p:cNvPr>
            <p:cNvSpPr>
              <a:spLocks/>
            </p:cNvSpPr>
            <p:nvPr/>
          </p:nvSpPr>
          <p:spPr bwMode="auto">
            <a:xfrm>
              <a:off x="576263" y="2836863"/>
              <a:ext cx="119063" cy="55563"/>
            </a:xfrm>
            <a:custGeom>
              <a:avLst/>
              <a:gdLst>
                <a:gd name="T0" fmla="*/ 447 w 477"/>
                <a:gd name="T1" fmla="*/ 187 h 221"/>
                <a:gd name="T2" fmla="*/ 476 w 477"/>
                <a:gd name="T3" fmla="*/ 109 h 221"/>
                <a:gd name="T4" fmla="*/ 359 w 477"/>
                <a:gd name="T5" fmla="*/ 1 h 221"/>
                <a:gd name="T6" fmla="*/ 351 w 477"/>
                <a:gd name="T7" fmla="*/ 1 h 221"/>
                <a:gd name="T8" fmla="*/ 289 w 477"/>
                <a:gd name="T9" fmla="*/ 1 h 221"/>
                <a:gd name="T10" fmla="*/ 228 w 477"/>
                <a:gd name="T11" fmla="*/ 1 h 221"/>
                <a:gd name="T12" fmla="*/ 142 w 477"/>
                <a:gd name="T13" fmla="*/ 0 h 221"/>
                <a:gd name="T14" fmla="*/ 132 w 477"/>
                <a:gd name="T15" fmla="*/ 0 h 221"/>
                <a:gd name="T16" fmla="*/ 5 w 477"/>
                <a:gd name="T17" fmla="*/ 74 h 221"/>
                <a:gd name="T18" fmla="*/ 0 w 477"/>
                <a:gd name="T19" fmla="*/ 85 h 221"/>
                <a:gd name="T20" fmla="*/ 0 w 477"/>
                <a:gd name="T21" fmla="*/ 132 h 221"/>
                <a:gd name="T22" fmla="*/ 3 w 477"/>
                <a:gd name="T23" fmla="*/ 141 h 221"/>
                <a:gd name="T24" fmla="*/ 130 w 477"/>
                <a:gd name="T25" fmla="*/ 221 h 221"/>
                <a:gd name="T26" fmla="*/ 137 w 477"/>
                <a:gd name="T27" fmla="*/ 221 h 221"/>
                <a:gd name="T28" fmla="*/ 222 w 477"/>
                <a:gd name="T29" fmla="*/ 220 h 221"/>
                <a:gd name="T30" fmla="*/ 278 w 477"/>
                <a:gd name="T31" fmla="*/ 220 h 221"/>
                <a:gd name="T32" fmla="*/ 360 w 477"/>
                <a:gd name="T33" fmla="*/ 220 h 221"/>
                <a:gd name="T34" fmla="*/ 447 w 477"/>
                <a:gd name="T35" fmla="*/ 18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7" h="221">
                  <a:moveTo>
                    <a:pt x="447" y="187"/>
                  </a:moveTo>
                  <a:cubicBezTo>
                    <a:pt x="467" y="167"/>
                    <a:pt x="477" y="140"/>
                    <a:pt x="476" y="109"/>
                  </a:cubicBezTo>
                  <a:cubicBezTo>
                    <a:pt x="475" y="44"/>
                    <a:pt x="428" y="1"/>
                    <a:pt x="359" y="1"/>
                  </a:cubicBezTo>
                  <a:cubicBezTo>
                    <a:pt x="351" y="1"/>
                    <a:pt x="351" y="1"/>
                    <a:pt x="351" y="1"/>
                  </a:cubicBezTo>
                  <a:cubicBezTo>
                    <a:pt x="331" y="1"/>
                    <a:pt x="310" y="1"/>
                    <a:pt x="289" y="1"/>
                  </a:cubicBezTo>
                  <a:cubicBezTo>
                    <a:pt x="269" y="1"/>
                    <a:pt x="248" y="1"/>
                    <a:pt x="228" y="1"/>
                  </a:cubicBezTo>
                  <a:cubicBezTo>
                    <a:pt x="194" y="1"/>
                    <a:pt x="167" y="1"/>
                    <a:pt x="142" y="0"/>
                  </a:cubicBezTo>
                  <a:cubicBezTo>
                    <a:pt x="139" y="0"/>
                    <a:pt x="135" y="0"/>
                    <a:pt x="132" y="0"/>
                  </a:cubicBezTo>
                  <a:cubicBezTo>
                    <a:pt x="72" y="0"/>
                    <a:pt x="29" y="25"/>
                    <a:pt x="5" y="74"/>
                  </a:cubicBezTo>
                  <a:cubicBezTo>
                    <a:pt x="0" y="85"/>
                    <a:pt x="0" y="85"/>
                    <a:pt x="0" y="85"/>
                  </a:cubicBezTo>
                  <a:cubicBezTo>
                    <a:pt x="0" y="132"/>
                    <a:pt x="0" y="132"/>
                    <a:pt x="0" y="132"/>
                  </a:cubicBezTo>
                  <a:cubicBezTo>
                    <a:pt x="3" y="141"/>
                    <a:pt x="3" y="141"/>
                    <a:pt x="3" y="141"/>
                  </a:cubicBezTo>
                  <a:cubicBezTo>
                    <a:pt x="25" y="194"/>
                    <a:pt x="68" y="221"/>
                    <a:pt x="130" y="221"/>
                  </a:cubicBezTo>
                  <a:cubicBezTo>
                    <a:pt x="132" y="221"/>
                    <a:pt x="135" y="221"/>
                    <a:pt x="137" y="221"/>
                  </a:cubicBezTo>
                  <a:cubicBezTo>
                    <a:pt x="162" y="220"/>
                    <a:pt x="189" y="220"/>
                    <a:pt x="222" y="220"/>
                  </a:cubicBezTo>
                  <a:cubicBezTo>
                    <a:pt x="241" y="220"/>
                    <a:pt x="260" y="220"/>
                    <a:pt x="278" y="220"/>
                  </a:cubicBezTo>
                  <a:cubicBezTo>
                    <a:pt x="306" y="220"/>
                    <a:pt x="333" y="220"/>
                    <a:pt x="360" y="220"/>
                  </a:cubicBezTo>
                  <a:cubicBezTo>
                    <a:pt x="396" y="220"/>
                    <a:pt x="426" y="208"/>
                    <a:pt x="447" y="1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4" name="Freeform 14">
              <a:extLst>
                <a:ext uri="{FF2B5EF4-FFF2-40B4-BE49-F238E27FC236}">
                  <a16:creationId xmlns:a16="http://schemas.microsoft.com/office/drawing/2014/main" id="{1889785F-DD29-441B-99B7-022CA515A142}"/>
                </a:ext>
              </a:extLst>
            </p:cNvPr>
            <p:cNvSpPr>
              <a:spLocks/>
            </p:cNvSpPr>
            <p:nvPr/>
          </p:nvSpPr>
          <p:spPr bwMode="auto">
            <a:xfrm>
              <a:off x="1089025" y="2836863"/>
              <a:ext cx="120650" cy="55563"/>
            </a:xfrm>
            <a:custGeom>
              <a:avLst/>
              <a:gdLst>
                <a:gd name="T0" fmla="*/ 473 w 477"/>
                <a:gd name="T1" fmla="*/ 81 h 221"/>
                <a:gd name="T2" fmla="*/ 365 w 477"/>
                <a:gd name="T3" fmla="*/ 1 h 221"/>
                <a:gd name="T4" fmla="*/ 306 w 477"/>
                <a:gd name="T5" fmla="*/ 0 h 221"/>
                <a:gd name="T6" fmla="*/ 225 w 477"/>
                <a:gd name="T7" fmla="*/ 0 h 221"/>
                <a:gd name="T8" fmla="*/ 109 w 477"/>
                <a:gd name="T9" fmla="*/ 1 h 221"/>
                <a:gd name="T10" fmla="*/ 31 w 477"/>
                <a:gd name="T11" fmla="*/ 33 h 221"/>
                <a:gd name="T12" fmla="*/ 1 w 477"/>
                <a:gd name="T13" fmla="*/ 115 h 221"/>
                <a:gd name="T14" fmla="*/ 114 w 477"/>
                <a:gd name="T15" fmla="*/ 220 h 221"/>
                <a:gd name="T16" fmla="*/ 204 w 477"/>
                <a:gd name="T17" fmla="*/ 220 h 221"/>
                <a:gd name="T18" fmla="*/ 253 w 477"/>
                <a:gd name="T19" fmla="*/ 220 h 221"/>
                <a:gd name="T20" fmla="*/ 337 w 477"/>
                <a:gd name="T21" fmla="*/ 221 h 221"/>
                <a:gd name="T22" fmla="*/ 346 w 477"/>
                <a:gd name="T23" fmla="*/ 221 h 221"/>
                <a:gd name="T24" fmla="*/ 474 w 477"/>
                <a:gd name="T25" fmla="*/ 141 h 221"/>
                <a:gd name="T26" fmla="*/ 477 w 477"/>
                <a:gd name="T27" fmla="*/ 132 h 221"/>
                <a:gd name="T28" fmla="*/ 477 w 477"/>
                <a:gd name="T29" fmla="*/ 91 h 221"/>
                <a:gd name="T30" fmla="*/ 473 w 477"/>
                <a:gd name="T31" fmla="*/ 8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77" h="221">
                  <a:moveTo>
                    <a:pt x="473" y="81"/>
                  </a:moveTo>
                  <a:cubicBezTo>
                    <a:pt x="463" y="59"/>
                    <a:pt x="436" y="1"/>
                    <a:pt x="365" y="1"/>
                  </a:cubicBezTo>
                  <a:cubicBezTo>
                    <a:pt x="346" y="0"/>
                    <a:pt x="326" y="0"/>
                    <a:pt x="306" y="0"/>
                  </a:cubicBezTo>
                  <a:cubicBezTo>
                    <a:pt x="279" y="0"/>
                    <a:pt x="252" y="0"/>
                    <a:pt x="225" y="0"/>
                  </a:cubicBezTo>
                  <a:cubicBezTo>
                    <a:pt x="180" y="0"/>
                    <a:pt x="143" y="0"/>
                    <a:pt x="109" y="1"/>
                  </a:cubicBezTo>
                  <a:cubicBezTo>
                    <a:pt x="78" y="1"/>
                    <a:pt x="51" y="13"/>
                    <a:pt x="31" y="33"/>
                  </a:cubicBezTo>
                  <a:cubicBezTo>
                    <a:pt x="10" y="54"/>
                    <a:pt x="0" y="83"/>
                    <a:pt x="1" y="115"/>
                  </a:cubicBezTo>
                  <a:cubicBezTo>
                    <a:pt x="3" y="177"/>
                    <a:pt x="48" y="219"/>
                    <a:pt x="114" y="220"/>
                  </a:cubicBezTo>
                  <a:cubicBezTo>
                    <a:pt x="144" y="220"/>
                    <a:pt x="174" y="220"/>
                    <a:pt x="204" y="220"/>
                  </a:cubicBezTo>
                  <a:cubicBezTo>
                    <a:pt x="220" y="220"/>
                    <a:pt x="237" y="220"/>
                    <a:pt x="253" y="220"/>
                  </a:cubicBezTo>
                  <a:cubicBezTo>
                    <a:pt x="287" y="220"/>
                    <a:pt x="313" y="220"/>
                    <a:pt x="337" y="221"/>
                  </a:cubicBezTo>
                  <a:cubicBezTo>
                    <a:pt x="340" y="221"/>
                    <a:pt x="343" y="221"/>
                    <a:pt x="346" y="221"/>
                  </a:cubicBezTo>
                  <a:cubicBezTo>
                    <a:pt x="408" y="221"/>
                    <a:pt x="451" y="194"/>
                    <a:pt x="474" y="141"/>
                  </a:cubicBezTo>
                  <a:cubicBezTo>
                    <a:pt x="477" y="132"/>
                    <a:pt x="477" y="132"/>
                    <a:pt x="477" y="132"/>
                  </a:cubicBezTo>
                  <a:cubicBezTo>
                    <a:pt x="477" y="91"/>
                    <a:pt x="477" y="91"/>
                    <a:pt x="477" y="91"/>
                  </a:cubicBezTo>
                  <a:lnTo>
                    <a:pt x="473"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5" name="Freeform 15">
              <a:extLst>
                <a:ext uri="{FF2B5EF4-FFF2-40B4-BE49-F238E27FC236}">
                  <a16:creationId xmlns:a16="http://schemas.microsoft.com/office/drawing/2014/main" id="{15F3BEC0-0FF3-4DE0-992E-4F0774CCB902}"/>
                </a:ext>
              </a:extLst>
            </p:cNvPr>
            <p:cNvSpPr>
              <a:spLocks/>
            </p:cNvSpPr>
            <p:nvPr/>
          </p:nvSpPr>
          <p:spPr bwMode="auto">
            <a:xfrm>
              <a:off x="1020763" y="2995613"/>
              <a:ext cx="106363" cy="101600"/>
            </a:xfrm>
            <a:custGeom>
              <a:avLst/>
              <a:gdLst>
                <a:gd name="T0" fmla="*/ 200 w 422"/>
                <a:gd name="T1" fmla="*/ 34 h 407"/>
                <a:gd name="T2" fmla="*/ 121 w 422"/>
                <a:gd name="T3" fmla="*/ 0 h 407"/>
                <a:gd name="T4" fmla="*/ 44 w 422"/>
                <a:gd name="T5" fmla="*/ 34 h 407"/>
                <a:gd name="T6" fmla="*/ 46 w 422"/>
                <a:gd name="T7" fmla="*/ 190 h 407"/>
                <a:gd name="T8" fmla="*/ 224 w 422"/>
                <a:gd name="T9" fmla="*/ 369 h 407"/>
                <a:gd name="T10" fmla="*/ 267 w 422"/>
                <a:gd name="T11" fmla="*/ 395 h 407"/>
                <a:gd name="T12" fmla="*/ 278 w 422"/>
                <a:gd name="T13" fmla="*/ 400 h 407"/>
                <a:gd name="T14" fmla="*/ 293 w 422"/>
                <a:gd name="T15" fmla="*/ 407 h 407"/>
                <a:gd name="T16" fmla="*/ 309 w 422"/>
                <a:gd name="T17" fmla="*/ 405 h 407"/>
                <a:gd name="T18" fmla="*/ 402 w 422"/>
                <a:gd name="T19" fmla="*/ 337 h 407"/>
                <a:gd name="T20" fmla="*/ 382 w 422"/>
                <a:gd name="T21" fmla="*/ 216 h 407"/>
                <a:gd name="T22" fmla="*/ 200 w 422"/>
                <a:gd name="T23" fmla="*/ 34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2" h="407">
                  <a:moveTo>
                    <a:pt x="200" y="34"/>
                  </a:moveTo>
                  <a:cubicBezTo>
                    <a:pt x="178" y="12"/>
                    <a:pt x="150" y="0"/>
                    <a:pt x="121" y="0"/>
                  </a:cubicBezTo>
                  <a:cubicBezTo>
                    <a:pt x="93" y="0"/>
                    <a:pt x="65" y="12"/>
                    <a:pt x="44" y="34"/>
                  </a:cubicBezTo>
                  <a:cubicBezTo>
                    <a:pt x="0" y="78"/>
                    <a:pt x="1" y="145"/>
                    <a:pt x="46" y="190"/>
                  </a:cubicBezTo>
                  <a:cubicBezTo>
                    <a:pt x="117" y="263"/>
                    <a:pt x="172" y="318"/>
                    <a:pt x="224" y="369"/>
                  </a:cubicBezTo>
                  <a:cubicBezTo>
                    <a:pt x="238" y="382"/>
                    <a:pt x="254" y="389"/>
                    <a:pt x="267" y="395"/>
                  </a:cubicBezTo>
                  <a:cubicBezTo>
                    <a:pt x="271" y="397"/>
                    <a:pt x="275" y="398"/>
                    <a:pt x="278" y="400"/>
                  </a:cubicBezTo>
                  <a:cubicBezTo>
                    <a:pt x="293" y="407"/>
                    <a:pt x="293" y="407"/>
                    <a:pt x="293" y="407"/>
                  </a:cubicBezTo>
                  <a:cubicBezTo>
                    <a:pt x="309" y="405"/>
                    <a:pt x="309" y="405"/>
                    <a:pt x="309" y="405"/>
                  </a:cubicBezTo>
                  <a:cubicBezTo>
                    <a:pt x="353" y="398"/>
                    <a:pt x="385" y="375"/>
                    <a:pt x="402" y="337"/>
                  </a:cubicBezTo>
                  <a:cubicBezTo>
                    <a:pt x="422" y="294"/>
                    <a:pt x="415" y="249"/>
                    <a:pt x="382" y="216"/>
                  </a:cubicBezTo>
                  <a:cubicBezTo>
                    <a:pt x="318" y="151"/>
                    <a:pt x="258" y="91"/>
                    <a:pt x="200"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6" name="Freeform 16">
              <a:extLst>
                <a:ext uri="{FF2B5EF4-FFF2-40B4-BE49-F238E27FC236}">
                  <a16:creationId xmlns:a16="http://schemas.microsoft.com/office/drawing/2014/main" id="{100B0E1F-8499-46E3-A77F-AF2722F8A249}"/>
                </a:ext>
              </a:extLst>
            </p:cNvPr>
            <p:cNvSpPr>
              <a:spLocks/>
            </p:cNvSpPr>
            <p:nvPr/>
          </p:nvSpPr>
          <p:spPr bwMode="auto">
            <a:xfrm>
              <a:off x="658813" y="2995613"/>
              <a:ext cx="106363" cy="103188"/>
            </a:xfrm>
            <a:custGeom>
              <a:avLst/>
              <a:gdLst>
                <a:gd name="T0" fmla="*/ 301 w 422"/>
                <a:gd name="T1" fmla="*/ 0 h 408"/>
                <a:gd name="T2" fmla="*/ 218 w 422"/>
                <a:gd name="T3" fmla="*/ 37 h 408"/>
                <a:gd name="T4" fmla="*/ 149 w 422"/>
                <a:gd name="T5" fmla="*/ 106 h 408"/>
                <a:gd name="T6" fmla="*/ 121 w 422"/>
                <a:gd name="T7" fmla="*/ 134 h 408"/>
                <a:gd name="T8" fmla="*/ 98 w 422"/>
                <a:gd name="T9" fmla="*/ 157 h 408"/>
                <a:gd name="T10" fmla="*/ 40 w 422"/>
                <a:gd name="T11" fmla="*/ 216 h 408"/>
                <a:gd name="T12" fmla="*/ 19 w 422"/>
                <a:gd name="T13" fmla="*/ 337 h 408"/>
                <a:gd name="T14" fmla="*/ 113 w 422"/>
                <a:gd name="T15" fmla="*/ 405 h 408"/>
                <a:gd name="T16" fmla="*/ 130 w 422"/>
                <a:gd name="T17" fmla="*/ 408 h 408"/>
                <a:gd name="T18" fmla="*/ 145 w 422"/>
                <a:gd name="T19" fmla="*/ 400 h 408"/>
                <a:gd name="T20" fmla="*/ 157 w 422"/>
                <a:gd name="T21" fmla="*/ 393 h 408"/>
                <a:gd name="T22" fmla="*/ 201 w 422"/>
                <a:gd name="T23" fmla="*/ 365 h 408"/>
                <a:gd name="T24" fmla="*/ 374 w 422"/>
                <a:gd name="T25" fmla="*/ 193 h 408"/>
                <a:gd name="T26" fmla="*/ 379 w 422"/>
                <a:gd name="T27" fmla="*/ 35 h 408"/>
                <a:gd name="T28" fmla="*/ 301 w 422"/>
                <a:gd name="T29" fmla="*/ 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2" h="408">
                  <a:moveTo>
                    <a:pt x="301" y="0"/>
                  </a:moveTo>
                  <a:cubicBezTo>
                    <a:pt x="271" y="0"/>
                    <a:pt x="243" y="13"/>
                    <a:pt x="218" y="37"/>
                  </a:cubicBezTo>
                  <a:cubicBezTo>
                    <a:pt x="195" y="60"/>
                    <a:pt x="171" y="84"/>
                    <a:pt x="149" y="106"/>
                  </a:cubicBezTo>
                  <a:cubicBezTo>
                    <a:pt x="140" y="116"/>
                    <a:pt x="131" y="125"/>
                    <a:pt x="121" y="134"/>
                  </a:cubicBezTo>
                  <a:cubicBezTo>
                    <a:pt x="114" y="142"/>
                    <a:pt x="106" y="149"/>
                    <a:pt x="98" y="157"/>
                  </a:cubicBezTo>
                  <a:cubicBezTo>
                    <a:pt x="79" y="176"/>
                    <a:pt x="59" y="196"/>
                    <a:pt x="40" y="216"/>
                  </a:cubicBezTo>
                  <a:cubicBezTo>
                    <a:pt x="7" y="250"/>
                    <a:pt x="0" y="294"/>
                    <a:pt x="19" y="337"/>
                  </a:cubicBezTo>
                  <a:cubicBezTo>
                    <a:pt x="37" y="375"/>
                    <a:pt x="68" y="398"/>
                    <a:pt x="113" y="405"/>
                  </a:cubicBezTo>
                  <a:cubicBezTo>
                    <a:pt x="130" y="408"/>
                    <a:pt x="130" y="408"/>
                    <a:pt x="130" y="408"/>
                  </a:cubicBezTo>
                  <a:cubicBezTo>
                    <a:pt x="145" y="400"/>
                    <a:pt x="145" y="400"/>
                    <a:pt x="145" y="400"/>
                  </a:cubicBezTo>
                  <a:cubicBezTo>
                    <a:pt x="148" y="398"/>
                    <a:pt x="152" y="396"/>
                    <a:pt x="157" y="393"/>
                  </a:cubicBezTo>
                  <a:cubicBezTo>
                    <a:pt x="170" y="387"/>
                    <a:pt x="187" y="379"/>
                    <a:pt x="201" y="365"/>
                  </a:cubicBezTo>
                  <a:cubicBezTo>
                    <a:pt x="261" y="308"/>
                    <a:pt x="321" y="247"/>
                    <a:pt x="374" y="193"/>
                  </a:cubicBezTo>
                  <a:cubicBezTo>
                    <a:pt x="420" y="146"/>
                    <a:pt x="422" y="79"/>
                    <a:pt x="379" y="35"/>
                  </a:cubicBezTo>
                  <a:cubicBezTo>
                    <a:pt x="357" y="13"/>
                    <a:pt x="330" y="0"/>
                    <a:pt x="3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7" name="Freeform 17">
              <a:extLst>
                <a:ext uri="{FF2B5EF4-FFF2-40B4-BE49-F238E27FC236}">
                  <a16:creationId xmlns:a16="http://schemas.microsoft.com/office/drawing/2014/main" id="{CC77DF32-B036-46AE-AFA0-9522D11CBCE2}"/>
                </a:ext>
              </a:extLst>
            </p:cNvPr>
            <p:cNvSpPr>
              <a:spLocks/>
            </p:cNvSpPr>
            <p:nvPr/>
          </p:nvSpPr>
          <p:spPr bwMode="auto">
            <a:xfrm>
              <a:off x="657225" y="2632075"/>
              <a:ext cx="104775" cy="101600"/>
            </a:xfrm>
            <a:custGeom>
              <a:avLst/>
              <a:gdLst>
                <a:gd name="T0" fmla="*/ 229 w 413"/>
                <a:gd name="T1" fmla="*/ 373 h 402"/>
                <a:gd name="T2" fmla="*/ 300 w 413"/>
                <a:gd name="T3" fmla="*/ 402 h 402"/>
                <a:gd name="T4" fmla="*/ 347 w 413"/>
                <a:gd name="T5" fmla="*/ 392 h 402"/>
                <a:gd name="T6" fmla="*/ 413 w 413"/>
                <a:gd name="T7" fmla="*/ 285 h 402"/>
                <a:gd name="T8" fmla="*/ 413 w 413"/>
                <a:gd name="T9" fmla="*/ 274 h 402"/>
                <a:gd name="T10" fmla="*/ 409 w 413"/>
                <a:gd name="T11" fmla="*/ 265 h 402"/>
                <a:gd name="T12" fmla="*/ 408 w 413"/>
                <a:gd name="T13" fmla="*/ 263 h 402"/>
                <a:gd name="T14" fmla="*/ 384 w 413"/>
                <a:gd name="T15" fmla="*/ 218 h 402"/>
                <a:gd name="T16" fmla="*/ 195 w 413"/>
                <a:gd name="T17" fmla="*/ 30 h 402"/>
                <a:gd name="T18" fmla="*/ 123 w 413"/>
                <a:gd name="T19" fmla="*/ 0 h 402"/>
                <a:gd name="T20" fmla="*/ 46 w 413"/>
                <a:gd name="T21" fmla="*/ 32 h 402"/>
                <a:gd name="T22" fmla="*/ 42 w 413"/>
                <a:gd name="T23" fmla="*/ 185 h 402"/>
                <a:gd name="T24" fmla="*/ 229 w 413"/>
                <a:gd name="T25" fmla="*/ 373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3" h="402">
                  <a:moveTo>
                    <a:pt x="229" y="373"/>
                  </a:moveTo>
                  <a:cubicBezTo>
                    <a:pt x="248" y="392"/>
                    <a:pt x="273" y="402"/>
                    <a:pt x="300" y="402"/>
                  </a:cubicBezTo>
                  <a:cubicBezTo>
                    <a:pt x="315" y="402"/>
                    <a:pt x="331" y="399"/>
                    <a:pt x="347" y="392"/>
                  </a:cubicBezTo>
                  <a:cubicBezTo>
                    <a:pt x="376" y="380"/>
                    <a:pt x="411" y="352"/>
                    <a:pt x="413" y="285"/>
                  </a:cubicBezTo>
                  <a:cubicBezTo>
                    <a:pt x="413" y="274"/>
                    <a:pt x="413" y="274"/>
                    <a:pt x="413" y="274"/>
                  </a:cubicBezTo>
                  <a:cubicBezTo>
                    <a:pt x="409" y="265"/>
                    <a:pt x="409" y="265"/>
                    <a:pt x="409" y="265"/>
                  </a:cubicBezTo>
                  <a:cubicBezTo>
                    <a:pt x="409" y="264"/>
                    <a:pt x="408" y="264"/>
                    <a:pt x="408" y="263"/>
                  </a:cubicBezTo>
                  <a:cubicBezTo>
                    <a:pt x="405" y="252"/>
                    <a:pt x="399" y="233"/>
                    <a:pt x="384" y="218"/>
                  </a:cubicBezTo>
                  <a:cubicBezTo>
                    <a:pt x="316" y="148"/>
                    <a:pt x="254" y="87"/>
                    <a:pt x="195" y="30"/>
                  </a:cubicBezTo>
                  <a:cubicBezTo>
                    <a:pt x="176" y="11"/>
                    <a:pt x="150" y="0"/>
                    <a:pt x="123" y="0"/>
                  </a:cubicBezTo>
                  <a:cubicBezTo>
                    <a:pt x="95" y="0"/>
                    <a:pt x="67" y="12"/>
                    <a:pt x="46" y="32"/>
                  </a:cubicBezTo>
                  <a:cubicBezTo>
                    <a:pt x="2" y="75"/>
                    <a:pt x="0" y="142"/>
                    <a:pt x="42" y="185"/>
                  </a:cubicBezTo>
                  <a:cubicBezTo>
                    <a:pt x="109" y="255"/>
                    <a:pt x="177" y="322"/>
                    <a:pt x="229" y="3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8" name="Freeform 18">
              <a:extLst>
                <a:ext uri="{FF2B5EF4-FFF2-40B4-BE49-F238E27FC236}">
                  <a16:creationId xmlns:a16="http://schemas.microsoft.com/office/drawing/2014/main" id="{BC43E4BB-AB4D-48CA-8D66-D40D3992587F}"/>
                </a:ext>
              </a:extLst>
            </p:cNvPr>
            <p:cNvSpPr>
              <a:spLocks/>
            </p:cNvSpPr>
            <p:nvPr/>
          </p:nvSpPr>
          <p:spPr bwMode="auto">
            <a:xfrm>
              <a:off x="1020763" y="2632075"/>
              <a:ext cx="106363" cy="101600"/>
            </a:xfrm>
            <a:custGeom>
              <a:avLst/>
              <a:gdLst>
                <a:gd name="T0" fmla="*/ 117 w 421"/>
                <a:gd name="T1" fmla="*/ 404 h 405"/>
                <a:gd name="T2" fmla="*/ 130 w 421"/>
                <a:gd name="T3" fmla="*/ 405 h 405"/>
                <a:gd name="T4" fmla="*/ 141 w 421"/>
                <a:gd name="T5" fmla="*/ 400 h 405"/>
                <a:gd name="T6" fmla="*/ 150 w 421"/>
                <a:gd name="T7" fmla="*/ 397 h 405"/>
                <a:gd name="T8" fmla="*/ 192 w 421"/>
                <a:gd name="T9" fmla="*/ 373 h 405"/>
                <a:gd name="T10" fmla="*/ 380 w 421"/>
                <a:gd name="T11" fmla="*/ 185 h 405"/>
                <a:gd name="T12" fmla="*/ 379 w 421"/>
                <a:gd name="T13" fmla="*/ 36 h 405"/>
                <a:gd name="T14" fmla="*/ 299 w 421"/>
                <a:gd name="T15" fmla="*/ 0 h 405"/>
                <a:gd name="T16" fmla="*/ 226 w 421"/>
                <a:gd name="T17" fmla="*/ 30 h 405"/>
                <a:gd name="T18" fmla="*/ 37 w 421"/>
                <a:gd name="T19" fmla="*/ 220 h 405"/>
                <a:gd name="T20" fmla="*/ 20 w 421"/>
                <a:gd name="T21" fmla="*/ 340 h 405"/>
                <a:gd name="T22" fmla="*/ 117 w 421"/>
                <a:gd name="T23" fmla="*/ 404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1" h="405">
                  <a:moveTo>
                    <a:pt x="117" y="404"/>
                  </a:moveTo>
                  <a:cubicBezTo>
                    <a:pt x="130" y="405"/>
                    <a:pt x="130" y="405"/>
                    <a:pt x="130" y="405"/>
                  </a:cubicBezTo>
                  <a:cubicBezTo>
                    <a:pt x="141" y="400"/>
                    <a:pt x="141" y="400"/>
                    <a:pt x="141" y="400"/>
                  </a:cubicBezTo>
                  <a:cubicBezTo>
                    <a:pt x="143" y="399"/>
                    <a:pt x="147" y="398"/>
                    <a:pt x="150" y="397"/>
                  </a:cubicBezTo>
                  <a:cubicBezTo>
                    <a:pt x="162" y="392"/>
                    <a:pt x="178" y="387"/>
                    <a:pt x="192" y="373"/>
                  </a:cubicBezTo>
                  <a:cubicBezTo>
                    <a:pt x="262" y="305"/>
                    <a:pt x="323" y="244"/>
                    <a:pt x="380" y="185"/>
                  </a:cubicBezTo>
                  <a:cubicBezTo>
                    <a:pt x="421" y="143"/>
                    <a:pt x="420" y="79"/>
                    <a:pt x="379" y="36"/>
                  </a:cubicBezTo>
                  <a:cubicBezTo>
                    <a:pt x="358" y="13"/>
                    <a:pt x="328" y="0"/>
                    <a:pt x="299" y="0"/>
                  </a:cubicBezTo>
                  <a:cubicBezTo>
                    <a:pt x="272" y="0"/>
                    <a:pt x="246" y="11"/>
                    <a:pt x="226" y="30"/>
                  </a:cubicBezTo>
                  <a:cubicBezTo>
                    <a:pt x="168" y="86"/>
                    <a:pt x="106" y="148"/>
                    <a:pt x="37" y="220"/>
                  </a:cubicBezTo>
                  <a:cubicBezTo>
                    <a:pt x="6" y="252"/>
                    <a:pt x="0" y="296"/>
                    <a:pt x="20" y="340"/>
                  </a:cubicBezTo>
                  <a:cubicBezTo>
                    <a:pt x="39" y="378"/>
                    <a:pt x="73" y="401"/>
                    <a:pt x="117" y="4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9" name="Freeform 19">
              <a:extLst>
                <a:ext uri="{FF2B5EF4-FFF2-40B4-BE49-F238E27FC236}">
                  <a16:creationId xmlns:a16="http://schemas.microsoft.com/office/drawing/2014/main" id="{2FBA42B9-7E46-427F-869D-478BEBC31A67}"/>
                </a:ext>
              </a:extLst>
            </p:cNvPr>
            <p:cNvSpPr>
              <a:spLocks noEditPoints="1"/>
            </p:cNvSpPr>
            <p:nvPr/>
          </p:nvSpPr>
          <p:spPr bwMode="auto">
            <a:xfrm>
              <a:off x="719138" y="2693988"/>
              <a:ext cx="346075" cy="374650"/>
            </a:xfrm>
            <a:custGeom>
              <a:avLst/>
              <a:gdLst>
                <a:gd name="T0" fmla="*/ 334 w 1376"/>
                <a:gd name="T1" fmla="*/ 1494 h 1494"/>
                <a:gd name="T2" fmla="*/ 360 w 1376"/>
                <a:gd name="T3" fmla="*/ 1494 h 1494"/>
                <a:gd name="T4" fmla="*/ 563 w 1376"/>
                <a:gd name="T5" fmla="*/ 1494 h 1494"/>
                <a:gd name="T6" fmla="*/ 1044 w 1376"/>
                <a:gd name="T7" fmla="*/ 1494 h 1494"/>
                <a:gd name="T8" fmla="*/ 1131 w 1376"/>
                <a:gd name="T9" fmla="*/ 1260 h 1494"/>
                <a:gd name="T10" fmla="*/ 1267 w 1376"/>
                <a:gd name="T11" fmla="*/ 1040 h 1494"/>
                <a:gd name="T12" fmla="*/ 1365 w 1376"/>
                <a:gd name="T13" fmla="*/ 813 h 1494"/>
                <a:gd name="T14" fmla="*/ 1376 w 1376"/>
                <a:gd name="T15" fmla="*/ 750 h 1494"/>
                <a:gd name="T16" fmla="*/ 1376 w 1376"/>
                <a:gd name="T17" fmla="*/ 648 h 1494"/>
                <a:gd name="T18" fmla="*/ 1372 w 1376"/>
                <a:gd name="T19" fmla="*/ 633 h 1494"/>
                <a:gd name="T20" fmla="*/ 1188 w 1376"/>
                <a:gd name="T21" fmla="*/ 242 h 1494"/>
                <a:gd name="T22" fmla="*/ 564 w 1376"/>
                <a:gd name="T23" fmla="*/ 44 h 1494"/>
                <a:gd name="T24" fmla="*/ 28 w 1376"/>
                <a:gd name="T25" fmla="*/ 514 h 1494"/>
                <a:gd name="T26" fmla="*/ 0 w 1376"/>
                <a:gd name="T27" fmla="*/ 653 h 1494"/>
                <a:gd name="T28" fmla="*/ 0 w 1376"/>
                <a:gd name="T29" fmla="*/ 750 h 1494"/>
                <a:gd name="T30" fmla="*/ 4 w 1376"/>
                <a:gd name="T31" fmla="*/ 763 h 1494"/>
                <a:gd name="T32" fmla="*/ 55 w 1376"/>
                <a:gd name="T33" fmla="*/ 939 h 1494"/>
                <a:gd name="T34" fmla="*/ 196 w 1376"/>
                <a:gd name="T35" fmla="*/ 1174 h 1494"/>
                <a:gd name="T36" fmla="*/ 316 w 1376"/>
                <a:gd name="T37" fmla="*/ 1424 h 1494"/>
                <a:gd name="T38" fmla="*/ 334 w 1376"/>
                <a:gd name="T39" fmla="*/ 1494 h 1494"/>
                <a:gd name="T40" fmla="*/ 288 w 1376"/>
                <a:gd name="T41" fmla="*/ 676 h 1494"/>
                <a:gd name="T42" fmla="*/ 216 w 1376"/>
                <a:gd name="T43" fmla="*/ 583 h 1494"/>
                <a:gd name="T44" fmla="*/ 220 w 1376"/>
                <a:gd name="T45" fmla="*/ 560 h 1494"/>
                <a:gd name="T46" fmla="*/ 381 w 1376"/>
                <a:gd name="T47" fmla="*/ 327 h 1494"/>
                <a:gd name="T48" fmla="*/ 547 w 1376"/>
                <a:gd name="T49" fmla="*/ 248 h 1494"/>
                <a:gd name="T50" fmla="*/ 642 w 1376"/>
                <a:gd name="T51" fmla="*/ 314 h 1494"/>
                <a:gd name="T52" fmla="*/ 582 w 1376"/>
                <a:gd name="T53" fmla="*/ 417 h 1494"/>
                <a:gd name="T54" fmla="*/ 383 w 1376"/>
                <a:gd name="T55" fmla="*/ 614 h 1494"/>
                <a:gd name="T56" fmla="*/ 288 w 1376"/>
                <a:gd name="T57" fmla="*/ 676 h 1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76" h="1494">
                  <a:moveTo>
                    <a:pt x="334" y="1494"/>
                  </a:moveTo>
                  <a:cubicBezTo>
                    <a:pt x="343" y="1494"/>
                    <a:pt x="352" y="1494"/>
                    <a:pt x="360" y="1494"/>
                  </a:cubicBezTo>
                  <a:cubicBezTo>
                    <a:pt x="428" y="1494"/>
                    <a:pt x="496" y="1494"/>
                    <a:pt x="563" y="1494"/>
                  </a:cubicBezTo>
                  <a:cubicBezTo>
                    <a:pt x="1044" y="1494"/>
                    <a:pt x="1044" y="1494"/>
                    <a:pt x="1044" y="1494"/>
                  </a:cubicBezTo>
                  <a:cubicBezTo>
                    <a:pt x="1058" y="1412"/>
                    <a:pt x="1087" y="1334"/>
                    <a:pt x="1131" y="1260"/>
                  </a:cubicBezTo>
                  <a:cubicBezTo>
                    <a:pt x="1174" y="1185"/>
                    <a:pt x="1222" y="1114"/>
                    <a:pt x="1267" y="1040"/>
                  </a:cubicBezTo>
                  <a:cubicBezTo>
                    <a:pt x="1311" y="970"/>
                    <a:pt x="1348" y="895"/>
                    <a:pt x="1365" y="813"/>
                  </a:cubicBezTo>
                  <a:cubicBezTo>
                    <a:pt x="1369" y="792"/>
                    <a:pt x="1373" y="771"/>
                    <a:pt x="1376" y="750"/>
                  </a:cubicBezTo>
                  <a:cubicBezTo>
                    <a:pt x="1376" y="716"/>
                    <a:pt x="1376" y="682"/>
                    <a:pt x="1376" y="648"/>
                  </a:cubicBezTo>
                  <a:cubicBezTo>
                    <a:pt x="1375" y="643"/>
                    <a:pt x="1373" y="638"/>
                    <a:pt x="1372" y="633"/>
                  </a:cubicBezTo>
                  <a:cubicBezTo>
                    <a:pt x="1356" y="481"/>
                    <a:pt x="1295" y="350"/>
                    <a:pt x="1188" y="242"/>
                  </a:cubicBezTo>
                  <a:cubicBezTo>
                    <a:pt x="1015" y="69"/>
                    <a:pt x="804" y="0"/>
                    <a:pt x="564" y="44"/>
                  </a:cubicBezTo>
                  <a:cubicBezTo>
                    <a:pt x="296" y="94"/>
                    <a:pt x="115" y="253"/>
                    <a:pt x="28" y="514"/>
                  </a:cubicBezTo>
                  <a:cubicBezTo>
                    <a:pt x="14" y="558"/>
                    <a:pt x="9" y="606"/>
                    <a:pt x="0" y="653"/>
                  </a:cubicBezTo>
                  <a:cubicBezTo>
                    <a:pt x="0" y="685"/>
                    <a:pt x="0" y="717"/>
                    <a:pt x="0" y="750"/>
                  </a:cubicBezTo>
                  <a:cubicBezTo>
                    <a:pt x="1" y="754"/>
                    <a:pt x="3" y="758"/>
                    <a:pt x="4" y="763"/>
                  </a:cubicBezTo>
                  <a:cubicBezTo>
                    <a:pt x="10" y="825"/>
                    <a:pt x="25" y="885"/>
                    <a:pt x="55" y="939"/>
                  </a:cubicBezTo>
                  <a:cubicBezTo>
                    <a:pt x="99" y="1018"/>
                    <a:pt x="148" y="1096"/>
                    <a:pt x="196" y="1174"/>
                  </a:cubicBezTo>
                  <a:cubicBezTo>
                    <a:pt x="245" y="1253"/>
                    <a:pt x="291" y="1334"/>
                    <a:pt x="316" y="1424"/>
                  </a:cubicBezTo>
                  <a:cubicBezTo>
                    <a:pt x="323" y="1447"/>
                    <a:pt x="328" y="1470"/>
                    <a:pt x="334" y="1494"/>
                  </a:cubicBezTo>
                  <a:close/>
                  <a:moveTo>
                    <a:pt x="288" y="676"/>
                  </a:moveTo>
                  <a:cubicBezTo>
                    <a:pt x="246" y="669"/>
                    <a:pt x="216" y="633"/>
                    <a:pt x="216" y="583"/>
                  </a:cubicBezTo>
                  <a:cubicBezTo>
                    <a:pt x="217" y="580"/>
                    <a:pt x="217" y="570"/>
                    <a:pt x="220" y="560"/>
                  </a:cubicBezTo>
                  <a:cubicBezTo>
                    <a:pt x="245" y="463"/>
                    <a:pt x="306" y="389"/>
                    <a:pt x="381" y="327"/>
                  </a:cubicBezTo>
                  <a:cubicBezTo>
                    <a:pt x="430" y="287"/>
                    <a:pt x="483" y="255"/>
                    <a:pt x="547" y="248"/>
                  </a:cubicBezTo>
                  <a:cubicBezTo>
                    <a:pt x="591" y="243"/>
                    <a:pt x="633" y="272"/>
                    <a:pt x="642" y="314"/>
                  </a:cubicBezTo>
                  <a:cubicBezTo>
                    <a:pt x="652" y="361"/>
                    <a:pt x="627" y="405"/>
                    <a:pt x="582" y="417"/>
                  </a:cubicBezTo>
                  <a:cubicBezTo>
                    <a:pt x="477" y="443"/>
                    <a:pt x="412" y="510"/>
                    <a:pt x="383" y="614"/>
                  </a:cubicBezTo>
                  <a:cubicBezTo>
                    <a:pt x="371" y="656"/>
                    <a:pt x="331" y="682"/>
                    <a:pt x="288" y="6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0" name="Freeform 20">
              <a:extLst>
                <a:ext uri="{FF2B5EF4-FFF2-40B4-BE49-F238E27FC236}">
                  <a16:creationId xmlns:a16="http://schemas.microsoft.com/office/drawing/2014/main" id="{5C5283AA-D5DD-484C-AC12-1DC836864520}"/>
                </a:ext>
              </a:extLst>
            </p:cNvPr>
            <p:cNvSpPr>
              <a:spLocks/>
            </p:cNvSpPr>
            <p:nvPr/>
          </p:nvSpPr>
          <p:spPr bwMode="auto">
            <a:xfrm>
              <a:off x="776288" y="3159125"/>
              <a:ext cx="233363" cy="93663"/>
            </a:xfrm>
            <a:custGeom>
              <a:avLst/>
              <a:gdLst>
                <a:gd name="T0" fmla="*/ 827 w 927"/>
                <a:gd name="T1" fmla="*/ 1 h 372"/>
                <a:gd name="T2" fmla="*/ 102 w 927"/>
                <a:gd name="T3" fmla="*/ 1 h 372"/>
                <a:gd name="T4" fmla="*/ 0 w 927"/>
                <a:gd name="T5" fmla="*/ 91 h 372"/>
                <a:gd name="T6" fmla="*/ 100 w 927"/>
                <a:gd name="T7" fmla="*/ 182 h 372"/>
                <a:gd name="T8" fmla="*/ 212 w 927"/>
                <a:gd name="T9" fmla="*/ 243 h 372"/>
                <a:gd name="T10" fmla="*/ 373 w 927"/>
                <a:gd name="T11" fmla="*/ 372 h 372"/>
                <a:gd name="T12" fmla="*/ 553 w 927"/>
                <a:gd name="T13" fmla="*/ 372 h 372"/>
                <a:gd name="T14" fmla="*/ 714 w 927"/>
                <a:gd name="T15" fmla="*/ 243 h 372"/>
                <a:gd name="T16" fmla="*/ 830 w 927"/>
                <a:gd name="T17" fmla="*/ 182 h 372"/>
                <a:gd name="T18" fmla="*/ 926 w 927"/>
                <a:gd name="T19" fmla="*/ 90 h 372"/>
                <a:gd name="T20" fmla="*/ 827 w 927"/>
                <a:gd name="T21" fmla="*/ 1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7" h="372">
                  <a:moveTo>
                    <a:pt x="827" y="1"/>
                  </a:moveTo>
                  <a:cubicBezTo>
                    <a:pt x="586" y="0"/>
                    <a:pt x="344" y="0"/>
                    <a:pt x="102" y="1"/>
                  </a:cubicBezTo>
                  <a:cubicBezTo>
                    <a:pt x="39" y="1"/>
                    <a:pt x="0" y="38"/>
                    <a:pt x="0" y="91"/>
                  </a:cubicBezTo>
                  <a:cubicBezTo>
                    <a:pt x="0" y="144"/>
                    <a:pt x="38" y="179"/>
                    <a:pt x="100" y="182"/>
                  </a:cubicBezTo>
                  <a:cubicBezTo>
                    <a:pt x="147" y="184"/>
                    <a:pt x="190" y="202"/>
                    <a:pt x="212" y="243"/>
                  </a:cubicBezTo>
                  <a:cubicBezTo>
                    <a:pt x="248" y="310"/>
                    <a:pt x="300" y="353"/>
                    <a:pt x="373" y="372"/>
                  </a:cubicBezTo>
                  <a:cubicBezTo>
                    <a:pt x="433" y="372"/>
                    <a:pt x="493" y="372"/>
                    <a:pt x="553" y="372"/>
                  </a:cubicBezTo>
                  <a:cubicBezTo>
                    <a:pt x="626" y="353"/>
                    <a:pt x="678" y="309"/>
                    <a:pt x="714" y="243"/>
                  </a:cubicBezTo>
                  <a:cubicBezTo>
                    <a:pt x="737" y="200"/>
                    <a:pt x="781" y="184"/>
                    <a:pt x="830" y="182"/>
                  </a:cubicBezTo>
                  <a:cubicBezTo>
                    <a:pt x="888" y="179"/>
                    <a:pt x="927" y="142"/>
                    <a:pt x="926" y="90"/>
                  </a:cubicBezTo>
                  <a:cubicBezTo>
                    <a:pt x="926" y="40"/>
                    <a:pt x="885" y="1"/>
                    <a:pt x="82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1" name="Freeform 21">
              <a:extLst>
                <a:ext uri="{FF2B5EF4-FFF2-40B4-BE49-F238E27FC236}">
                  <a16:creationId xmlns:a16="http://schemas.microsoft.com/office/drawing/2014/main" id="{82795075-528F-4497-B85B-95D3F898338E}"/>
                </a:ext>
              </a:extLst>
            </p:cNvPr>
            <p:cNvSpPr>
              <a:spLocks/>
            </p:cNvSpPr>
            <p:nvPr/>
          </p:nvSpPr>
          <p:spPr bwMode="auto">
            <a:xfrm>
              <a:off x="776288" y="3090863"/>
              <a:ext cx="238125" cy="46038"/>
            </a:xfrm>
            <a:custGeom>
              <a:avLst/>
              <a:gdLst>
                <a:gd name="T0" fmla="*/ 827 w 947"/>
                <a:gd name="T1" fmla="*/ 2 h 184"/>
                <a:gd name="T2" fmla="*/ 464 w 947"/>
                <a:gd name="T3" fmla="*/ 1 h 184"/>
                <a:gd name="T4" fmla="*/ 464 w 947"/>
                <a:gd name="T5" fmla="*/ 1 h 184"/>
                <a:gd name="T6" fmla="*/ 101 w 947"/>
                <a:gd name="T7" fmla="*/ 2 h 184"/>
                <a:gd name="T8" fmla="*/ 0 w 947"/>
                <a:gd name="T9" fmla="*/ 92 h 184"/>
                <a:gd name="T10" fmla="*/ 96 w 947"/>
                <a:gd name="T11" fmla="*/ 183 h 184"/>
                <a:gd name="T12" fmla="*/ 830 w 947"/>
                <a:gd name="T13" fmla="*/ 183 h 184"/>
                <a:gd name="T14" fmla="*/ 916 w 947"/>
                <a:gd name="T15" fmla="*/ 132 h 184"/>
                <a:gd name="T16" fmla="*/ 827 w 947"/>
                <a:gd name="T17" fmla="*/ 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7" h="184">
                  <a:moveTo>
                    <a:pt x="827" y="2"/>
                  </a:moveTo>
                  <a:cubicBezTo>
                    <a:pt x="706" y="0"/>
                    <a:pt x="585" y="1"/>
                    <a:pt x="464" y="1"/>
                  </a:cubicBezTo>
                  <a:cubicBezTo>
                    <a:pt x="464" y="1"/>
                    <a:pt x="464" y="1"/>
                    <a:pt x="464" y="1"/>
                  </a:cubicBezTo>
                  <a:cubicBezTo>
                    <a:pt x="343" y="1"/>
                    <a:pt x="222" y="1"/>
                    <a:pt x="101" y="2"/>
                  </a:cubicBezTo>
                  <a:cubicBezTo>
                    <a:pt x="41" y="2"/>
                    <a:pt x="0" y="39"/>
                    <a:pt x="0" y="92"/>
                  </a:cubicBezTo>
                  <a:cubicBezTo>
                    <a:pt x="0" y="143"/>
                    <a:pt x="39" y="183"/>
                    <a:pt x="96" y="183"/>
                  </a:cubicBezTo>
                  <a:cubicBezTo>
                    <a:pt x="341" y="184"/>
                    <a:pt x="585" y="184"/>
                    <a:pt x="830" y="183"/>
                  </a:cubicBezTo>
                  <a:cubicBezTo>
                    <a:pt x="868" y="183"/>
                    <a:pt x="898" y="167"/>
                    <a:pt x="916" y="132"/>
                  </a:cubicBezTo>
                  <a:cubicBezTo>
                    <a:pt x="947" y="70"/>
                    <a:pt x="903" y="2"/>
                    <a:pt x="8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Tree>
    <p:extLst>
      <p:ext uri="{BB962C8B-B14F-4D97-AF65-F5344CB8AC3E}">
        <p14:creationId xmlns:p14="http://schemas.microsoft.com/office/powerpoint/2010/main" val="367622001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27013"/>
            <a:ext cx="10962219" cy="498475"/>
          </a:xfrm>
        </p:spPr>
        <p:txBody>
          <a:bodyPr/>
          <a:lstStyle>
            <a:lvl1pPr>
              <a:defRPr baseline="0"/>
            </a:lvl1pPr>
          </a:lstStyle>
          <a:p>
            <a:r>
              <a:rPr lang="en-US" dirty="0"/>
              <a:t>Text layout</a:t>
            </a:r>
          </a:p>
        </p:txBody>
      </p:sp>
      <p:sp>
        <p:nvSpPr>
          <p:cNvPr id="3" name="Text Placeholder 20"/>
          <p:cNvSpPr>
            <a:spLocks noGrp="1"/>
          </p:cNvSpPr>
          <p:nvPr>
            <p:ph type="body" sz="quarter" idx="10"/>
          </p:nvPr>
        </p:nvSpPr>
        <p:spPr>
          <a:xfrm>
            <a:off x="609601" y="1530351"/>
            <a:ext cx="10962217" cy="4660900"/>
          </a:xfrm>
          <a:prstGeom prst="rect">
            <a:avLst/>
          </a:prstGeom>
        </p:spPr>
        <p:txBody>
          <a:bodyPr lIns="0" tIns="91440" bIns="91440" anchor="ctr" anchorCtr="0"/>
          <a:lstStyle>
            <a:lvl1pPr marL="224361" indent="-224361">
              <a:spcBef>
                <a:spcPts val="2400"/>
              </a:spcBef>
              <a:buSzPct val="100000"/>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1pPr>
            <a:lvl2pPr marL="537620" indent="-234945">
              <a:lnSpc>
                <a:spcPct val="90000"/>
              </a:lnSpc>
              <a:spcBef>
                <a:spcPts val="0"/>
              </a:spcBef>
              <a:tabLst>
                <a:tab pos="537620" algn="l"/>
              </a:tabLst>
              <a:defRPr sz="2133">
                <a:solidFill>
                  <a:schemeClr val="tx1"/>
                </a:solidFill>
                <a:latin typeface="Arial" panose="020B0604020202020204" pitchFamily="34" charset="0"/>
                <a:cs typeface="Arial" panose="020B0604020202020204" pitchFamily="34" charset="0"/>
              </a:defRPr>
            </a:lvl2pPr>
            <a:lvl3pPr marL="838179" indent="-222245">
              <a:lnSpc>
                <a:spcPct val="90000"/>
              </a:lnSpc>
              <a:spcBef>
                <a:spcPts val="0"/>
              </a:spcBef>
              <a:buFont typeface="Courier New" panose="02070309020205020404" pitchFamily="49" charset="0"/>
              <a:buChar char="o"/>
              <a:defRPr sz="1867">
                <a:solidFill>
                  <a:schemeClr val="tx1"/>
                </a:solidFill>
                <a:latin typeface="Arial" panose="020B0604020202020204" pitchFamily="34" charset="0"/>
                <a:cs typeface="Arial" panose="020B0604020202020204" pitchFamily="34" charset="0"/>
              </a:defRPr>
            </a:lvl3pPr>
            <a:lvl4pPr marL="1979035" indent="-222245">
              <a:lnSpc>
                <a:spcPct val="90000"/>
              </a:lnSpc>
              <a:spcBef>
                <a:spcPts val="0"/>
              </a:spcBef>
              <a:buFont typeface="Arial" panose="020B0604020202020204" pitchFamily="34" charset="0"/>
              <a:buChar char="»"/>
              <a:defRPr lang="en-US" sz="2400" kern="1200" dirty="0" smtClean="0">
                <a:solidFill>
                  <a:srgbClr val="646464"/>
                </a:solidFill>
                <a:latin typeface="Arial" panose="020B0604020202020204" pitchFamily="34" charset="0"/>
                <a:ea typeface="+mn-ea"/>
                <a:cs typeface="Arial" panose="020B0604020202020204" pitchFamily="34" charset="0"/>
              </a:defRPr>
            </a:lvl4pPr>
            <a:lvl5pPr>
              <a:defRPr sz="2133">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4" name="Text Placeholder 4"/>
          <p:cNvSpPr>
            <a:spLocks noGrp="1"/>
          </p:cNvSpPr>
          <p:nvPr>
            <p:ph type="body" sz="quarter" idx="11" hasCustomPrompt="1"/>
          </p:nvPr>
        </p:nvSpPr>
        <p:spPr>
          <a:xfrm>
            <a:off x="600428" y="881767"/>
            <a:ext cx="10972800" cy="366932"/>
          </a:xfrm>
        </p:spPr>
        <p:txBody>
          <a:bodyPr/>
          <a:lstStyle>
            <a:lvl1pPr marL="0" indent="0">
              <a:buNone/>
              <a:defRPr sz="2667" baseline="0"/>
            </a:lvl1pPr>
            <a:lvl2pPr marL="302675" indent="0">
              <a:buNone/>
              <a:defRPr/>
            </a:lvl2pPr>
          </a:lstStyle>
          <a:p>
            <a:pPr lvl="0"/>
            <a:r>
              <a:rPr lang="en-US" dirty="0"/>
              <a:t>Subheader optional—delete if not needed</a:t>
            </a:r>
          </a:p>
        </p:txBody>
      </p:sp>
    </p:spTree>
    <p:extLst>
      <p:ext uri="{BB962C8B-B14F-4D97-AF65-F5344CB8AC3E}">
        <p14:creationId xmlns:p14="http://schemas.microsoft.com/office/powerpoint/2010/main" val="4223604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Blank Slide with title (customiz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Blank Slide (Customize)</a:t>
            </a:r>
          </a:p>
        </p:txBody>
      </p:sp>
    </p:spTree>
    <p:extLst>
      <p:ext uri="{BB962C8B-B14F-4D97-AF65-F5344CB8AC3E}">
        <p14:creationId xmlns:p14="http://schemas.microsoft.com/office/powerpoint/2010/main" val="3494287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TWO images and text">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p:txBody>
          <a:bodyPr/>
          <a:lstStyle>
            <a:lvl1pPr>
              <a:defRPr sz="3200"/>
            </a:lvl1pPr>
          </a:lstStyle>
          <a:p>
            <a:r>
              <a:rPr lang="en-US" dirty="0"/>
              <a:t>Comparing two items or features</a:t>
            </a:r>
          </a:p>
        </p:txBody>
      </p:sp>
      <p:sp>
        <p:nvSpPr>
          <p:cNvPr id="4" name="Text Placeholder 3"/>
          <p:cNvSpPr>
            <a:spLocks noGrp="1"/>
          </p:cNvSpPr>
          <p:nvPr userDrawn="1">
            <p:ph type="body" sz="quarter" idx="10" hasCustomPrompt="1"/>
          </p:nvPr>
        </p:nvSpPr>
        <p:spPr>
          <a:xfrm>
            <a:off x="3676357" y="1535378"/>
            <a:ext cx="7908160" cy="2103396"/>
          </a:xfrm>
        </p:spPr>
        <p:txBody>
          <a:bodyPr/>
          <a:lstStyle>
            <a:lvl1pPr marL="0" indent="0">
              <a:buNone/>
              <a:defRPr sz="2133" baseline="0"/>
            </a:lvl1pPr>
          </a:lstStyle>
          <a:p>
            <a:pPr lvl="0"/>
            <a:r>
              <a:rPr lang="en-US" dirty="0"/>
              <a:t>Enter your text here</a:t>
            </a:r>
          </a:p>
        </p:txBody>
      </p:sp>
      <p:sp>
        <p:nvSpPr>
          <p:cNvPr id="5" name="Text Placeholder 3"/>
          <p:cNvSpPr>
            <a:spLocks noGrp="1"/>
          </p:cNvSpPr>
          <p:nvPr userDrawn="1">
            <p:ph type="body" sz="quarter" idx="11" hasCustomPrompt="1"/>
          </p:nvPr>
        </p:nvSpPr>
        <p:spPr>
          <a:xfrm>
            <a:off x="3676357" y="4128454"/>
            <a:ext cx="7908160" cy="2058407"/>
          </a:xfrm>
        </p:spPr>
        <p:txBody>
          <a:bodyPr/>
          <a:lstStyle>
            <a:lvl1pPr marL="0" indent="0">
              <a:buNone/>
              <a:defRPr sz="2133"/>
            </a:lvl1pPr>
          </a:lstStyle>
          <a:p>
            <a:pPr lvl="0"/>
            <a:r>
              <a:rPr lang="en-US" dirty="0"/>
              <a:t>Enter your text here</a:t>
            </a:r>
          </a:p>
        </p:txBody>
      </p:sp>
      <p:cxnSp>
        <p:nvCxnSpPr>
          <p:cNvPr id="7" name="Straight Connector 6"/>
          <p:cNvCxnSpPr/>
          <p:nvPr userDrawn="1"/>
        </p:nvCxnSpPr>
        <p:spPr>
          <a:xfrm>
            <a:off x="611717" y="3860359"/>
            <a:ext cx="11580283"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21" name="Text Placeholder 4"/>
          <p:cNvSpPr>
            <a:spLocks noGrp="1"/>
          </p:cNvSpPr>
          <p:nvPr userDrawn="1">
            <p:ph type="body" sz="quarter" idx="14" hasCustomPrompt="1"/>
          </p:nvPr>
        </p:nvSpPr>
        <p:spPr>
          <a:xfrm>
            <a:off x="589139" y="881767"/>
            <a:ext cx="10972800" cy="366932"/>
          </a:xfrm>
        </p:spPr>
        <p:txBody>
          <a:bodyPr/>
          <a:lstStyle>
            <a:lvl1pPr marL="0" indent="0">
              <a:buNone/>
              <a:defRPr sz="2667" baseline="0"/>
            </a:lvl1pPr>
            <a:lvl2pPr marL="302675" indent="0">
              <a:buNone/>
              <a:defRPr/>
            </a:lvl2pPr>
          </a:lstStyle>
          <a:p>
            <a:pPr lvl="0"/>
            <a:r>
              <a:rPr lang="en-US" dirty="0"/>
              <a:t>Sub-header optional—delete if not needed</a:t>
            </a:r>
          </a:p>
        </p:txBody>
      </p:sp>
      <p:sp>
        <p:nvSpPr>
          <p:cNvPr id="22" name="Text Placeholder 5"/>
          <p:cNvSpPr>
            <a:spLocks noGrp="1"/>
          </p:cNvSpPr>
          <p:nvPr userDrawn="1">
            <p:ph type="body" sz="quarter" idx="15" hasCustomPrompt="1"/>
          </p:nvPr>
        </p:nvSpPr>
        <p:spPr>
          <a:xfrm>
            <a:off x="3138793" y="6560363"/>
            <a:ext cx="5927388" cy="214955"/>
          </a:xfrm>
        </p:spPr>
        <p:txBody>
          <a:bodyPr/>
          <a:lstStyle>
            <a:lvl1pPr marL="0" indent="0" algn="ctr">
              <a:buNone/>
              <a:defRPr sz="933" baseline="0"/>
            </a:lvl1pPr>
          </a:lstStyle>
          <a:p>
            <a:pPr lvl="0"/>
            <a:r>
              <a:rPr lang="en-US" dirty="0"/>
              <a:t>For internal use only.</a:t>
            </a:r>
          </a:p>
        </p:txBody>
      </p:sp>
      <p:grpSp>
        <p:nvGrpSpPr>
          <p:cNvPr id="23" name="Group 22"/>
          <p:cNvGrpSpPr/>
          <p:nvPr userDrawn="1"/>
        </p:nvGrpSpPr>
        <p:grpSpPr>
          <a:xfrm>
            <a:off x="-2120087" y="1725355"/>
            <a:ext cx="1879365" cy="2359171"/>
            <a:chOff x="-1663544" y="2872984"/>
            <a:chExt cx="1409524" cy="2359171"/>
          </a:xfrm>
        </p:grpSpPr>
        <p:pic>
          <p:nvPicPr>
            <p:cNvPr id="2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663544" y="4584536"/>
              <a:ext cx="1409524" cy="6476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TextBox 24"/>
            <p:cNvSpPr txBox="1"/>
            <p:nvPr/>
          </p:nvSpPr>
          <p:spPr>
            <a:xfrm>
              <a:off x="-1663544" y="2872984"/>
              <a:ext cx="1386540" cy="1384995"/>
            </a:xfrm>
            <a:prstGeom prst="rect">
              <a:avLst/>
            </a:prstGeom>
            <a:noFill/>
          </p:spPr>
          <p:txBody>
            <a:bodyPr wrap="square" rtlCol="0">
              <a:spAutoFit/>
            </a:bodyPr>
            <a:lstStyle/>
            <a:p>
              <a:r>
                <a:rPr lang="en-US" sz="1400" dirty="0"/>
                <a:t>To crop image or reposition image inside of frame, right click on the image and select the crop tool</a:t>
              </a:r>
            </a:p>
          </p:txBody>
        </p:sp>
      </p:grpSp>
    </p:spTree>
    <p:extLst>
      <p:ext uri="{BB962C8B-B14F-4D97-AF65-F5344CB8AC3E}">
        <p14:creationId xmlns:p14="http://schemas.microsoft.com/office/powerpoint/2010/main" val="4128530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6" name="Rectangle 5"/>
          <p:cNvSpPr/>
          <p:nvPr userDrawn="1"/>
        </p:nvSpPr>
        <p:spPr>
          <a:xfrm>
            <a:off x="0" y="5981701"/>
            <a:ext cx="12192000" cy="876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9" name="Title 1"/>
          <p:cNvSpPr>
            <a:spLocks noGrp="1"/>
          </p:cNvSpPr>
          <p:nvPr>
            <p:ph type="title" hasCustomPrompt="1"/>
          </p:nvPr>
        </p:nvSpPr>
        <p:spPr>
          <a:xfrm>
            <a:off x="1125416" y="3263706"/>
            <a:ext cx="10445704" cy="1570447"/>
          </a:xfrm>
        </p:spPr>
        <p:txBody>
          <a:bodyPr bIns="91440" anchor="b" anchorCtr="0">
            <a:noAutofit/>
          </a:bodyPr>
          <a:lstStyle>
            <a:lvl1pPr>
              <a:defRPr sz="3733" b="0" baseline="0">
                <a:solidFill>
                  <a:srgbClr val="000000"/>
                </a:solidFill>
              </a:defRPr>
            </a:lvl1pPr>
          </a:lstStyle>
          <a:p>
            <a:r>
              <a:rPr lang="en-US" dirty="0"/>
              <a:t>Protective Template – Widescreen  (16:9)</a:t>
            </a:r>
          </a:p>
        </p:txBody>
      </p:sp>
      <p:sp>
        <p:nvSpPr>
          <p:cNvPr id="20" name="Text Placeholder 6"/>
          <p:cNvSpPr>
            <a:spLocks noGrp="1"/>
          </p:cNvSpPr>
          <p:nvPr>
            <p:ph type="body" sz="quarter" idx="10" hasCustomPrompt="1"/>
          </p:nvPr>
        </p:nvSpPr>
        <p:spPr>
          <a:xfrm>
            <a:off x="1125416" y="4871580"/>
            <a:ext cx="10445704" cy="332117"/>
          </a:xfrm>
          <a:prstGeom prst="rect">
            <a:avLst/>
          </a:prstGeom>
        </p:spPr>
        <p:txBody>
          <a:bodyPr lIns="0" tIns="0" rIns="0" bIns="0" anchor="ctr" anchorCtr="0">
            <a:noAutofit/>
          </a:bodyPr>
          <a:lstStyle>
            <a:lvl1pPr marL="0" indent="0">
              <a:buNone/>
              <a:defRPr sz="2133">
                <a:solidFill>
                  <a:srgbClr val="000000"/>
                </a:solidFill>
              </a:defRPr>
            </a:lvl1pPr>
            <a:lvl5pPr marL="2438339" indent="0">
              <a:buNone/>
              <a:defRPr/>
            </a:lvl5pPr>
          </a:lstStyle>
          <a:p>
            <a:pPr lvl="0"/>
            <a:r>
              <a:rPr lang="en-US" dirty="0"/>
              <a:t>Name</a:t>
            </a:r>
          </a:p>
        </p:txBody>
      </p:sp>
      <p:sp>
        <p:nvSpPr>
          <p:cNvPr id="13" name="Text Placeholder 6"/>
          <p:cNvSpPr>
            <a:spLocks noGrp="1"/>
          </p:cNvSpPr>
          <p:nvPr>
            <p:ph type="body" sz="quarter" idx="11" hasCustomPrompt="1"/>
          </p:nvPr>
        </p:nvSpPr>
        <p:spPr>
          <a:xfrm>
            <a:off x="1125416" y="5241123"/>
            <a:ext cx="10445704" cy="332117"/>
          </a:xfrm>
          <a:prstGeom prst="rect">
            <a:avLst/>
          </a:prstGeom>
        </p:spPr>
        <p:txBody>
          <a:bodyPr lIns="0" tIns="0" rIns="0" bIns="0" anchor="ctr" anchorCtr="0">
            <a:noAutofit/>
          </a:bodyPr>
          <a:lstStyle>
            <a:lvl1pPr marL="0" indent="0">
              <a:buNone/>
              <a:defRPr sz="1467">
                <a:solidFill>
                  <a:srgbClr val="000000"/>
                </a:solidFill>
              </a:defRPr>
            </a:lvl1pPr>
            <a:lvl5pPr marL="2438339" indent="0">
              <a:buNone/>
              <a:defRPr/>
            </a:lvl5pPr>
          </a:lstStyle>
          <a:p>
            <a:pPr lvl="0"/>
            <a:r>
              <a:rPr lang="en-US" dirty="0"/>
              <a:t>Designations</a:t>
            </a:r>
          </a:p>
        </p:txBody>
      </p:sp>
      <p:pic>
        <p:nvPicPr>
          <p:cNvPr id="16"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125417" y="1788608"/>
            <a:ext cx="3232095" cy="10851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7" name="Rectangle 116"/>
          <p:cNvSpPr/>
          <p:nvPr userDrawn="1"/>
        </p:nvSpPr>
        <p:spPr>
          <a:xfrm>
            <a:off x="723481" y="1"/>
            <a:ext cx="830664" cy="8359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nvGrpSpPr>
          <p:cNvPr id="113" name="Group 112"/>
          <p:cNvGrpSpPr/>
          <p:nvPr userDrawn="1"/>
        </p:nvGrpSpPr>
        <p:grpSpPr>
          <a:xfrm>
            <a:off x="3" y="-1"/>
            <a:ext cx="12191999" cy="1319215"/>
            <a:chOff x="1" y="-1"/>
            <a:chExt cx="9143999" cy="937029"/>
          </a:xfrm>
        </p:grpSpPr>
        <p:sp>
          <p:nvSpPr>
            <p:cNvPr id="114" name="Rectangle 113"/>
            <p:cNvSpPr/>
            <p:nvPr userDrawn="1"/>
          </p:nvSpPr>
          <p:spPr>
            <a:xfrm>
              <a:off x="844062" y="-1"/>
              <a:ext cx="8299938" cy="937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15" name="Rectangle 114"/>
            <p:cNvSpPr/>
            <p:nvPr userDrawn="1"/>
          </p:nvSpPr>
          <p:spPr>
            <a:xfrm>
              <a:off x="1" y="0"/>
              <a:ext cx="763674" cy="9370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grpSp>
        <p:nvGrpSpPr>
          <p:cNvPr id="3" name="Group 2"/>
          <p:cNvGrpSpPr/>
          <p:nvPr userDrawn="1"/>
        </p:nvGrpSpPr>
        <p:grpSpPr>
          <a:xfrm>
            <a:off x="6997331" y="2224645"/>
            <a:ext cx="4484059" cy="508473"/>
            <a:chOff x="4795076" y="2042524"/>
            <a:chExt cx="3944805" cy="443453"/>
          </a:xfrm>
        </p:grpSpPr>
        <p:grpSp>
          <p:nvGrpSpPr>
            <p:cNvPr id="23" name="Group 22"/>
            <p:cNvGrpSpPr/>
            <p:nvPr userDrawn="1"/>
          </p:nvGrpSpPr>
          <p:grpSpPr>
            <a:xfrm>
              <a:off x="5720391" y="2099300"/>
              <a:ext cx="332398" cy="321325"/>
              <a:chOff x="577850" y="3692517"/>
              <a:chExt cx="285750" cy="276230"/>
            </a:xfrm>
            <a:solidFill>
              <a:schemeClr val="tx2">
                <a:lumMod val="50000"/>
              </a:schemeClr>
            </a:solidFill>
          </p:grpSpPr>
          <p:sp>
            <p:nvSpPr>
              <p:cNvPr id="24" name="Freeform 12"/>
              <p:cNvSpPr>
                <a:spLocks/>
              </p:cNvSpPr>
              <p:nvPr/>
            </p:nvSpPr>
            <p:spPr bwMode="auto">
              <a:xfrm>
                <a:off x="596900" y="3692517"/>
                <a:ext cx="71437" cy="98425"/>
              </a:xfrm>
              <a:custGeom>
                <a:avLst/>
                <a:gdLst>
                  <a:gd name="T0" fmla="*/ 186 w 315"/>
                  <a:gd name="T1" fmla="*/ 433 h 433"/>
                  <a:gd name="T2" fmla="*/ 186 w 315"/>
                  <a:gd name="T3" fmla="*/ 399 h 433"/>
                  <a:gd name="T4" fmla="*/ 283 w 315"/>
                  <a:gd name="T5" fmla="*/ 365 h 433"/>
                  <a:gd name="T6" fmla="*/ 315 w 315"/>
                  <a:gd name="T7" fmla="*/ 288 h 433"/>
                  <a:gd name="T8" fmla="*/ 303 w 315"/>
                  <a:gd name="T9" fmla="*/ 237 h 433"/>
                  <a:gd name="T10" fmla="*/ 274 w 315"/>
                  <a:gd name="T11" fmla="*/ 205 h 433"/>
                  <a:gd name="T12" fmla="*/ 209 w 315"/>
                  <a:gd name="T13" fmla="*/ 173 h 433"/>
                  <a:gd name="T14" fmla="*/ 141 w 315"/>
                  <a:gd name="T15" fmla="*/ 140 h 433"/>
                  <a:gd name="T16" fmla="*/ 129 w 315"/>
                  <a:gd name="T17" fmla="*/ 110 h 433"/>
                  <a:gd name="T18" fmla="*/ 135 w 315"/>
                  <a:gd name="T19" fmla="*/ 90 h 433"/>
                  <a:gd name="T20" fmla="*/ 152 w 315"/>
                  <a:gd name="T21" fmla="*/ 84 h 433"/>
                  <a:gd name="T22" fmla="*/ 171 w 315"/>
                  <a:gd name="T23" fmla="*/ 91 h 433"/>
                  <a:gd name="T24" fmla="*/ 175 w 315"/>
                  <a:gd name="T25" fmla="*/ 123 h 433"/>
                  <a:gd name="T26" fmla="*/ 175 w 315"/>
                  <a:gd name="T27" fmla="*/ 138 h 433"/>
                  <a:gd name="T28" fmla="*/ 301 w 315"/>
                  <a:gd name="T29" fmla="*/ 138 h 433"/>
                  <a:gd name="T30" fmla="*/ 302 w 315"/>
                  <a:gd name="T31" fmla="*/ 121 h 433"/>
                  <a:gd name="T32" fmla="*/ 273 w 315"/>
                  <a:gd name="T33" fmla="*/ 57 h 433"/>
                  <a:gd name="T34" fmla="*/ 186 w 315"/>
                  <a:gd name="T35" fmla="*/ 29 h 433"/>
                  <a:gd name="T36" fmla="*/ 186 w 315"/>
                  <a:gd name="T37" fmla="*/ 0 h 433"/>
                  <a:gd name="T38" fmla="*/ 128 w 315"/>
                  <a:gd name="T39" fmla="*/ 0 h 433"/>
                  <a:gd name="T40" fmla="*/ 128 w 315"/>
                  <a:gd name="T41" fmla="*/ 29 h 433"/>
                  <a:gd name="T42" fmla="*/ 32 w 315"/>
                  <a:gd name="T43" fmla="*/ 58 h 433"/>
                  <a:gd name="T44" fmla="*/ 0 w 315"/>
                  <a:gd name="T45" fmla="*/ 122 h 433"/>
                  <a:gd name="T46" fmla="*/ 15 w 315"/>
                  <a:gd name="T47" fmla="*/ 173 h 433"/>
                  <a:gd name="T48" fmla="*/ 51 w 315"/>
                  <a:gd name="T49" fmla="*/ 207 h 433"/>
                  <a:gd name="T50" fmla="*/ 129 w 315"/>
                  <a:gd name="T51" fmla="*/ 246 h 433"/>
                  <a:gd name="T52" fmla="*/ 170 w 315"/>
                  <a:gd name="T53" fmla="*/ 275 h 433"/>
                  <a:gd name="T54" fmla="*/ 176 w 315"/>
                  <a:gd name="T55" fmla="*/ 319 h 433"/>
                  <a:gd name="T56" fmla="*/ 170 w 315"/>
                  <a:gd name="T57" fmla="*/ 337 h 433"/>
                  <a:gd name="T58" fmla="*/ 151 w 315"/>
                  <a:gd name="T59" fmla="*/ 343 h 433"/>
                  <a:gd name="T60" fmla="*/ 132 w 315"/>
                  <a:gd name="T61" fmla="*/ 334 h 433"/>
                  <a:gd name="T62" fmla="*/ 128 w 315"/>
                  <a:gd name="T63" fmla="*/ 289 h 433"/>
                  <a:gd name="T64" fmla="*/ 128 w 315"/>
                  <a:gd name="T65" fmla="*/ 266 h 433"/>
                  <a:gd name="T66" fmla="*/ 2 w 315"/>
                  <a:gd name="T67" fmla="*/ 266 h 433"/>
                  <a:gd name="T68" fmla="*/ 2 w 315"/>
                  <a:gd name="T69" fmla="*/ 284 h 433"/>
                  <a:gd name="T70" fmla="*/ 40 w 315"/>
                  <a:gd name="T71" fmla="*/ 370 h 433"/>
                  <a:gd name="T72" fmla="*/ 128 w 315"/>
                  <a:gd name="T73" fmla="*/ 398 h 433"/>
                  <a:gd name="T74" fmla="*/ 128 w 315"/>
                  <a:gd name="T75" fmla="*/ 433 h 433"/>
                  <a:gd name="T76" fmla="*/ 186 w 315"/>
                  <a:gd name="T77" fmla="*/ 433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5" h="433">
                    <a:moveTo>
                      <a:pt x="186" y="433"/>
                    </a:moveTo>
                    <a:cubicBezTo>
                      <a:pt x="186" y="399"/>
                      <a:pt x="186" y="399"/>
                      <a:pt x="186" y="399"/>
                    </a:cubicBezTo>
                    <a:cubicBezTo>
                      <a:pt x="229" y="395"/>
                      <a:pt x="261" y="383"/>
                      <a:pt x="283" y="365"/>
                    </a:cubicBezTo>
                    <a:cubicBezTo>
                      <a:pt x="305" y="346"/>
                      <a:pt x="315" y="320"/>
                      <a:pt x="315" y="288"/>
                    </a:cubicBezTo>
                    <a:cubicBezTo>
                      <a:pt x="315" y="268"/>
                      <a:pt x="311" y="251"/>
                      <a:pt x="303" y="237"/>
                    </a:cubicBezTo>
                    <a:cubicBezTo>
                      <a:pt x="295" y="223"/>
                      <a:pt x="286" y="213"/>
                      <a:pt x="274" y="205"/>
                    </a:cubicBezTo>
                    <a:cubicBezTo>
                      <a:pt x="262" y="198"/>
                      <a:pt x="241" y="187"/>
                      <a:pt x="209" y="173"/>
                    </a:cubicBezTo>
                    <a:cubicBezTo>
                      <a:pt x="171" y="156"/>
                      <a:pt x="148" y="145"/>
                      <a:pt x="141" y="140"/>
                    </a:cubicBezTo>
                    <a:cubicBezTo>
                      <a:pt x="133" y="134"/>
                      <a:pt x="129" y="124"/>
                      <a:pt x="129" y="110"/>
                    </a:cubicBezTo>
                    <a:cubicBezTo>
                      <a:pt x="129" y="101"/>
                      <a:pt x="131" y="95"/>
                      <a:pt x="135" y="90"/>
                    </a:cubicBezTo>
                    <a:cubicBezTo>
                      <a:pt x="138" y="86"/>
                      <a:pt x="144" y="84"/>
                      <a:pt x="152" y="84"/>
                    </a:cubicBezTo>
                    <a:cubicBezTo>
                      <a:pt x="161" y="84"/>
                      <a:pt x="168" y="86"/>
                      <a:pt x="171" y="91"/>
                    </a:cubicBezTo>
                    <a:cubicBezTo>
                      <a:pt x="173" y="96"/>
                      <a:pt x="175" y="107"/>
                      <a:pt x="175" y="123"/>
                    </a:cubicBezTo>
                    <a:cubicBezTo>
                      <a:pt x="175" y="138"/>
                      <a:pt x="175" y="138"/>
                      <a:pt x="175" y="138"/>
                    </a:cubicBezTo>
                    <a:cubicBezTo>
                      <a:pt x="301" y="138"/>
                      <a:pt x="301" y="138"/>
                      <a:pt x="301" y="138"/>
                    </a:cubicBezTo>
                    <a:cubicBezTo>
                      <a:pt x="302" y="130"/>
                      <a:pt x="302" y="125"/>
                      <a:pt x="302" y="121"/>
                    </a:cubicBezTo>
                    <a:cubicBezTo>
                      <a:pt x="302" y="94"/>
                      <a:pt x="292" y="73"/>
                      <a:pt x="273" y="57"/>
                    </a:cubicBezTo>
                    <a:cubicBezTo>
                      <a:pt x="254" y="42"/>
                      <a:pt x="225" y="33"/>
                      <a:pt x="186" y="29"/>
                    </a:cubicBezTo>
                    <a:cubicBezTo>
                      <a:pt x="186" y="0"/>
                      <a:pt x="186" y="0"/>
                      <a:pt x="186" y="0"/>
                    </a:cubicBezTo>
                    <a:cubicBezTo>
                      <a:pt x="128" y="0"/>
                      <a:pt x="128" y="0"/>
                      <a:pt x="128" y="0"/>
                    </a:cubicBezTo>
                    <a:cubicBezTo>
                      <a:pt x="128" y="29"/>
                      <a:pt x="128" y="29"/>
                      <a:pt x="128" y="29"/>
                    </a:cubicBezTo>
                    <a:cubicBezTo>
                      <a:pt x="85" y="33"/>
                      <a:pt x="53" y="42"/>
                      <a:pt x="32" y="58"/>
                    </a:cubicBezTo>
                    <a:cubicBezTo>
                      <a:pt x="11" y="73"/>
                      <a:pt x="0" y="95"/>
                      <a:pt x="0" y="122"/>
                    </a:cubicBezTo>
                    <a:cubicBezTo>
                      <a:pt x="0" y="141"/>
                      <a:pt x="5" y="158"/>
                      <a:pt x="15" y="173"/>
                    </a:cubicBezTo>
                    <a:cubicBezTo>
                      <a:pt x="25" y="188"/>
                      <a:pt x="37" y="199"/>
                      <a:pt x="51" y="207"/>
                    </a:cubicBezTo>
                    <a:cubicBezTo>
                      <a:pt x="65" y="216"/>
                      <a:pt x="91" y="228"/>
                      <a:pt x="129" y="246"/>
                    </a:cubicBezTo>
                    <a:cubicBezTo>
                      <a:pt x="152" y="256"/>
                      <a:pt x="166" y="266"/>
                      <a:pt x="170" y="275"/>
                    </a:cubicBezTo>
                    <a:cubicBezTo>
                      <a:pt x="174" y="283"/>
                      <a:pt x="176" y="298"/>
                      <a:pt x="176" y="319"/>
                    </a:cubicBezTo>
                    <a:cubicBezTo>
                      <a:pt x="176" y="327"/>
                      <a:pt x="174" y="333"/>
                      <a:pt x="170" y="337"/>
                    </a:cubicBezTo>
                    <a:cubicBezTo>
                      <a:pt x="165" y="341"/>
                      <a:pt x="159" y="343"/>
                      <a:pt x="151" y="343"/>
                    </a:cubicBezTo>
                    <a:cubicBezTo>
                      <a:pt x="141" y="343"/>
                      <a:pt x="134" y="340"/>
                      <a:pt x="132" y="334"/>
                    </a:cubicBezTo>
                    <a:cubicBezTo>
                      <a:pt x="129" y="328"/>
                      <a:pt x="128" y="313"/>
                      <a:pt x="128" y="289"/>
                    </a:cubicBezTo>
                    <a:cubicBezTo>
                      <a:pt x="128" y="266"/>
                      <a:pt x="128" y="266"/>
                      <a:pt x="128" y="266"/>
                    </a:cubicBezTo>
                    <a:cubicBezTo>
                      <a:pt x="2" y="266"/>
                      <a:pt x="2" y="266"/>
                      <a:pt x="2" y="266"/>
                    </a:cubicBezTo>
                    <a:cubicBezTo>
                      <a:pt x="2" y="284"/>
                      <a:pt x="2" y="284"/>
                      <a:pt x="2" y="284"/>
                    </a:cubicBezTo>
                    <a:cubicBezTo>
                      <a:pt x="2" y="325"/>
                      <a:pt x="15" y="353"/>
                      <a:pt x="40" y="370"/>
                    </a:cubicBezTo>
                    <a:cubicBezTo>
                      <a:pt x="65" y="386"/>
                      <a:pt x="94" y="395"/>
                      <a:pt x="128" y="398"/>
                    </a:cubicBezTo>
                    <a:cubicBezTo>
                      <a:pt x="128" y="433"/>
                      <a:pt x="128" y="433"/>
                      <a:pt x="128" y="433"/>
                    </a:cubicBezTo>
                    <a:lnTo>
                      <a:pt x="186" y="433"/>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25" name="Freeform 13"/>
              <p:cNvSpPr>
                <a:spLocks/>
              </p:cNvSpPr>
              <p:nvPr/>
            </p:nvSpPr>
            <p:spPr bwMode="auto">
              <a:xfrm>
                <a:off x="581025" y="3889366"/>
                <a:ext cx="52387" cy="79375"/>
              </a:xfrm>
              <a:custGeom>
                <a:avLst/>
                <a:gdLst>
                  <a:gd name="T0" fmla="*/ 0 w 226"/>
                  <a:gd name="T1" fmla="*/ 106 h 348"/>
                  <a:gd name="T2" fmla="*/ 0 w 226"/>
                  <a:gd name="T3" fmla="*/ 316 h 348"/>
                  <a:gd name="T4" fmla="*/ 40 w 226"/>
                  <a:gd name="T5" fmla="*/ 348 h 348"/>
                  <a:gd name="T6" fmla="*/ 187 w 226"/>
                  <a:gd name="T7" fmla="*/ 348 h 348"/>
                  <a:gd name="T8" fmla="*/ 226 w 226"/>
                  <a:gd name="T9" fmla="*/ 316 h 348"/>
                  <a:gd name="T10" fmla="*/ 226 w 226"/>
                  <a:gd name="T11" fmla="*/ 0 h 348"/>
                  <a:gd name="T12" fmla="*/ 137 w 226"/>
                  <a:gd name="T13" fmla="*/ 89 h 348"/>
                  <a:gd name="T14" fmla="*/ 58 w 226"/>
                  <a:gd name="T15" fmla="*/ 122 h 348"/>
                  <a:gd name="T16" fmla="*/ 0 w 226"/>
                  <a:gd name="T17" fmla="*/ 10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348">
                    <a:moveTo>
                      <a:pt x="0" y="106"/>
                    </a:moveTo>
                    <a:cubicBezTo>
                      <a:pt x="0" y="316"/>
                      <a:pt x="0" y="316"/>
                      <a:pt x="0" y="316"/>
                    </a:cubicBezTo>
                    <a:cubicBezTo>
                      <a:pt x="0" y="334"/>
                      <a:pt x="18" y="348"/>
                      <a:pt x="40" y="348"/>
                    </a:cubicBezTo>
                    <a:cubicBezTo>
                      <a:pt x="187" y="348"/>
                      <a:pt x="187" y="348"/>
                      <a:pt x="187" y="348"/>
                    </a:cubicBezTo>
                    <a:cubicBezTo>
                      <a:pt x="208" y="348"/>
                      <a:pt x="226" y="334"/>
                      <a:pt x="226" y="316"/>
                    </a:cubicBezTo>
                    <a:cubicBezTo>
                      <a:pt x="226" y="0"/>
                      <a:pt x="226" y="0"/>
                      <a:pt x="226" y="0"/>
                    </a:cubicBezTo>
                    <a:cubicBezTo>
                      <a:pt x="137" y="89"/>
                      <a:pt x="137" y="89"/>
                      <a:pt x="137" y="89"/>
                    </a:cubicBezTo>
                    <a:cubicBezTo>
                      <a:pt x="116" y="110"/>
                      <a:pt x="88" y="122"/>
                      <a:pt x="58" y="122"/>
                    </a:cubicBezTo>
                    <a:cubicBezTo>
                      <a:pt x="37" y="122"/>
                      <a:pt x="18" y="116"/>
                      <a:pt x="0"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26" name="Freeform 14"/>
              <p:cNvSpPr>
                <a:spLocks/>
              </p:cNvSpPr>
              <p:nvPr/>
            </p:nvSpPr>
            <p:spPr bwMode="auto">
              <a:xfrm>
                <a:off x="658813" y="3825866"/>
                <a:ext cx="50800" cy="142875"/>
              </a:xfrm>
              <a:custGeom>
                <a:avLst/>
                <a:gdLst>
                  <a:gd name="T0" fmla="*/ 0 w 226"/>
                  <a:gd name="T1" fmla="*/ 168 h 628"/>
                  <a:gd name="T2" fmla="*/ 0 w 226"/>
                  <a:gd name="T3" fmla="*/ 576 h 628"/>
                  <a:gd name="T4" fmla="*/ 40 w 226"/>
                  <a:gd name="T5" fmla="*/ 628 h 628"/>
                  <a:gd name="T6" fmla="*/ 187 w 226"/>
                  <a:gd name="T7" fmla="*/ 628 h 628"/>
                  <a:gd name="T8" fmla="*/ 226 w 226"/>
                  <a:gd name="T9" fmla="*/ 576 h 628"/>
                  <a:gd name="T10" fmla="*/ 226 w 226"/>
                  <a:gd name="T11" fmla="*/ 57 h 628"/>
                  <a:gd name="T12" fmla="*/ 169 w 226"/>
                  <a:gd name="T13" fmla="*/ 0 h 628"/>
                  <a:gd name="T14" fmla="*/ 0 w 226"/>
                  <a:gd name="T15" fmla="*/ 168 h 6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 h="628">
                    <a:moveTo>
                      <a:pt x="0" y="168"/>
                    </a:moveTo>
                    <a:cubicBezTo>
                      <a:pt x="0" y="576"/>
                      <a:pt x="0" y="576"/>
                      <a:pt x="0" y="576"/>
                    </a:cubicBezTo>
                    <a:cubicBezTo>
                      <a:pt x="0" y="605"/>
                      <a:pt x="18" y="628"/>
                      <a:pt x="40" y="628"/>
                    </a:cubicBezTo>
                    <a:cubicBezTo>
                      <a:pt x="187" y="628"/>
                      <a:pt x="187" y="628"/>
                      <a:pt x="187" y="628"/>
                    </a:cubicBezTo>
                    <a:cubicBezTo>
                      <a:pt x="208" y="628"/>
                      <a:pt x="226" y="605"/>
                      <a:pt x="226" y="576"/>
                    </a:cubicBezTo>
                    <a:cubicBezTo>
                      <a:pt x="226" y="57"/>
                      <a:pt x="226" y="57"/>
                      <a:pt x="226" y="57"/>
                    </a:cubicBezTo>
                    <a:cubicBezTo>
                      <a:pt x="169" y="0"/>
                      <a:pt x="169" y="0"/>
                      <a:pt x="169" y="0"/>
                    </a:cubicBezTo>
                    <a:lnTo>
                      <a:pt x="0" y="16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27" name="Freeform 15"/>
              <p:cNvSpPr>
                <a:spLocks/>
              </p:cNvSpPr>
              <p:nvPr/>
            </p:nvSpPr>
            <p:spPr bwMode="auto">
              <a:xfrm>
                <a:off x="735013" y="3819516"/>
                <a:ext cx="50800" cy="149225"/>
              </a:xfrm>
              <a:custGeom>
                <a:avLst/>
                <a:gdLst>
                  <a:gd name="T0" fmla="*/ 0 w 226"/>
                  <a:gd name="T1" fmla="*/ 164 h 656"/>
                  <a:gd name="T2" fmla="*/ 0 w 226"/>
                  <a:gd name="T3" fmla="*/ 619 h 656"/>
                  <a:gd name="T4" fmla="*/ 40 w 226"/>
                  <a:gd name="T5" fmla="*/ 656 h 656"/>
                  <a:gd name="T6" fmla="*/ 186 w 226"/>
                  <a:gd name="T7" fmla="*/ 656 h 656"/>
                  <a:gd name="T8" fmla="*/ 226 w 226"/>
                  <a:gd name="T9" fmla="*/ 619 h 656"/>
                  <a:gd name="T10" fmla="*/ 226 w 226"/>
                  <a:gd name="T11" fmla="*/ 0 h 656"/>
                  <a:gd name="T12" fmla="*/ 94 w 226"/>
                  <a:gd name="T13" fmla="*/ 132 h 656"/>
                  <a:gd name="T14" fmla="*/ 15 w 226"/>
                  <a:gd name="T15" fmla="*/ 165 h 656"/>
                  <a:gd name="T16" fmla="*/ 0 w 226"/>
                  <a:gd name="T17" fmla="*/ 164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656">
                    <a:moveTo>
                      <a:pt x="0" y="164"/>
                    </a:moveTo>
                    <a:cubicBezTo>
                      <a:pt x="0" y="619"/>
                      <a:pt x="0" y="619"/>
                      <a:pt x="0" y="619"/>
                    </a:cubicBezTo>
                    <a:cubicBezTo>
                      <a:pt x="0" y="640"/>
                      <a:pt x="18" y="656"/>
                      <a:pt x="40" y="656"/>
                    </a:cubicBezTo>
                    <a:cubicBezTo>
                      <a:pt x="186" y="656"/>
                      <a:pt x="186" y="656"/>
                      <a:pt x="186" y="656"/>
                    </a:cubicBezTo>
                    <a:cubicBezTo>
                      <a:pt x="208" y="656"/>
                      <a:pt x="226" y="640"/>
                      <a:pt x="226" y="619"/>
                    </a:cubicBezTo>
                    <a:cubicBezTo>
                      <a:pt x="226" y="0"/>
                      <a:pt x="226" y="0"/>
                      <a:pt x="226" y="0"/>
                    </a:cubicBezTo>
                    <a:cubicBezTo>
                      <a:pt x="94" y="132"/>
                      <a:pt x="94" y="132"/>
                      <a:pt x="94" y="132"/>
                    </a:cubicBezTo>
                    <a:cubicBezTo>
                      <a:pt x="73" y="153"/>
                      <a:pt x="44" y="165"/>
                      <a:pt x="15" y="165"/>
                    </a:cubicBezTo>
                    <a:cubicBezTo>
                      <a:pt x="10" y="165"/>
                      <a:pt x="5" y="165"/>
                      <a:pt x="0" y="16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28" name="Freeform 16"/>
              <p:cNvSpPr>
                <a:spLocks/>
              </p:cNvSpPr>
              <p:nvPr/>
            </p:nvSpPr>
            <p:spPr bwMode="auto">
              <a:xfrm>
                <a:off x="811213" y="3776660"/>
                <a:ext cx="52387" cy="192087"/>
              </a:xfrm>
              <a:custGeom>
                <a:avLst/>
                <a:gdLst>
                  <a:gd name="T0" fmla="*/ 78 w 226"/>
                  <a:gd name="T1" fmla="*/ 0 h 846"/>
                  <a:gd name="T2" fmla="*/ 0 w 226"/>
                  <a:gd name="T3" fmla="*/ 78 h 846"/>
                  <a:gd name="T4" fmla="*/ 0 w 226"/>
                  <a:gd name="T5" fmla="*/ 807 h 846"/>
                  <a:gd name="T6" fmla="*/ 40 w 226"/>
                  <a:gd name="T7" fmla="*/ 846 h 846"/>
                  <a:gd name="T8" fmla="*/ 186 w 226"/>
                  <a:gd name="T9" fmla="*/ 846 h 846"/>
                  <a:gd name="T10" fmla="*/ 226 w 226"/>
                  <a:gd name="T11" fmla="*/ 807 h 846"/>
                  <a:gd name="T12" fmla="*/ 226 w 226"/>
                  <a:gd name="T13" fmla="*/ 56 h 846"/>
                  <a:gd name="T14" fmla="*/ 173 w 226"/>
                  <a:gd name="T15" fmla="*/ 71 h 846"/>
                  <a:gd name="T16" fmla="*/ 78 w 226"/>
                  <a:gd name="T17" fmla="*/ 0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846">
                    <a:moveTo>
                      <a:pt x="78" y="0"/>
                    </a:moveTo>
                    <a:cubicBezTo>
                      <a:pt x="0" y="78"/>
                      <a:pt x="0" y="78"/>
                      <a:pt x="0" y="78"/>
                    </a:cubicBezTo>
                    <a:cubicBezTo>
                      <a:pt x="0" y="807"/>
                      <a:pt x="0" y="807"/>
                      <a:pt x="0" y="807"/>
                    </a:cubicBezTo>
                    <a:cubicBezTo>
                      <a:pt x="0" y="829"/>
                      <a:pt x="18" y="846"/>
                      <a:pt x="40" y="846"/>
                    </a:cubicBezTo>
                    <a:cubicBezTo>
                      <a:pt x="186" y="846"/>
                      <a:pt x="186" y="846"/>
                      <a:pt x="186" y="846"/>
                    </a:cubicBezTo>
                    <a:cubicBezTo>
                      <a:pt x="208" y="846"/>
                      <a:pt x="226" y="829"/>
                      <a:pt x="226" y="807"/>
                    </a:cubicBezTo>
                    <a:cubicBezTo>
                      <a:pt x="226" y="56"/>
                      <a:pt x="226" y="56"/>
                      <a:pt x="226" y="56"/>
                    </a:cubicBezTo>
                    <a:cubicBezTo>
                      <a:pt x="210" y="65"/>
                      <a:pt x="193" y="71"/>
                      <a:pt x="173" y="71"/>
                    </a:cubicBezTo>
                    <a:cubicBezTo>
                      <a:pt x="129" y="71"/>
                      <a:pt x="91" y="41"/>
                      <a:pt x="78"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29" name="Freeform 17"/>
              <p:cNvSpPr>
                <a:spLocks/>
              </p:cNvSpPr>
              <p:nvPr/>
            </p:nvSpPr>
            <p:spPr bwMode="auto">
              <a:xfrm>
                <a:off x="577850" y="3703638"/>
                <a:ext cx="285750" cy="203200"/>
              </a:xfrm>
              <a:custGeom>
                <a:avLst/>
                <a:gdLst>
                  <a:gd name="T0" fmla="*/ 73 w 1256"/>
                  <a:gd name="T1" fmla="*/ 890 h 890"/>
                  <a:gd name="T2" fmla="*/ 119 w 1256"/>
                  <a:gd name="T3" fmla="*/ 871 h 890"/>
                  <a:gd name="T4" fmla="*/ 522 w 1256"/>
                  <a:gd name="T5" fmla="*/ 469 h 890"/>
                  <a:gd name="T6" fmla="*/ 659 w 1256"/>
                  <a:gd name="T7" fmla="*/ 606 h 890"/>
                  <a:gd name="T8" fmla="*/ 706 w 1256"/>
                  <a:gd name="T9" fmla="*/ 626 h 890"/>
                  <a:gd name="T10" fmla="*/ 752 w 1256"/>
                  <a:gd name="T11" fmla="*/ 606 h 890"/>
                  <a:gd name="T12" fmla="*/ 1150 w 1256"/>
                  <a:gd name="T13" fmla="*/ 209 h 890"/>
                  <a:gd name="T14" fmla="*/ 1150 w 1256"/>
                  <a:gd name="T15" fmla="*/ 288 h 890"/>
                  <a:gd name="T16" fmla="*/ 1202 w 1256"/>
                  <a:gd name="T17" fmla="*/ 341 h 890"/>
                  <a:gd name="T18" fmla="*/ 1255 w 1256"/>
                  <a:gd name="T19" fmla="*/ 288 h 890"/>
                  <a:gd name="T20" fmla="*/ 1255 w 1256"/>
                  <a:gd name="T21" fmla="*/ 85 h 890"/>
                  <a:gd name="T22" fmla="*/ 1255 w 1256"/>
                  <a:gd name="T23" fmla="*/ 64 h 890"/>
                  <a:gd name="T24" fmla="*/ 1255 w 1256"/>
                  <a:gd name="T25" fmla="*/ 53 h 890"/>
                  <a:gd name="T26" fmla="*/ 1202 w 1256"/>
                  <a:gd name="T27" fmla="*/ 0 h 890"/>
                  <a:gd name="T28" fmla="*/ 963 w 1256"/>
                  <a:gd name="T29" fmla="*/ 0 h 890"/>
                  <a:gd name="T30" fmla="*/ 910 w 1256"/>
                  <a:gd name="T31" fmla="*/ 53 h 890"/>
                  <a:gd name="T32" fmla="*/ 963 w 1256"/>
                  <a:gd name="T33" fmla="*/ 106 h 890"/>
                  <a:gd name="T34" fmla="*/ 1065 w 1256"/>
                  <a:gd name="T35" fmla="*/ 106 h 890"/>
                  <a:gd name="T36" fmla="*/ 705 w 1256"/>
                  <a:gd name="T37" fmla="*/ 466 h 890"/>
                  <a:gd name="T38" fmla="*/ 568 w 1256"/>
                  <a:gd name="T39" fmla="*/ 329 h 890"/>
                  <a:gd name="T40" fmla="*/ 522 w 1256"/>
                  <a:gd name="T41" fmla="*/ 309 h 890"/>
                  <a:gd name="T42" fmla="*/ 475 w 1256"/>
                  <a:gd name="T43" fmla="*/ 329 h 890"/>
                  <a:gd name="T44" fmla="*/ 26 w 1256"/>
                  <a:gd name="T45" fmla="*/ 777 h 890"/>
                  <a:gd name="T46" fmla="*/ 26 w 1256"/>
                  <a:gd name="T47" fmla="*/ 871 h 890"/>
                  <a:gd name="T48" fmla="*/ 73 w 1256"/>
                  <a:gd name="T49" fmla="*/ 890 h 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56" h="890">
                    <a:moveTo>
                      <a:pt x="73" y="890"/>
                    </a:moveTo>
                    <a:cubicBezTo>
                      <a:pt x="90" y="890"/>
                      <a:pt x="107" y="884"/>
                      <a:pt x="119" y="871"/>
                    </a:cubicBezTo>
                    <a:cubicBezTo>
                      <a:pt x="522" y="469"/>
                      <a:pt x="522" y="469"/>
                      <a:pt x="522" y="469"/>
                    </a:cubicBezTo>
                    <a:cubicBezTo>
                      <a:pt x="659" y="606"/>
                      <a:pt x="659" y="606"/>
                      <a:pt x="659" y="606"/>
                    </a:cubicBezTo>
                    <a:cubicBezTo>
                      <a:pt x="671" y="619"/>
                      <a:pt x="688" y="626"/>
                      <a:pt x="706" y="626"/>
                    </a:cubicBezTo>
                    <a:cubicBezTo>
                      <a:pt x="723" y="626"/>
                      <a:pt x="740" y="619"/>
                      <a:pt x="752" y="606"/>
                    </a:cubicBezTo>
                    <a:cubicBezTo>
                      <a:pt x="1150" y="209"/>
                      <a:pt x="1150" y="209"/>
                      <a:pt x="1150" y="209"/>
                    </a:cubicBezTo>
                    <a:cubicBezTo>
                      <a:pt x="1150" y="288"/>
                      <a:pt x="1150" y="288"/>
                      <a:pt x="1150" y="288"/>
                    </a:cubicBezTo>
                    <a:cubicBezTo>
                      <a:pt x="1150" y="317"/>
                      <a:pt x="1173" y="341"/>
                      <a:pt x="1202" y="341"/>
                    </a:cubicBezTo>
                    <a:cubicBezTo>
                      <a:pt x="1232" y="341"/>
                      <a:pt x="1255" y="317"/>
                      <a:pt x="1255" y="288"/>
                    </a:cubicBezTo>
                    <a:cubicBezTo>
                      <a:pt x="1255" y="85"/>
                      <a:pt x="1255" y="85"/>
                      <a:pt x="1255" y="85"/>
                    </a:cubicBezTo>
                    <a:cubicBezTo>
                      <a:pt x="1256" y="78"/>
                      <a:pt x="1256" y="71"/>
                      <a:pt x="1255" y="64"/>
                    </a:cubicBezTo>
                    <a:cubicBezTo>
                      <a:pt x="1255" y="53"/>
                      <a:pt x="1255" y="53"/>
                      <a:pt x="1255" y="53"/>
                    </a:cubicBezTo>
                    <a:cubicBezTo>
                      <a:pt x="1255" y="24"/>
                      <a:pt x="1232" y="0"/>
                      <a:pt x="1202" y="0"/>
                    </a:cubicBezTo>
                    <a:cubicBezTo>
                      <a:pt x="963" y="0"/>
                      <a:pt x="963" y="0"/>
                      <a:pt x="963" y="0"/>
                    </a:cubicBezTo>
                    <a:cubicBezTo>
                      <a:pt x="934" y="0"/>
                      <a:pt x="910" y="24"/>
                      <a:pt x="910" y="53"/>
                    </a:cubicBezTo>
                    <a:cubicBezTo>
                      <a:pt x="910" y="82"/>
                      <a:pt x="934" y="106"/>
                      <a:pt x="963" y="106"/>
                    </a:cubicBezTo>
                    <a:cubicBezTo>
                      <a:pt x="1065" y="106"/>
                      <a:pt x="1065" y="106"/>
                      <a:pt x="1065" y="106"/>
                    </a:cubicBezTo>
                    <a:cubicBezTo>
                      <a:pt x="705" y="466"/>
                      <a:pt x="705" y="466"/>
                      <a:pt x="705" y="466"/>
                    </a:cubicBezTo>
                    <a:cubicBezTo>
                      <a:pt x="568" y="329"/>
                      <a:pt x="568" y="329"/>
                      <a:pt x="568" y="329"/>
                    </a:cubicBezTo>
                    <a:cubicBezTo>
                      <a:pt x="555" y="316"/>
                      <a:pt x="538" y="309"/>
                      <a:pt x="522" y="309"/>
                    </a:cubicBezTo>
                    <a:cubicBezTo>
                      <a:pt x="505" y="309"/>
                      <a:pt x="488" y="316"/>
                      <a:pt x="475" y="329"/>
                    </a:cubicBezTo>
                    <a:cubicBezTo>
                      <a:pt x="26" y="777"/>
                      <a:pt x="26" y="777"/>
                      <a:pt x="26" y="777"/>
                    </a:cubicBezTo>
                    <a:cubicBezTo>
                      <a:pt x="0" y="803"/>
                      <a:pt x="0" y="845"/>
                      <a:pt x="26" y="871"/>
                    </a:cubicBezTo>
                    <a:cubicBezTo>
                      <a:pt x="39" y="884"/>
                      <a:pt x="56" y="890"/>
                      <a:pt x="73" y="89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2400" dirty="0"/>
              </a:p>
            </p:txBody>
          </p:sp>
        </p:grpSp>
        <p:grpSp>
          <p:nvGrpSpPr>
            <p:cNvPr id="43" name="Group 42"/>
            <p:cNvGrpSpPr/>
            <p:nvPr userDrawn="1"/>
          </p:nvGrpSpPr>
          <p:grpSpPr>
            <a:xfrm>
              <a:off x="7549640" y="2052511"/>
              <a:ext cx="315101" cy="382457"/>
              <a:chOff x="3375026" y="2760657"/>
              <a:chExt cx="1084263" cy="1316038"/>
            </a:xfrm>
            <a:solidFill>
              <a:schemeClr val="tx2"/>
            </a:solidFill>
          </p:grpSpPr>
          <p:sp>
            <p:nvSpPr>
              <p:cNvPr id="44" name="Freeform 43"/>
              <p:cNvSpPr>
                <a:spLocks noEditPoints="1"/>
              </p:cNvSpPr>
              <p:nvPr/>
            </p:nvSpPr>
            <p:spPr bwMode="auto">
              <a:xfrm>
                <a:off x="3375026" y="2862260"/>
                <a:ext cx="1084263" cy="1214435"/>
              </a:xfrm>
              <a:custGeom>
                <a:avLst/>
                <a:gdLst>
                  <a:gd name="T0" fmla="*/ 289 w 289"/>
                  <a:gd name="T1" fmla="*/ 290 h 324"/>
                  <a:gd name="T2" fmla="*/ 289 w 289"/>
                  <a:gd name="T3" fmla="*/ 287 h 324"/>
                  <a:gd name="T4" fmla="*/ 274 w 289"/>
                  <a:gd name="T5" fmla="*/ 221 h 324"/>
                  <a:gd name="T6" fmla="*/ 223 w 289"/>
                  <a:gd name="T7" fmla="*/ 186 h 324"/>
                  <a:gd name="T8" fmla="*/ 262 w 289"/>
                  <a:gd name="T9" fmla="*/ 188 h 324"/>
                  <a:gd name="T10" fmla="*/ 221 w 289"/>
                  <a:gd name="T11" fmla="*/ 132 h 324"/>
                  <a:gd name="T12" fmla="*/ 196 w 289"/>
                  <a:gd name="T13" fmla="*/ 139 h 324"/>
                  <a:gd name="T14" fmla="*/ 171 w 289"/>
                  <a:gd name="T15" fmla="*/ 149 h 324"/>
                  <a:gd name="T16" fmla="*/ 154 w 289"/>
                  <a:gd name="T17" fmla="*/ 156 h 324"/>
                  <a:gd name="T18" fmla="*/ 135 w 289"/>
                  <a:gd name="T19" fmla="*/ 140 h 324"/>
                  <a:gd name="T20" fmla="*/ 155 w 289"/>
                  <a:gd name="T21" fmla="*/ 126 h 324"/>
                  <a:gd name="T22" fmla="*/ 169 w 289"/>
                  <a:gd name="T23" fmla="*/ 130 h 324"/>
                  <a:gd name="T24" fmla="*/ 169 w 289"/>
                  <a:gd name="T25" fmla="*/ 130 h 324"/>
                  <a:gd name="T26" fmla="*/ 190 w 289"/>
                  <a:gd name="T27" fmla="*/ 120 h 324"/>
                  <a:gd name="T28" fmla="*/ 195 w 289"/>
                  <a:gd name="T29" fmla="*/ 77 h 324"/>
                  <a:gd name="T30" fmla="*/ 207 w 289"/>
                  <a:gd name="T31" fmla="*/ 70 h 324"/>
                  <a:gd name="T32" fmla="*/ 203 w 289"/>
                  <a:gd name="T33" fmla="*/ 35 h 324"/>
                  <a:gd name="T34" fmla="*/ 142 w 289"/>
                  <a:gd name="T35" fmla="*/ 0 h 324"/>
                  <a:gd name="T36" fmla="*/ 87 w 289"/>
                  <a:gd name="T37" fmla="*/ 31 h 324"/>
                  <a:gd name="T38" fmla="*/ 82 w 289"/>
                  <a:gd name="T39" fmla="*/ 70 h 324"/>
                  <a:gd name="T40" fmla="*/ 90 w 289"/>
                  <a:gd name="T41" fmla="*/ 77 h 324"/>
                  <a:gd name="T42" fmla="*/ 93 w 289"/>
                  <a:gd name="T43" fmla="*/ 137 h 324"/>
                  <a:gd name="T44" fmla="*/ 64 w 289"/>
                  <a:gd name="T45" fmla="*/ 134 h 324"/>
                  <a:gd name="T46" fmla="*/ 23 w 289"/>
                  <a:gd name="T47" fmla="*/ 191 h 324"/>
                  <a:gd name="T48" fmla="*/ 60 w 289"/>
                  <a:gd name="T49" fmla="*/ 189 h 324"/>
                  <a:gd name="T50" fmla="*/ 16 w 289"/>
                  <a:gd name="T51" fmla="*/ 221 h 324"/>
                  <a:gd name="T52" fmla="*/ 1 w 289"/>
                  <a:gd name="T53" fmla="*/ 287 h 324"/>
                  <a:gd name="T54" fmla="*/ 0 w 289"/>
                  <a:gd name="T55" fmla="*/ 290 h 324"/>
                  <a:gd name="T56" fmla="*/ 0 w 289"/>
                  <a:gd name="T57" fmla="*/ 290 h 324"/>
                  <a:gd name="T58" fmla="*/ 0 w 289"/>
                  <a:gd name="T59" fmla="*/ 291 h 324"/>
                  <a:gd name="T60" fmla="*/ 0 w 289"/>
                  <a:gd name="T61" fmla="*/ 291 h 324"/>
                  <a:gd name="T62" fmla="*/ 145 w 289"/>
                  <a:gd name="T63" fmla="*/ 324 h 324"/>
                  <a:gd name="T64" fmla="*/ 289 w 289"/>
                  <a:gd name="T65" fmla="*/ 291 h 324"/>
                  <a:gd name="T66" fmla="*/ 289 w 289"/>
                  <a:gd name="T67" fmla="*/ 291 h 324"/>
                  <a:gd name="T68" fmla="*/ 289 w 289"/>
                  <a:gd name="T69" fmla="*/ 290 h 324"/>
                  <a:gd name="T70" fmla="*/ 289 w 289"/>
                  <a:gd name="T71" fmla="*/ 290 h 324"/>
                  <a:gd name="T72" fmla="*/ 113 w 289"/>
                  <a:gd name="T73" fmla="*/ 210 h 324"/>
                  <a:gd name="T74" fmla="*/ 124 w 289"/>
                  <a:gd name="T75" fmla="*/ 196 h 324"/>
                  <a:gd name="T76" fmla="*/ 97 w 289"/>
                  <a:gd name="T77" fmla="*/ 216 h 324"/>
                  <a:gd name="T78" fmla="*/ 102 w 289"/>
                  <a:gd name="T79" fmla="*/ 181 h 324"/>
                  <a:gd name="T80" fmla="*/ 113 w 289"/>
                  <a:gd name="T81" fmla="*/ 164 h 324"/>
                  <a:gd name="T82" fmla="*/ 139 w 289"/>
                  <a:gd name="T83" fmla="*/ 184 h 324"/>
                  <a:gd name="T84" fmla="*/ 129 w 289"/>
                  <a:gd name="T85" fmla="*/ 194 h 324"/>
                  <a:gd name="T86" fmla="*/ 151 w 289"/>
                  <a:gd name="T87" fmla="*/ 276 h 324"/>
                  <a:gd name="T88" fmla="*/ 113 w 289"/>
                  <a:gd name="T89" fmla="*/ 210 h 324"/>
                  <a:gd name="T90" fmla="*/ 183 w 289"/>
                  <a:gd name="T91" fmla="*/ 210 h 324"/>
                  <a:gd name="T92" fmla="*/ 152 w 289"/>
                  <a:gd name="T93" fmla="*/ 276 h 324"/>
                  <a:gd name="T94" fmla="*/ 164 w 289"/>
                  <a:gd name="T95" fmla="*/ 192 h 324"/>
                  <a:gd name="T96" fmla="*/ 154 w 289"/>
                  <a:gd name="T97" fmla="*/ 183 h 324"/>
                  <a:gd name="T98" fmla="*/ 176 w 289"/>
                  <a:gd name="T99" fmla="*/ 163 h 324"/>
                  <a:gd name="T100" fmla="*/ 188 w 289"/>
                  <a:gd name="T101" fmla="*/ 179 h 324"/>
                  <a:gd name="T102" fmla="*/ 200 w 289"/>
                  <a:gd name="T103" fmla="*/ 218 h 324"/>
                  <a:gd name="T104" fmla="*/ 172 w 289"/>
                  <a:gd name="T105" fmla="*/ 196 h 324"/>
                  <a:gd name="T106" fmla="*/ 183 w 289"/>
                  <a:gd name="T107" fmla="*/ 21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9" h="324">
                    <a:moveTo>
                      <a:pt x="289" y="290"/>
                    </a:moveTo>
                    <a:cubicBezTo>
                      <a:pt x="289" y="289"/>
                      <a:pt x="289" y="288"/>
                      <a:pt x="289" y="287"/>
                    </a:cubicBezTo>
                    <a:cubicBezTo>
                      <a:pt x="287" y="272"/>
                      <a:pt x="281" y="229"/>
                      <a:pt x="274" y="221"/>
                    </a:cubicBezTo>
                    <a:cubicBezTo>
                      <a:pt x="261" y="207"/>
                      <a:pt x="240" y="195"/>
                      <a:pt x="223" y="186"/>
                    </a:cubicBezTo>
                    <a:cubicBezTo>
                      <a:pt x="237" y="190"/>
                      <a:pt x="251" y="191"/>
                      <a:pt x="262" y="188"/>
                    </a:cubicBezTo>
                    <a:cubicBezTo>
                      <a:pt x="248" y="185"/>
                      <a:pt x="229" y="161"/>
                      <a:pt x="221" y="132"/>
                    </a:cubicBezTo>
                    <a:cubicBezTo>
                      <a:pt x="217" y="134"/>
                      <a:pt x="204" y="141"/>
                      <a:pt x="196" y="139"/>
                    </a:cubicBezTo>
                    <a:cubicBezTo>
                      <a:pt x="183" y="146"/>
                      <a:pt x="171" y="149"/>
                      <a:pt x="171" y="149"/>
                    </a:cubicBezTo>
                    <a:cubicBezTo>
                      <a:pt x="171" y="149"/>
                      <a:pt x="165" y="156"/>
                      <a:pt x="154" y="156"/>
                    </a:cubicBezTo>
                    <a:cubicBezTo>
                      <a:pt x="140" y="156"/>
                      <a:pt x="135" y="149"/>
                      <a:pt x="135" y="140"/>
                    </a:cubicBezTo>
                    <a:cubicBezTo>
                      <a:pt x="135" y="132"/>
                      <a:pt x="144" y="126"/>
                      <a:pt x="155" y="126"/>
                    </a:cubicBezTo>
                    <a:cubicBezTo>
                      <a:pt x="160" y="126"/>
                      <a:pt x="165" y="128"/>
                      <a:pt x="169" y="130"/>
                    </a:cubicBezTo>
                    <a:cubicBezTo>
                      <a:pt x="169" y="130"/>
                      <a:pt x="169" y="130"/>
                      <a:pt x="169" y="130"/>
                    </a:cubicBezTo>
                    <a:cubicBezTo>
                      <a:pt x="176" y="129"/>
                      <a:pt x="184" y="125"/>
                      <a:pt x="190" y="120"/>
                    </a:cubicBezTo>
                    <a:cubicBezTo>
                      <a:pt x="190" y="104"/>
                      <a:pt x="194" y="80"/>
                      <a:pt x="195" y="77"/>
                    </a:cubicBezTo>
                    <a:cubicBezTo>
                      <a:pt x="195" y="71"/>
                      <a:pt x="201" y="70"/>
                      <a:pt x="207" y="70"/>
                    </a:cubicBezTo>
                    <a:cubicBezTo>
                      <a:pt x="208" y="57"/>
                      <a:pt x="208" y="44"/>
                      <a:pt x="203" y="35"/>
                    </a:cubicBezTo>
                    <a:cubicBezTo>
                      <a:pt x="192" y="13"/>
                      <a:pt x="162" y="0"/>
                      <a:pt x="142" y="0"/>
                    </a:cubicBezTo>
                    <a:cubicBezTo>
                      <a:pt x="123" y="0"/>
                      <a:pt x="98" y="11"/>
                      <a:pt x="87" y="31"/>
                    </a:cubicBezTo>
                    <a:cubicBezTo>
                      <a:pt x="81" y="42"/>
                      <a:pt x="81" y="56"/>
                      <a:pt x="82" y="70"/>
                    </a:cubicBezTo>
                    <a:cubicBezTo>
                      <a:pt x="86" y="70"/>
                      <a:pt x="89" y="72"/>
                      <a:pt x="90" y="77"/>
                    </a:cubicBezTo>
                    <a:cubicBezTo>
                      <a:pt x="91" y="82"/>
                      <a:pt x="97" y="129"/>
                      <a:pt x="93" y="137"/>
                    </a:cubicBezTo>
                    <a:cubicBezTo>
                      <a:pt x="90" y="145"/>
                      <a:pt x="68" y="136"/>
                      <a:pt x="64" y="134"/>
                    </a:cubicBezTo>
                    <a:cubicBezTo>
                      <a:pt x="57" y="163"/>
                      <a:pt x="37" y="188"/>
                      <a:pt x="23" y="191"/>
                    </a:cubicBezTo>
                    <a:cubicBezTo>
                      <a:pt x="33" y="194"/>
                      <a:pt x="47" y="193"/>
                      <a:pt x="60" y="189"/>
                    </a:cubicBezTo>
                    <a:cubicBezTo>
                      <a:pt x="45" y="197"/>
                      <a:pt x="27" y="208"/>
                      <a:pt x="16" y="221"/>
                    </a:cubicBezTo>
                    <a:cubicBezTo>
                      <a:pt x="9" y="229"/>
                      <a:pt x="3" y="272"/>
                      <a:pt x="1" y="287"/>
                    </a:cubicBezTo>
                    <a:cubicBezTo>
                      <a:pt x="1" y="288"/>
                      <a:pt x="0" y="289"/>
                      <a:pt x="0" y="290"/>
                    </a:cubicBezTo>
                    <a:cubicBezTo>
                      <a:pt x="0" y="290"/>
                      <a:pt x="0" y="290"/>
                      <a:pt x="0" y="290"/>
                    </a:cubicBezTo>
                    <a:cubicBezTo>
                      <a:pt x="0" y="291"/>
                      <a:pt x="0" y="291"/>
                      <a:pt x="0" y="291"/>
                    </a:cubicBezTo>
                    <a:cubicBezTo>
                      <a:pt x="0" y="291"/>
                      <a:pt x="0" y="291"/>
                      <a:pt x="0" y="291"/>
                    </a:cubicBezTo>
                    <a:cubicBezTo>
                      <a:pt x="4" y="309"/>
                      <a:pt x="67" y="324"/>
                      <a:pt x="145" y="324"/>
                    </a:cubicBezTo>
                    <a:cubicBezTo>
                      <a:pt x="222" y="324"/>
                      <a:pt x="286" y="309"/>
                      <a:pt x="289" y="291"/>
                    </a:cubicBezTo>
                    <a:cubicBezTo>
                      <a:pt x="289" y="291"/>
                      <a:pt x="289" y="291"/>
                      <a:pt x="289" y="291"/>
                    </a:cubicBezTo>
                    <a:cubicBezTo>
                      <a:pt x="289" y="291"/>
                      <a:pt x="289" y="291"/>
                      <a:pt x="289" y="290"/>
                    </a:cubicBezTo>
                    <a:cubicBezTo>
                      <a:pt x="289" y="290"/>
                      <a:pt x="289" y="290"/>
                      <a:pt x="289" y="290"/>
                    </a:cubicBezTo>
                    <a:close/>
                    <a:moveTo>
                      <a:pt x="113" y="210"/>
                    </a:moveTo>
                    <a:cubicBezTo>
                      <a:pt x="124" y="196"/>
                      <a:pt x="124" y="196"/>
                      <a:pt x="124" y="196"/>
                    </a:cubicBezTo>
                    <a:cubicBezTo>
                      <a:pt x="97" y="216"/>
                      <a:pt x="97" y="216"/>
                      <a:pt x="97" y="216"/>
                    </a:cubicBezTo>
                    <a:cubicBezTo>
                      <a:pt x="102" y="181"/>
                      <a:pt x="102" y="181"/>
                      <a:pt x="102" y="181"/>
                    </a:cubicBezTo>
                    <a:cubicBezTo>
                      <a:pt x="113" y="164"/>
                      <a:pt x="113" y="164"/>
                      <a:pt x="113" y="164"/>
                    </a:cubicBezTo>
                    <a:cubicBezTo>
                      <a:pt x="139" y="184"/>
                      <a:pt x="139" y="184"/>
                      <a:pt x="139" y="184"/>
                    </a:cubicBezTo>
                    <a:cubicBezTo>
                      <a:pt x="129" y="194"/>
                      <a:pt x="129" y="194"/>
                      <a:pt x="129" y="194"/>
                    </a:cubicBezTo>
                    <a:cubicBezTo>
                      <a:pt x="151" y="276"/>
                      <a:pt x="151" y="276"/>
                      <a:pt x="151" y="276"/>
                    </a:cubicBezTo>
                    <a:lnTo>
                      <a:pt x="113" y="210"/>
                    </a:lnTo>
                    <a:close/>
                    <a:moveTo>
                      <a:pt x="183" y="210"/>
                    </a:moveTo>
                    <a:cubicBezTo>
                      <a:pt x="152" y="276"/>
                      <a:pt x="152" y="276"/>
                      <a:pt x="152" y="276"/>
                    </a:cubicBezTo>
                    <a:cubicBezTo>
                      <a:pt x="164" y="192"/>
                      <a:pt x="164" y="192"/>
                      <a:pt x="164" y="192"/>
                    </a:cubicBezTo>
                    <a:cubicBezTo>
                      <a:pt x="154" y="183"/>
                      <a:pt x="154" y="183"/>
                      <a:pt x="154" y="183"/>
                    </a:cubicBezTo>
                    <a:cubicBezTo>
                      <a:pt x="176" y="163"/>
                      <a:pt x="176" y="163"/>
                      <a:pt x="176" y="163"/>
                    </a:cubicBezTo>
                    <a:cubicBezTo>
                      <a:pt x="188" y="179"/>
                      <a:pt x="188" y="179"/>
                      <a:pt x="188" y="179"/>
                    </a:cubicBezTo>
                    <a:cubicBezTo>
                      <a:pt x="200" y="218"/>
                      <a:pt x="200" y="218"/>
                      <a:pt x="200" y="218"/>
                    </a:cubicBezTo>
                    <a:cubicBezTo>
                      <a:pt x="172" y="196"/>
                      <a:pt x="172" y="196"/>
                      <a:pt x="172" y="196"/>
                    </a:cubicBezTo>
                    <a:lnTo>
                      <a:pt x="183"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45" name="Freeform 44"/>
              <p:cNvSpPr>
                <a:spLocks/>
              </p:cNvSpPr>
              <p:nvPr/>
            </p:nvSpPr>
            <p:spPr bwMode="auto">
              <a:xfrm>
                <a:off x="3567113" y="2760657"/>
                <a:ext cx="682626" cy="600074"/>
              </a:xfrm>
              <a:custGeom>
                <a:avLst/>
                <a:gdLst>
                  <a:gd name="T0" fmla="*/ 180 w 182"/>
                  <a:gd name="T1" fmla="*/ 110 h 160"/>
                  <a:gd name="T2" fmla="*/ 176 w 182"/>
                  <a:gd name="T3" fmla="*/ 101 h 160"/>
                  <a:gd name="T4" fmla="*/ 177 w 182"/>
                  <a:gd name="T5" fmla="*/ 87 h 160"/>
                  <a:gd name="T6" fmla="*/ 91 w 182"/>
                  <a:gd name="T7" fmla="*/ 0 h 160"/>
                  <a:gd name="T8" fmla="*/ 5 w 182"/>
                  <a:gd name="T9" fmla="*/ 87 h 160"/>
                  <a:gd name="T10" fmla="*/ 6 w 182"/>
                  <a:gd name="T11" fmla="*/ 101 h 160"/>
                  <a:gd name="T12" fmla="*/ 2 w 182"/>
                  <a:gd name="T13" fmla="*/ 111 h 160"/>
                  <a:gd name="T14" fmla="*/ 4 w 182"/>
                  <a:gd name="T15" fmla="*/ 146 h 160"/>
                  <a:gd name="T16" fmla="*/ 29 w 182"/>
                  <a:gd name="T17" fmla="*/ 159 h 160"/>
                  <a:gd name="T18" fmla="*/ 33 w 182"/>
                  <a:gd name="T19" fmla="*/ 160 h 160"/>
                  <a:gd name="T20" fmla="*/ 37 w 182"/>
                  <a:gd name="T21" fmla="*/ 155 h 160"/>
                  <a:gd name="T22" fmla="*/ 33 w 182"/>
                  <a:gd name="T23" fmla="*/ 108 h 160"/>
                  <a:gd name="T24" fmla="*/ 28 w 182"/>
                  <a:gd name="T25" fmla="*/ 104 h 160"/>
                  <a:gd name="T26" fmla="*/ 25 w 182"/>
                  <a:gd name="T27" fmla="*/ 105 h 160"/>
                  <a:gd name="T28" fmla="*/ 24 w 182"/>
                  <a:gd name="T29" fmla="*/ 105 h 160"/>
                  <a:gd name="T30" fmla="*/ 16 w 182"/>
                  <a:gd name="T31" fmla="*/ 99 h 160"/>
                  <a:gd name="T32" fmla="*/ 15 w 182"/>
                  <a:gd name="T33" fmla="*/ 87 h 160"/>
                  <a:gd name="T34" fmla="*/ 91 w 182"/>
                  <a:gd name="T35" fmla="*/ 15 h 160"/>
                  <a:gd name="T36" fmla="*/ 168 w 182"/>
                  <a:gd name="T37" fmla="*/ 87 h 160"/>
                  <a:gd name="T38" fmla="*/ 167 w 182"/>
                  <a:gd name="T39" fmla="*/ 99 h 160"/>
                  <a:gd name="T40" fmla="*/ 159 w 182"/>
                  <a:gd name="T41" fmla="*/ 105 h 160"/>
                  <a:gd name="T42" fmla="*/ 158 w 182"/>
                  <a:gd name="T43" fmla="*/ 105 h 160"/>
                  <a:gd name="T44" fmla="*/ 155 w 182"/>
                  <a:gd name="T45" fmla="*/ 104 h 160"/>
                  <a:gd name="T46" fmla="*/ 150 w 182"/>
                  <a:gd name="T47" fmla="*/ 108 h 160"/>
                  <a:gd name="T48" fmla="*/ 145 w 182"/>
                  <a:gd name="T49" fmla="*/ 155 h 160"/>
                  <a:gd name="T50" fmla="*/ 150 w 182"/>
                  <a:gd name="T51" fmla="*/ 160 h 160"/>
                  <a:gd name="T52" fmla="*/ 153 w 182"/>
                  <a:gd name="T53" fmla="*/ 158 h 160"/>
                  <a:gd name="T54" fmla="*/ 178 w 182"/>
                  <a:gd name="T55" fmla="*/ 146 h 160"/>
                  <a:gd name="T56" fmla="*/ 180 w 182"/>
                  <a:gd name="T57" fmla="*/ 11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2" h="160">
                    <a:moveTo>
                      <a:pt x="180" y="110"/>
                    </a:moveTo>
                    <a:cubicBezTo>
                      <a:pt x="179" y="107"/>
                      <a:pt x="177" y="103"/>
                      <a:pt x="176" y="101"/>
                    </a:cubicBezTo>
                    <a:cubicBezTo>
                      <a:pt x="177" y="96"/>
                      <a:pt x="177" y="92"/>
                      <a:pt x="177" y="87"/>
                    </a:cubicBezTo>
                    <a:cubicBezTo>
                      <a:pt x="177" y="39"/>
                      <a:pt x="139" y="0"/>
                      <a:pt x="91" y="0"/>
                    </a:cubicBezTo>
                    <a:cubicBezTo>
                      <a:pt x="44" y="0"/>
                      <a:pt x="5" y="39"/>
                      <a:pt x="5" y="87"/>
                    </a:cubicBezTo>
                    <a:cubicBezTo>
                      <a:pt x="5" y="92"/>
                      <a:pt x="6" y="97"/>
                      <a:pt x="6" y="101"/>
                    </a:cubicBezTo>
                    <a:cubicBezTo>
                      <a:pt x="5" y="104"/>
                      <a:pt x="4" y="107"/>
                      <a:pt x="2" y="111"/>
                    </a:cubicBezTo>
                    <a:cubicBezTo>
                      <a:pt x="0" y="116"/>
                      <a:pt x="2" y="142"/>
                      <a:pt x="4" y="146"/>
                    </a:cubicBezTo>
                    <a:cubicBezTo>
                      <a:pt x="9" y="153"/>
                      <a:pt x="21" y="158"/>
                      <a:pt x="29" y="159"/>
                    </a:cubicBezTo>
                    <a:cubicBezTo>
                      <a:pt x="30" y="160"/>
                      <a:pt x="31" y="160"/>
                      <a:pt x="33" y="160"/>
                    </a:cubicBezTo>
                    <a:cubicBezTo>
                      <a:pt x="35" y="160"/>
                      <a:pt x="37" y="158"/>
                      <a:pt x="37" y="155"/>
                    </a:cubicBezTo>
                    <a:cubicBezTo>
                      <a:pt x="33" y="108"/>
                      <a:pt x="33" y="108"/>
                      <a:pt x="33" y="108"/>
                    </a:cubicBezTo>
                    <a:cubicBezTo>
                      <a:pt x="33" y="105"/>
                      <a:pt x="30" y="104"/>
                      <a:pt x="28" y="104"/>
                    </a:cubicBezTo>
                    <a:cubicBezTo>
                      <a:pt x="27" y="104"/>
                      <a:pt x="26" y="104"/>
                      <a:pt x="25" y="105"/>
                    </a:cubicBezTo>
                    <a:cubicBezTo>
                      <a:pt x="24" y="105"/>
                      <a:pt x="24" y="105"/>
                      <a:pt x="24" y="105"/>
                    </a:cubicBezTo>
                    <a:cubicBezTo>
                      <a:pt x="21" y="105"/>
                      <a:pt x="17" y="102"/>
                      <a:pt x="16" y="99"/>
                    </a:cubicBezTo>
                    <a:cubicBezTo>
                      <a:pt x="15" y="95"/>
                      <a:pt x="15" y="91"/>
                      <a:pt x="15" y="87"/>
                    </a:cubicBezTo>
                    <a:cubicBezTo>
                      <a:pt x="15" y="44"/>
                      <a:pt x="49" y="15"/>
                      <a:pt x="91" y="15"/>
                    </a:cubicBezTo>
                    <a:cubicBezTo>
                      <a:pt x="133" y="15"/>
                      <a:pt x="168" y="44"/>
                      <a:pt x="168" y="87"/>
                    </a:cubicBezTo>
                    <a:cubicBezTo>
                      <a:pt x="168" y="91"/>
                      <a:pt x="167" y="95"/>
                      <a:pt x="167" y="99"/>
                    </a:cubicBezTo>
                    <a:cubicBezTo>
                      <a:pt x="165" y="102"/>
                      <a:pt x="161" y="105"/>
                      <a:pt x="159" y="105"/>
                    </a:cubicBezTo>
                    <a:cubicBezTo>
                      <a:pt x="159" y="105"/>
                      <a:pt x="158" y="105"/>
                      <a:pt x="158" y="105"/>
                    </a:cubicBezTo>
                    <a:cubicBezTo>
                      <a:pt x="157" y="104"/>
                      <a:pt x="156" y="104"/>
                      <a:pt x="155" y="104"/>
                    </a:cubicBezTo>
                    <a:cubicBezTo>
                      <a:pt x="152" y="103"/>
                      <a:pt x="150" y="105"/>
                      <a:pt x="150" y="108"/>
                    </a:cubicBezTo>
                    <a:cubicBezTo>
                      <a:pt x="145" y="155"/>
                      <a:pt x="145" y="155"/>
                      <a:pt x="145" y="155"/>
                    </a:cubicBezTo>
                    <a:cubicBezTo>
                      <a:pt x="145" y="158"/>
                      <a:pt x="147" y="160"/>
                      <a:pt x="150" y="160"/>
                    </a:cubicBezTo>
                    <a:cubicBezTo>
                      <a:pt x="151" y="160"/>
                      <a:pt x="153" y="159"/>
                      <a:pt x="153" y="158"/>
                    </a:cubicBezTo>
                    <a:cubicBezTo>
                      <a:pt x="161" y="157"/>
                      <a:pt x="174" y="152"/>
                      <a:pt x="178" y="146"/>
                    </a:cubicBezTo>
                    <a:cubicBezTo>
                      <a:pt x="181" y="142"/>
                      <a:pt x="182" y="116"/>
                      <a:pt x="180" y="110"/>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46" name="Freeform 45"/>
              <p:cNvSpPr>
                <a:spLocks/>
              </p:cNvSpPr>
              <p:nvPr/>
            </p:nvSpPr>
            <p:spPr bwMode="auto">
              <a:xfrm>
                <a:off x="3903664" y="3225799"/>
                <a:ext cx="323850" cy="198436"/>
              </a:xfrm>
              <a:custGeom>
                <a:avLst/>
                <a:gdLst>
                  <a:gd name="T0" fmla="*/ 86 w 86"/>
                  <a:gd name="T1" fmla="*/ 4 h 53"/>
                  <a:gd name="T2" fmla="*/ 79 w 86"/>
                  <a:gd name="T3" fmla="*/ 4 h 53"/>
                  <a:gd name="T4" fmla="*/ 26 w 86"/>
                  <a:gd name="T5" fmla="*/ 41 h 53"/>
                  <a:gd name="T6" fmla="*/ 14 w 86"/>
                  <a:gd name="T7" fmla="*/ 36 h 53"/>
                  <a:gd name="T8" fmla="*/ 0 w 86"/>
                  <a:gd name="T9" fmla="*/ 45 h 53"/>
                  <a:gd name="T10" fmla="*/ 14 w 86"/>
                  <a:gd name="T11" fmla="*/ 53 h 53"/>
                  <a:gd name="T12" fmla="*/ 28 w 86"/>
                  <a:gd name="T13" fmla="*/ 45 h 53"/>
                  <a:gd name="T14" fmla="*/ 86 w 86"/>
                  <a:gd name="T15" fmla="*/ 4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53">
                    <a:moveTo>
                      <a:pt x="86" y="4"/>
                    </a:moveTo>
                    <a:cubicBezTo>
                      <a:pt x="81" y="0"/>
                      <a:pt x="79" y="4"/>
                      <a:pt x="79" y="4"/>
                    </a:cubicBezTo>
                    <a:cubicBezTo>
                      <a:pt x="76" y="9"/>
                      <a:pt x="60" y="31"/>
                      <a:pt x="26" y="41"/>
                    </a:cubicBezTo>
                    <a:cubicBezTo>
                      <a:pt x="24" y="38"/>
                      <a:pt x="19" y="36"/>
                      <a:pt x="14" y="36"/>
                    </a:cubicBezTo>
                    <a:cubicBezTo>
                      <a:pt x="6" y="36"/>
                      <a:pt x="0" y="40"/>
                      <a:pt x="0" y="45"/>
                    </a:cubicBezTo>
                    <a:cubicBezTo>
                      <a:pt x="0" y="49"/>
                      <a:pt x="6" y="53"/>
                      <a:pt x="14" y="53"/>
                    </a:cubicBezTo>
                    <a:cubicBezTo>
                      <a:pt x="21" y="53"/>
                      <a:pt x="28" y="49"/>
                      <a:pt x="28" y="45"/>
                    </a:cubicBezTo>
                    <a:cubicBezTo>
                      <a:pt x="40" y="41"/>
                      <a:pt x="70" y="30"/>
                      <a:pt x="86" y="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grpSp>
          <p:nvGrpSpPr>
            <p:cNvPr id="47" name="Group 46"/>
            <p:cNvGrpSpPr/>
            <p:nvPr userDrawn="1"/>
          </p:nvGrpSpPr>
          <p:grpSpPr>
            <a:xfrm>
              <a:off x="6624881" y="2042524"/>
              <a:ext cx="352669" cy="392441"/>
              <a:chOff x="576263" y="2547930"/>
              <a:chExt cx="633412" cy="704843"/>
            </a:xfrm>
            <a:solidFill>
              <a:schemeClr val="accent4"/>
            </a:solidFill>
          </p:grpSpPr>
          <p:sp>
            <p:nvSpPr>
              <p:cNvPr id="48" name="Freeform 12"/>
              <p:cNvSpPr>
                <a:spLocks/>
              </p:cNvSpPr>
              <p:nvPr/>
            </p:nvSpPr>
            <p:spPr bwMode="auto">
              <a:xfrm>
                <a:off x="863601" y="2547930"/>
                <a:ext cx="57150" cy="119062"/>
              </a:xfrm>
              <a:custGeom>
                <a:avLst/>
                <a:gdLst>
                  <a:gd name="T0" fmla="*/ 5 w 228"/>
                  <a:gd name="T1" fmla="*/ 287 h 477"/>
                  <a:gd name="T2" fmla="*/ 5 w 228"/>
                  <a:gd name="T3" fmla="*/ 364 h 477"/>
                  <a:gd name="T4" fmla="*/ 115 w 228"/>
                  <a:gd name="T5" fmla="*/ 477 h 477"/>
                  <a:gd name="T6" fmla="*/ 116 w 228"/>
                  <a:gd name="T7" fmla="*/ 477 h 477"/>
                  <a:gd name="T8" fmla="*/ 223 w 228"/>
                  <a:gd name="T9" fmla="*/ 364 h 477"/>
                  <a:gd name="T10" fmla="*/ 223 w 228"/>
                  <a:gd name="T11" fmla="*/ 290 h 477"/>
                  <a:gd name="T12" fmla="*/ 224 w 228"/>
                  <a:gd name="T13" fmla="*/ 141 h 477"/>
                  <a:gd name="T14" fmla="*/ 148 w 228"/>
                  <a:gd name="T15" fmla="*/ 4 h 477"/>
                  <a:gd name="T16" fmla="*/ 138 w 228"/>
                  <a:gd name="T17" fmla="*/ 0 h 477"/>
                  <a:gd name="T18" fmla="*/ 90 w 228"/>
                  <a:gd name="T19" fmla="*/ 0 h 477"/>
                  <a:gd name="T20" fmla="*/ 81 w 228"/>
                  <a:gd name="T21" fmla="*/ 4 h 477"/>
                  <a:gd name="T22" fmla="*/ 4 w 228"/>
                  <a:gd name="T23" fmla="*/ 141 h 477"/>
                  <a:gd name="T24" fmla="*/ 5 w 228"/>
                  <a:gd name="T25" fmla="*/ 28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477">
                    <a:moveTo>
                      <a:pt x="5" y="287"/>
                    </a:moveTo>
                    <a:cubicBezTo>
                      <a:pt x="5" y="312"/>
                      <a:pt x="5" y="338"/>
                      <a:pt x="5" y="364"/>
                    </a:cubicBezTo>
                    <a:cubicBezTo>
                      <a:pt x="5" y="431"/>
                      <a:pt x="50" y="477"/>
                      <a:pt x="115" y="477"/>
                    </a:cubicBezTo>
                    <a:cubicBezTo>
                      <a:pt x="116" y="477"/>
                      <a:pt x="116" y="477"/>
                      <a:pt x="116" y="477"/>
                    </a:cubicBezTo>
                    <a:cubicBezTo>
                      <a:pt x="178" y="477"/>
                      <a:pt x="223" y="429"/>
                      <a:pt x="223" y="364"/>
                    </a:cubicBezTo>
                    <a:cubicBezTo>
                      <a:pt x="223" y="340"/>
                      <a:pt x="223" y="314"/>
                      <a:pt x="223" y="290"/>
                    </a:cubicBezTo>
                    <a:cubicBezTo>
                      <a:pt x="223" y="241"/>
                      <a:pt x="222" y="190"/>
                      <a:pt x="224" y="141"/>
                    </a:cubicBezTo>
                    <a:cubicBezTo>
                      <a:pt x="225" y="116"/>
                      <a:pt x="228" y="41"/>
                      <a:pt x="148" y="4"/>
                    </a:cubicBezTo>
                    <a:cubicBezTo>
                      <a:pt x="138" y="0"/>
                      <a:pt x="138" y="0"/>
                      <a:pt x="138" y="0"/>
                    </a:cubicBezTo>
                    <a:cubicBezTo>
                      <a:pt x="90" y="0"/>
                      <a:pt x="90" y="0"/>
                      <a:pt x="90" y="0"/>
                    </a:cubicBezTo>
                    <a:cubicBezTo>
                      <a:pt x="81" y="4"/>
                      <a:pt x="81" y="4"/>
                      <a:pt x="81" y="4"/>
                    </a:cubicBezTo>
                    <a:cubicBezTo>
                      <a:pt x="0" y="40"/>
                      <a:pt x="3" y="116"/>
                      <a:pt x="4" y="141"/>
                    </a:cubicBezTo>
                    <a:cubicBezTo>
                      <a:pt x="6" y="189"/>
                      <a:pt x="5" y="239"/>
                      <a:pt x="5" y="2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49" name="Freeform 13"/>
              <p:cNvSpPr>
                <a:spLocks/>
              </p:cNvSpPr>
              <p:nvPr/>
            </p:nvSpPr>
            <p:spPr bwMode="auto">
              <a:xfrm>
                <a:off x="576263" y="2836855"/>
                <a:ext cx="119062" cy="55563"/>
              </a:xfrm>
              <a:custGeom>
                <a:avLst/>
                <a:gdLst>
                  <a:gd name="T0" fmla="*/ 447 w 477"/>
                  <a:gd name="T1" fmla="*/ 187 h 221"/>
                  <a:gd name="T2" fmla="*/ 476 w 477"/>
                  <a:gd name="T3" fmla="*/ 109 h 221"/>
                  <a:gd name="T4" fmla="*/ 359 w 477"/>
                  <a:gd name="T5" fmla="*/ 1 h 221"/>
                  <a:gd name="T6" fmla="*/ 351 w 477"/>
                  <a:gd name="T7" fmla="*/ 1 h 221"/>
                  <a:gd name="T8" fmla="*/ 289 w 477"/>
                  <a:gd name="T9" fmla="*/ 1 h 221"/>
                  <a:gd name="T10" fmla="*/ 228 w 477"/>
                  <a:gd name="T11" fmla="*/ 1 h 221"/>
                  <a:gd name="T12" fmla="*/ 142 w 477"/>
                  <a:gd name="T13" fmla="*/ 0 h 221"/>
                  <a:gd name="T14" fmla="*/ 132 w 477"/>
                  <a:gd name="T15" fmla="*/ 0 h 221"/>
                  <a:gd name="T16" fmla="*/ 5 w 477"/>
                  <a:gd name="T17" fmla="*/ 74 h 221"/>
                  <a:gd name="T18" fmla="*/ 0 w 477"/>
                  <a:gd name="T19" fmla="*/ 85 h 221"/>
                  <a:gd name="T20" fmla="*/ 0 w 477"/>
                  <a:gd name="T21" fmla="*/ 132 h 221"/>
                  <a:gd name="T22" fmla="*/ 3 w 477"/>
                  <a:gd name="T23" fmla="*/ 141 h 221"/>
                  <a:gd name="T24" fmla="*/ 130 w 477"/>
                  <a:gd name="T25" fmla="*/ 221 h 221"/>
                  <a:gd name="T26" fmla="*/ 137 w 477"/>
                  <a:gd name="T27" fmla="*/ 221 h 221"/>
                  <a:gd name="T28" fmla="*/ 222 w 477"/>
                  <a:gd name="T29" fmla="*/ 220 h 221"/>
                  <a:gd name="T30" fmla="*/ 278 w 477"/>
                  <a:gd name="T31" fmla="*/ 220 h 221"/>
                  <a:gd name="T32" fmla="*/ 360 w 477"/>
                  <a:gd name="T33" fmla="*/ 220 h 221"/>
                  <a:gd name="T34" fmla="*/ 447 w 477"/>
                  <a:gd name="T35" fmla="*/ 18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7" h="221">
                    <a:moveTo>
                      <a:pt x="447" y="187"/>
                    </a:moveTo>
                    <a:cubicBezTo>
                      <a:pt x="467" y="167"/>
                      <a:pt x="477" y="140"/>
                      <a:pt x="476" y="109"/>
                    </a:cubicBezTo>
                    <a:cubicBezTo>
                      <a:pt x="475" y="44"/>
                      <a:pt x="428" y="1"/>
                      <a:pt x="359" y="1"/>
                    </a:cubicBezTo>
                    <a:cubicBezTo>
                      <a:pt x="351" y="1"/>
                      <a:pt x="351" y="1"/>
                      <a:pt x="351" y="1"/>
                    </a:cubicBezTo>
                    <a:cubicBezTo>
                      <a:pt x="331" y="1"/>
                      <a:pt x="310" y="1"/>
                      <a:pt x="289" y="1"/>
                    </a:cubicBezTo>
                    <a:cubicBezTo>
                      <a:pt x="269" y="1"/>
                      <a:pt x="248" y="1"/>
                      <a:pt x="228" y="1"/>
                    </a:cubicBezTo>
                    <a:cubicBezTo>
                      <a:pt x="194" y="1"/>
                      <a:pt x="167" y="1"/>
                      <a:pt x="142" y="0"/>
                    </a:cubicBezTo>
                    <a:cubicBezTo>
                      <a:pt x="139" y="0"/>
                      <a:pt x="135" y="0"/>
                      <a:pt x="132" y="0"/>
                    </a:cubicBezTo>
                    <a:cubicBezTo>
                      <a:pt x="72" y="0"/>
                      <a:pt x="29" y="25"/>
                      <a:pt x="5" y="74"/>
                    </a:cubicBezTo>
                    <a:cubicBezTo>
                      <a:pt x="0" y="85"/>
                      <a:pt x="0" y="85"/>
                      <a:pt x="0" y="85"/>
                    </a:cubicBezTo>
                    <a:cubicBezTo>
                      <a:pt x="0" y="132"/>
                      <a:pt x="0" y="132"/>
                      <a:pt x="0" y="132"/>
                    </a:cubicBezTo>
                    <a:cubicBezTo>
                      <a:pt x="3" y="141"/>
                      <a:pt x="3" y="141"/>
                      <a:pt x="3" y="141"/>
                    </a:cubicBezTo>
                    <a:cubicBezTo>
                      <a:pt x="25" y="194"/>
                      <a:pt x="68" y="221"/>
                      <a:pt x="130" y="221"/>
                    </a:cubicBezTo>
                    <a:cubicBezTo>
                      <a:pt x="132" y="221"/>
                      <a:pt x="135" y="221"/>
                      <a:pt x="137" y="221"/>
                    </a:cubicBezTo>
                    <a:cubicBezTo>
                      <a:pt x="162" y="220"/>
                      <a:pt x="189" y="220"/>
                      <a:pt x="222" y="220"/>
                    </a:cubicBezTo>
                    <a:cubicBezTo>
                      <a:pt x="241" y="220"/>
                      <a:pt x="260" y="220"/>
                      <a:pt x="278" y="220"/>
                    </a:cubicBezTo>
                    <a:cubicBezTo>
                      <a:pt x="306" y="220"/>
                      <a:pt x="333" y="220"/>
                      <a:pt x="360" y="220"/>
                    </a:cubicBezTo>
                    <a:cubicBezTo>
                      <a:pt x="396" y="220"/>
                      <a:pt x="426" y="208"/>
                      <a:pt x="447" y="1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50" name="Freeform 14"/>
              <p:cNvSpPr>
                <a:spLocks/>
              </p:cNvSpPr>
              <p:nvPr/>
            </p:nvSpPr>
            <p:spPr bwMode="auto">
              <a:xfrm>
                <a:off x="1089025" y="2836855"/>
                <a:ext cx="120650" cy="55563"/>
              </a:xfrm>
              <a:custGeom>
                <a:avLst/>
                <a:gdLst>
                  <a:gd name="T0" fmla="*/ 473 w 477"/>
                  <a:gd name="T1" fmla="*/ 81 h 221"/>
                  <a:gd name="T2" fmla="*/ 365 w 477"/>
                  <a:gd name="T3" fmla="*/ 1 h 221"/>
                  <a:gd name="T4" fmla="*/ 306 w 477"/>
                  <a:gd name="T5" fmla="*/ 0 h 221"/>
                  <a:gd name="T6" fmla="*/ 225 w 477"/>
                  <a:gd name="T7" fmla="*/ 0 h 221"/>
                  <a:gd name="T8" fmla="*/ 109 w 477"/>
                  <a:gd name="T9" fmla="*/ 1 h 221"/>
                  <a:gd name="T10" fmla="*/ 31 w 477"/>
                  <a:gd name="T11" fmla="*/ 33 h 221"/>
                  <a:gd name="T12" fmla="*/ 1 w 477"/>
                  <a:gd name="T13" fmla="*/ 115 h 221"/>
                  <a:gd name="T14" fmla="*/ 114 w 477"/>
                  <a:gd name="T15" fmla="*/ 220 h 221"/>
                  <a:gd name="T16" fmla="*/ 204 w 477"/>
                  <a:gd name="T17" fmla="*/ 220 h 221"/>
                  <a:gd name="T18" fmla="*/ 253 w 477"/>
                  <a:gd name="T19" fmla="*/ 220 h 221"/>
                  <a:gd name="T20" fmla="*/ 337 w 477"/>
                  <a:gd name="T21" fmla="*/ 221 h 221"/>
                  <a:gd name="T22" fmla="*/ 346 w 477"/>
                  <a:gd name="T23" fmla="*/ 221 h 221"/>
                  <a:gd name="T24" fmla="*/ 474 w 477"/>
                  <a:gd name="T25" fmla="*/ 141 h 221"/>
                  <a:gd name="T26" fmla="*/ 477 w 477"/>
                  <a:gd name="T27" fmla="*/ 132 h 221"/>
                  <a:gd name="T28" fmla="*/ 477 w 477"/>
                  <a:gd name="T29" fmla="*/ 91 h 221"/>
                  <a:gd name="T30" fmla="*/ 473 w 477"/>
                  <a:gd name="T31" fmla="*/ 8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77" h="221">
                    <a:moveTo>
                      <a:pt x="473" y="81"/>
                    </a:moveTo>
                    <a:cubicBezTo>
                      <a:pt x="463" y="59"/>
                      <a:pt x="436" y="1"/>
                      <a:pt x="365" y="1"/>
                    </a:cubicBezTo>
                    <a:cubicBezTo>
                      <a:pt x="346" y="0"/>
                      <a:pt x="326" y="0"/>
                      <a:pt x="306" y="0"/>
                    </a:cubicBezTo>
                    <a:cubicBezTo>
                      <a:pt x="279" y="0"/>
                      <a:pt x="252" y="0"/>
                      <a:pt x="225" y="0"/>
                    </a:cubicBezTo>
                    <a:cubicBezTo>
                      <a:pt x="180" y="0"/>
                      <a:pt x="143" y="0"/>
                      <a:pt x="109" y="1"/>
                    </a:cubicBezTo>
                    <a:cubicBezTo>
                      <a:pt x="78" y="1"/>
                      <a:pt x="51" y="13"/>
                      <a:pt x="31" y="33"/>
                    </a:cubicBezTo>
                    <a:cubicBezTo>
                      <a:pt x="10" y="54"/>
                      <a:pt x="0" y="83"/>
                      <a:pt x="1" y="115"/>
                    </a:cubicBezTo>
                    <a:cubicBezTo>
                      <a:pt x="3" y="177"/>
                      <a:pt x="48" y="219"/>
                      <a:pt x="114" y="220"/>
                    </a:cubicBezTo>
                    <a:cubicBezTo>
                      <a:pt x="144" y="220"/>
                      <a:pt x="174" y="220"/>
                      <a:pt x="204" y="220"/>
                    </a:cubicBezTo>
                    <a:cubicBezTo>
                      <a:pt x="220" y="220"/>
                      <a:pt x="237" y="220"/>
                      <a:pt x="253" y="220"/>
                    </a:cubicBezTo>
                    <a:cubicBezTo>
                      <a:pt x="287" y="220"/>
                      <a:pt x="313" y="220"/>
                      <a:pt x="337" y="221"/>
                    </a:cubicBezTo>
                    <a:cubicBezTo>
                      <a:pt x="340" y="221"/>
                      <a:pt x="343" y="221"/>
                      <a:pt x="346" y="221"/>
                    </a:cubicBezTo>
                    <a:cubicBezTo>
                      <a:pt x="408" y="221"/>
                      <a:pt x="451" y="194"/>
                      <a:pt x="474" y="141"/>
                    </a:cubicBezTo>
                    <a:cubicBezTo>
                      <a:pt x="477" y="132"/>
                      <a:pt x="477" y="132"/>
                      <a:pt x="477" y="132"/>
                    </a:cubicBezTo>
                    <a:cubicBezTo>
                      <a:pt x="477" y="91"/>
                      <a:pt x="477" y="91"/>
                      <a:pt x="477" y="91"/>
                    </a:cubicBezTo>
                    <a:lnTo>
                      <a:pt x="473"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51" name="Freeform 15"/>
              <p:cNvSpPr>
                <a:spLocks/>
              </p:cNvSpPr>
              <p:nvPr/>
            </p:nvSpPr>
            <p:spPr bwMode="auto">
              <a:xfrm>
                <a:off x="1020763" y="2995604"/>
                <a:ext cx="106362" cy="101601"/>
              </a:xfrm>
              <a:custGeom>
                <a:avLst/>
                <a:gdLst>
                  <a:gd name="T0" fmla="*/ 200 w 422"/>
                  <a:gd name="T1" fmla="*/ 34 h 407"/>
                  <a:gd name="T2" fmla="*/ 121 w 422"/>
                  <a:gd name="T3" fmla="*/ 0 h 407"/>
                  <a:gd name="T4" fmla="*/ 44 w 422"/>
                  <a:gd name="T5" fmla="*/ 34 h 407"/>
                  <a:gd name="T6" fmla="*/ 46 w 422"/>
                  <a:gd name="T7" fmla="*/ 190 h 407"/>
                  <a:gd name="T8" fmla="*/ 224 w 422"/>
                  <a:gd name="T9" fmla="*/ 369 h 407"/>
                  <a:gd name="T10" fmla="*/ 267 w 422"/>
                  <a:gd name="T11" fmla="*/ 395 h 407"/>
                  <a:gd name="T12" fmla="*/ 278 w 422"/>
                  <a:gd name="T13" fmla="*/ 400 h 407"/>
                  <a:gd name="T14" fmla="*/ 293 w 422"/>
                  <a:gd name="T15" fmla="*/ 407 h 407"/>
                  <a:gd name="T16" fmla="*/ 309 w 422"/>
                  <a:gd name="T17" fmla="*/ 405 h 407"/>
                  <a:gd name="T18" fmla="*/ 402 w 422"/>
                  <a:gd name="T19" fmla="*/ 337 h 407"/>
                  <a:gd name="T20" fmla="*/ 382 w 422"/>
                  <a:gd name="T21" fmla="*/ 216 h 407"/>
                  <a:gd name="T22" fmla="*/ 200 w 422"/>
                  <a:gd name="T23" fmla="*/ 34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2" h="407">
                    <a:moveTo>
                      <a:pt x="200" y="34"/>
                    </a:moveTo>
                    <a:cubicBezTo>
                      <a:pt x="178" y="12"/>
                      <a:pt x="150" y="0"/>
                      <a:pt x="121" y="0"/>
                    </a:cubicBezTo>
                    <a:cubicBezTo>
                      <a:pt x="93" y="0"/>
                      <a:pt x="65" y="12"/>
                      <a:pt x="44" y="34"/>
                    </a:cubicBezTo>
                    <a:cubicBezTo>
                      <a:pt x="0" y="78"/>
                      <a:pt x="1" y="145"/>
                      <a:pt x="46" y="190"/>
                    </a:cubicBezTo>
                    <a:cubicBezTo>
                      <a:pt x="117" y="263"/>
                      <a:pt x="172" y="318"/>
                      <a:pt x="224" y="369"/>
                    </a:cubicBezTo>
                    <a:cubicBezTo>
                      <a:pt x="238" y="382"/>
                      <a:pt x="254" y="389"/>
                      <a:pt x="267" y="395"/>
                    </a:cubicBezTo>
                    <a:cubicBezTo>
                      <a:pt x="271" y="397"/>
                      <a:pt x="275" y="398"/>
                      <a:pt x="278" y="400"/>
                    </a:cubicBezTo>
                    <a:cubicBezTo>
                      <a:pt x="293" y="407"/>
                      <a:pt x="293" y="407"/>
                      <a:pt x="293" y="407"/>
                    </a:cubicBezTo>
                    <a:cubicBezTo>
                      <a:pt x="309" y="405"/>
                      <a:pt x="309" y="405"/>
                      <a:pt x="309" y="405"/>
                    </a:cubicBezTo>
                    <a:cubicBezTo>
                      <a:pt x="353" y="398"/>
                      <a:pt x="385" y="375"/>
                      <a:pt x="402" y="337"/>
                    </a:cubicBezTo>
                    <a:cubicBezTo>
                      <a:pt x="422" y="294"/>
                      <a:pt x="415" y="249"/>
                      <a:pt x="382" y="216"/>
                    </a:cubicBezTo>
                    <a:cubicBezTo>
                      <a:pt x="318" y="151"/>
                      <a:pt x="258" y="91"/>
                      <a:pt x="200"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52" name="Freeform 16"/>
              <p:cNvSpPr>
                <a:spLocks/>
              </p:cNvSpPr>
              <p:nvPr/>
            </p:nvSpPr>
            <p:spPr bwMode="auto">
              <a:xfrm>
                <a:off x="658814" y="2995604"/>
                <a:ext cx="106362" cy="103188"/>
              </a:xfrm>
              <a:custGeom>
                <a:avLst/>
                <a:gdLst>
                  <a:gd name="T0" fmla="*/ 301 w 422"/>
                  <a:gd name="T1" fmla="*/ 0 h 408"/>
                  <a:gd name="T2" fmla="*/ 218 w 422"/>
                  <a:gd name="T3" fmla="*/ 37 h 408"/>
                  <a:gd name="T4" fmla="*/ 149 w 422"/>
                  <a:gd name="T5" fmla="*/ 106 h 408"/>
                  <a:gd name="T6" fmla="*/ 121 w 422"/>
                  <a:gd name="T7" fmla="*/ 134 h 408"/>
                  <a:gd name="T8" fmla="*/ 98 w 422"/>
                  <a:gd name="T9" fmla="*/ 157 h 408"/>
                  <a:gd name="T10" fmla="*/ 40 w 422"/>
                  <a:gd name="T11" fmla="*/ 216 h 408"/>
                  <a:gd name="T12" fmla="*/ 19 w 422"/>
                  <a:gd name="T13" fmla="*/ 337 h 408"/>
                  <a:gd name="T14" fmla="*/ 113 w 422"/>
                  <a:gd name="T15" fmla="*/ 405 h 408"/>
                  <a:gd name="T16" fmla="*/ 130 w 422"/>
                  <a:gd name="T17" fmla="*/ 408 h 408"/>
                  <a:gd name="T18" fmla="*/ 145 w 422"/>
                  <a:gd name="T19" fmla="*/ 400 h 408"/>
                  <a:gd name="T20" fmla="*/ 157 w 422"/>
                  <a:gd name="T21" fmla="*/ 393 h 408"/>
                  <a:gd name="T22" fmla="*/ 201 w 422"/>
                  <a:gd name="T23" fmla="*/ 365 h 408"/>
                  <a:gd name="T24" fmla="*/ 374 w 422"/>
                  <a:gd name="T25" fmla="*/ 193 h 408"/>
                  <a:gd name="T26" fmla="*/ 379 w 422"/>
                  <a:gd name="T27" fmla="*/ 35 h 408"/>
                  <a:gd name="T28" fmla="*/ 301 w 422"/>
                  <a:gd name="T29" fmla="*/ 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2" h="408">
                    <a:moveTo>
                      <a:pt x="301" y="0"/>
                    </a:moveTo>
                    <a:cubicBezTo>
                      <a:pt x="271" y="0"/>
                      <a:pt x="243" y="13"/>
                      <a:pt x="218" y="37"/>
                    </a:cubicBezTo>
                    <a:cubicBezTo>
                      <a:pt x="195" y="60"/>
                      <a:pt x="171" y="84"/>
                      <a:pt x="149" y="106"/>
                    </a:cubicBezTo>
                    <a:cubicBezTo>
                      <a:pt x="140" y="116"/>
                      <a:pt x="131" y="125"/>
                      <a:pt x="121" y="134"/>
                    </a:cubicBezTo>
                    <a:cubicBezTo>
                      <a:pt x="114" y="142"/>
                      <a:pt x="106" y="149"/>
                      <a:pt x="98" y="157"/>
                    </a:cubicBezTo>
                    <a:cubicBezTo>
                      <a:pt x="79" y="176"/>
                      <a:pt x="59" y="196"/>
                      <a:pt x="40" y="216"/>
                    </a:cubicBezTo>
                    <a:cubicBezTo>
                      <a:pt x="7" y="250"/>
                      <a:pt x="0" y="294"/>
                      <a:pt x="19" y="337"/>
                    </a:cubicBezTo>
                    <a:cubicBezTo>
                      <a:pt x="37" y="375"/>
                      <a:pt x="68" y="398"/>
                      <a:pt x="113" y="405"/>
                    </a:cubicBezTo>
                    <a:cubicBezTo>
                      <a:pt x="130" y="408"/>
                      <a:pt x="130" y="408"/>
                      <a:pt x="130" y="408"/>
                    </a:cubicBezTo>
                    <a:cubicBezTo>
                      <a:pt x="145" y="400"/>
                      <a:pt x="145" y="400"/>
                      <a:pt x="145" y="400"/>
                    </a:cubicBezTo>
                    <a:cubicBezTo>
                      <a:pt x="148" y="398"/>
                      <a:pt x="152" y="396"/>
                      <a:pt x="157" y="393"/>
                    </a:cubicBezTo>
                    <a:cubicBezTo>
                      <a:pt x="170" y="387"/>
                      <a:pt x="187" y="379"/>
                      <a:pt x="201" y="365"/>
                    </a:cubicBezTo>
                    <a:cubicBezTo>
                      <a:pt x="261" y="308"/>
                      <a:pt x="321" y="247"/>
                      <a:pt x="374" y="193"/>
                    </a:cubicBezTo>
                    <a:cubicBezTo>
                      <a:pt x="420" y="146"/>
                      <a:pt x="422" y="79"/>
                      <a:pt x="379" y="35"/>
                    </a:cubicBezTo>
                    <a:cubicBezTo>
                      <a:pt x="357" y="13"/>
                      <a:pt x="330" y="0"/>
                      <a:pt x="3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53" name="Freeform 17"/>
              <p:cNvSpPr>
                <a:spLocks/>
              </p:cNvSpPr>
              <p:nvPr/>
            </p:nvSpPr>
            <p:spPr bwMode="auto">
              <a:xfrm>
                <a:off x="657224" y="2632068"/>
                <a:ext cx="104774" cy="101601"/>
              </a:xfrm>
              <a:custGeom>
                <a:avLst/>
                <a:gdLst>
                  <a:gd name="T0" fmla="*/ 229 w 413"/>
                  <a:gd name="T1" fmla="*/ 373 h 402"/>
                  <a:gd name="T2" fmla="*/ 300 w 413"/>
                  <a:gd name="T3" fmla="*/ 402 h 402"/>
                  <a:gd name="T4" fmla="*/ 347 w 413"/>
                  <a:gd name="T5" fmla="*/ 392 h 402"/>
                  <a:gd name="T6" fmla="*/ 413 w 413"/>
                  <a:gd name="T7" fmla="*/ 285 h 402"/>
                  <a:gd name="T8" fmla="*/ 413 w 413"/>
                  <a:gd name="T9" fmla="*/ 274 h 402"/>
                  <a:gd name="T10" fmla="*/ 409 w 413"/>
                  <a:gd name="T11" fmla="*/ 265 h 402"/>
                  <a:gd name="T12" fmla="*/ 408 w 413"/>
                  <a:gd name="T13" fmla="*/ 263 h 402"/>
                  <a:gd name="T14" fmla="*/ 384 w 413"/>
                  <a:gd name="T15" fmla="*/ 218 h 402"/>
                  <a:gd name="T16" fmla="*/ 195 w 413"/>
                  <a:gd name="T17" fmla="*/ 30 h 402"/>
                  <a:gd name="T18" fmla="*/ 123 w 413"/>
                  <a:gd name="T19" fmla="*/ 0 h 402"/>
                  <a:gd name="T20" fmla="*/ 46 w 413"/>
                  <a:gd name="T21" fmla="*/ 32 h 402"/>
                  <a:gd name="T22" fmla="*/ 42 w 413"/>
                  <a:gd name="T23" fmla="*/ 185 h 402"/>
                  <a:gd name="T24" fmla="*/ 229 w 413"/>
                  <a:gd name="T25" fmla="*/ 373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3" h="402">
                    <a:moveTo>
                      <a:pt x="229" y="373"/>
                    </a:moveTo>
                    <a:cubicBezTo>
                      <a:pt x="248" y="392"/>
                      <a:pt x="273" y="402"/>
                      <a:pt x="300" y="402"/>
                    </a:cubicBezTo>
                    <a:cubicBezTo>
                      <a:pt x="315" y="402"/>
                      <a:pt x="331" y="399"/>
                      <a:pt x="347" y="392"/>
                    </a:cubicBezTo>
                    <a:cubicBezTo>
                      <a:pt x="376" y="380"/>
                      <a:pt x="411" y="352"/>
                      <a:pt x="413" y="285"/>
                    </a:cubicBezTo>
                    <a:cubicBezTo>
                      <a:pt x="413" y="274"/>
                      <a:pt x="413" y="274"/>
                      <a:pt x="413" y="274"/>
                    </a:cubicBezTo>
                    <a:cubicBezTo>
                      <a:pt x="409" y="265"/>
                      <a:pt x="409" y="265"/>
                      <a:pt x="409" y="265"/>
                    </a:cubicBezTo>
                    <a:cubicBezTo>
                      <a:pt x="409" y="264"/>
                      <a:pt x="408" y="264"/>
                      <a:pt x="408" y="263"/>
                    </a:cubicBezTo>
                    <a:cubicBezTo>
                      <a:pt x="405" y="252"/>
                      <a:pt x="399" y="233"/>
                      <a:pt x="384" y="218"/>
                    </a:cubicBezTo>
                    <a:cubicBezTo>
                      <a:pt x="316" y="148"/>
                      <a:pt x="254" y="87"/>
                      <a:pt x="195" y="30"/>
                    </a:cubicBezTo>
                    <a:cubicBezTo>
                      <a:pt x="176" y="11"/>
                      <a:pt x="150" y="0"/>
                      <a:pt x="123" y="0"/>
                    </a:cubicBezTo>
                    <a:cubicBezTo>
                      <a:pt x="95" y="0"/>
                      <a:pt x="67" y="12"/>
                      <a:pt x="46" y="32"/>
                    </a:cubicBezTo>
                    <a:cubicBezTo>
                      <a:pt x="2" y="75"/>
                      <a:pt x="0" y="142"/>
                      <a:pt x="42" y="185"/>
                    </a:cubicBezTo>
                    <a:cubicBezTo>
                      <a:pt x="109" y="255"/>
                      <a:pt x="177" y="322"/>
                      <a:pt x="229" y="3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54" name="Freeform 18"/>
              <p:cNvSpPr>
                <a:spLocks/>
              </p:cNvSpPr>
              <p:nvPr/>
            </p:nvSpPr>
            <p:spPr bwMode="auto">
              <a:xfrm>
                <a:off x="1020761" y="2632066"/>
                <a:ext cx="106362" cy="101601"/>
              </a:xfrm>
              <a:custGeom>
                <a:avLst/>
                <a:gdLst>
                  <a:gd name="T0" fmla="*/ 117 w 421"/>
                  <a:gd name="T1" fmla="*/ 404 h 405"/>
                  <a:gd name="T2" fmla="*/ 130 w 421"/>
                  <a:gd name="T3" fmla="*/ 405 h 405"/>
                  <a:gd name="T4" fmla="*/ 141 w 421"/>
                  <a:gd name="T5" fmla="*/ 400 h 405"/>
                  <a:gd name="T6" fmla="*/ 150 w 421"/>
                  <a:gd name="T7" fmla="*/ 397 h 405"/>
                  <a:gd name="T8" fmla="*/ 192 w 421"/>
                  <a:gd name="T9" fmla="*/ 373 h 405"/>
                  <a:gd name="T10" fmla="*/ 380 w 421"/>
                  <a:gd name="T11" fmla="*/ 185 h 405"/>
                  <a:gd name="T12" fmla="*/ 379 w 421"/>
                  <a:gd name="T13" fmla="*/ 36 h 405"/>
                  <a:gd name="T14" fmla="*/ 299 w 421"/>
                  <a:gd name="T15" fmla="*/ 0 h 405"/>
                  <a:gd name="T16" fmla="*/ 226 w 421"/>
                  <a:gd name="T17" fmla="*/ 30 h 405"/>
                  <a:gd name="T18" fmla="*/ 37 w 421"/>
                  <a:gd name="T19" fmla="*/ 220 h 405"/>
                  <a:gd name="T20" fmla="*/ 20 w 421"/>
                  <a:gd name="T21" fmla="*/ 340 h 405"/>
                  <a:gd name="T22" fmla="*/ 117 w 421"/>
                  <a:gd name="T23" fmla="*/ 404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1" h="405">
                    <a:moveTo>
                      <a:pt x="117" y="404"/>
                    </a:moveTo>
                    <a:cubicBezTo>
                      <a:pt x="130" y="405"/>
                      <a:pt x="130" y="405"/>
                      <a:pt x="130" y="405"/>
                    </a:cubicBezTo>
                    <a:cubicBezTo>
                      <a:pt x="141" y="400"/>
                      <a:pt x="141" y="400"/>
                      <a:pt x="141" y="400"/>
                    </a:cubicBezTo>
                    <a:cubicBezTo>
                      <a:pt x="143" y="399"/>
                      <a:pt x="147" y="398"/>
                      <a:pt x="150" y="397"/>
                    </a:cubicBezTo>
                    <a:cubicBezTo>
                      <a:pt x="162" y="392"/>
                      <a:pt x="178" y="387"/>
                      <a:pt x="192" y="373"/>
                    </a:cubicBezTo>
                    <a:cubicBezTo>
                      <a:pt x="262" y="305"/>
                      <a:pt x="323" y="244"/>
                      <a:pt x="380" y="185"/>
                    </a:cubicBezTo>
                    <a:cubicBezTo>
                      <a:pt x="421" y="143"/>
                      <a:pt x="420" y="79"/>
                      <a:pt x="379" y="36"/>
                    </a:cubicBezTo>
                    <a:cubicBezTo>
                      <a:pt x="358" y="13"/>
                      <a:pt x="328" y="0"/>
                      <a:pt x="299" y="0"/>
                    </a:cubicBezTo>
                    <a:cubicBezTo>
                      <a:pt x="272" y="0"/>
                      <a:pt x="246" y="11"/>
                      <a:pt x="226" y="30"/>
                    </a:cubicBezTo>
                    <a:cubicBezTo>
                      <a:pt x="168" y="86"/>
                      <a:pt x="106" y="148"/>
                      <a:pt x="37" y="220"/>
                    </a:cubicBezTo>
                    <a:cubicBezTo>
                      <a:pt x="6" y="252"/>
                      <a:pt x="0" y="296"/>
                      <a:pt x="20" y="340"/>
                    </a:cubicBezTo>
                    <a:cubicBezTo>
                      <a:pt x="39" y="378"/>
                      <a:pt x="73" y="401"/>
                      <a:pt x="117" y="4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55" name="Freeform 19"/>
              <p:cNvSpPr>
                <a:spLocks noEditPoints="1"/>
              </p:cNvSpPr>
              <p:nvPr/>
            </p:nvSpPr>
            <p:spPr bwMode="auto">
              <a:xfrm>
                <a:off x="719136" y="2693978"/>
                <a:ext cx="346074" cy="374648"/>
              </a:xfrm>
              <a:custGeom>
                <a:avLst/>
                <a:gdLst>
                  <a:gd name="T0" fmla="*/ 334 w 1376"/>
                  <a:gd name="T1" fmla="*/ 1494 h 1494"/>
                  <a:gd name="T2" fmla="*/ 360 w 1376"/>
                  <a:gd name="T3" fmla="*/ 1494 h 1494"/>
                  <a:gd name="T4" fmla="*/ 563 w 1376"/>
                  <a:gd name="T5" fmla="*/ 1494 h 1494"/>
                  <a:gd name="T6" fmla="*/ 1044 w 1376"/>
                  <a:gd name="T7" fmla="*/ 1494 h 1494"/>
                  <a:gd name="T8" fmla="*/ 1131 w 1376"/>
                  <a:gd name="T9" fmla="*/ 1260 h 1494"/>
                  <a:gd name="T10" fmla="*/ 1267 w 1376"/>
                  <a:gd name="T11" fmla="*/ 1040 h 1494"/>
                  <a:gd name="T12" fmla="*/ 1365 w 1376"/>
                  <a:gd name="T13" fmla="*/ 813 h 1494"/>
                  <a:gd name="T14" fmla="*/ 1376 w 1376"/>
                  <a:gd name="T15" fmla="*/ 750 h 1494"/>
                  <a:gd name="T16" fmla="*/ 1376 w 1376"/>
                  <a:gd name="T17" fmla="*/ 648 h 1494"/>
                  <a:gd name="T18" fmla="*/ 1372 w 1376"/>
                  <a:gd name="T19" fmla="*/ 633 h 1494"/>
                  <a:gd name="T20" fmla="*/ 1188 w 1376"/>
                  <a:gd name="T21" fmla="*/ 242 h 1494"/>
                  <a:gd name="T22" fmla="*/ 564 w 1376"/>
                  <a:gd name="T23" fmla="*/ 44 h 1494"/>
                  <a:gd name="T24" fmla="*/ 28 w 1376"/>
                  <a:gd name="T25" fmla="*/ 514 h 1494"/>
                  <a:gd name="T26" fmla="*/ 0 w 1376"/>
                  <a:gd name="T27" fmla="*/ 653 h 1494"/>
                  <a:gd name="T28" fmla="*/ 0 w 1376"/>
                  <a:gd name="T29" fmla="*/ 750 h 1494"/>
                  <a:gd name="T30" fmla="*/ 4 w 1376"/>
                  <a:gd name="T31" fmla="*/ 763 h 1494"/>
                  <a:gd name="T32" fmla="*/ 55 w 1376"/>
                  <a:gd name="T33" fmla="*/ 939 h 1494"/>
                  <a:gd name="T34" fmla="*/ 196 w 1376"/>
                  <a:gd name="T35" fmla="*/ 1174 h 1494"/>
                  <a:gd name="T36" fmla="*/ 316 w 1376"/>
                  <a:gd name="T37" fmla="*/ 1424 h 1494"/>
                  <a:gd name="T38" fmla="*/ 334 w 1376"/>
                  <a:gd name="T39" fmla="*/ 1494 h 1494"/>
                  <a:gd name="T40" fmla="*/ 288 w 1376"/>
                  <a:gd name="T41" fmla="*/ 676 h 1494"/>
                  <a:gd name="T42" fmla="*/ 216 w 1376"/>
                  <a:gd name="T43" fmla="*/ 583 h 1494"/>
                  <a:gd name="T44" fmla="*/ 220 w 1376"/>
                  <a:gd name="T45" fmla="*/ 560 h 1494"/>
                  <a:gd name="T46" fmla="*/ 381 w 1376"/>
                  <a:gd name="T47" fmla="*/ 327 h 1494"/>
                  <a:gd name="T48" fmla="*/ 547 w 1376"/>
                  <a:gd name="T49" fmla="*/ 248 h 1494"/>
                  <a:gd name="T50" fmla="*/ 642 w 1376"/>
                  <a:gd name="T51" fmla="*/ 314 h 1494"/>
                  <a:gd name="T52" fmla="*/ 582 w 1376"/>
                  <a:gd name="T53" fmla="*/ 417 h 1494"/>
                  <a:gd name="T54" fmla="*/ 383 w 1376"/>
                  <a:gd name="T55" fmla="*/ 614 h 1494"/>
                  <a:gd name="T56" fmla="*/ 288 w 1376"/>
                  <a:gd name="T57" fmla="*/ 676 h 1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76" h="1494">
                    <a:moveTo>
                      <a:pt x="334" y="1494"/>
                    </a:moveTo>
                    <a:cubicBezTo>
                      <a:pt x="343" y="1494"/>
                      <a:pt x="352" y="1494"/>
                      <a:pt x="360" y="1494"/>
                    </a:cubicBezTo>
                    <a:cubicBezTo>
                      <a:pt x="428" y="1494"/>
                      <a:pt x="496" y="1494"/>
                      <a:pt x="563" y="1494"/>
                    </a:cubicBezTo>
                    <a:cubicBezTo>
                      <a:pt x="1044" y="1494"/>
                      <a:pt x="1044" y="1494"/>
                      <a:pt x="1044" y="1494"/>
                    </a:cubicBezTo>
                    <a:cubicBezTo>
                      <a:pt x="1058" y="1412"/>
                      <a:pt x="1087" y="1334"/>
                      <a:pt x="1131" y="1260"/>
                    </a:cubicBezTo>
                    <a:cubicBezTo>
                      <a:pt x="1174" y="1185"/>
                      <a:pt x="1222" y="1114"/>
                      <a:pt x="1267" y="1040"/>
                    </a:cubicBezTo>
                    <a:cubicBezTo>
                      <a:pt x="1311" y="970"/>
                      <a:pt x="1348" y="895"/>
                      <a:pt x="1365" y="813"/>
                    </a:cubicBezTo>
                    <a:cubicBezTo>
                      <a:pt x="1369" y="792"/>
                      <a:pt x="1373" y="771"/>
                      <a:pt x="1376" y="750"/>
                    </a:cubicBezTo>
                    <a:cubicBezTo>
                      <a:pt x="1376" y="716"/>
                      <a:pt x="1376" y="682"/>
                      <a:pt x="1376" y="648"/>
                    </a:cubicBezTo>
                    <a:cubicBezTo>
                      <a:pt x="1375" y="643"/>
                      <a:pt x="1373" y="638"/>
                      <a:pt x="1372" y="633"/>
                    </a:cubicBezTo>
                    <a:cubicBezTo>
                      <a:pt x="1356" y="481"/>
                      <a:pt x="1295" y="350"/>
                      <a:pt x="1188" y="242"/>
                    </a:cubicBezTo>
                    <a:cubicBezTo>
                      <a:pt x="1015" y="69"/>
                      <a:pt x="804" y="0"/>
                      <a:pt x="564" y="44"/>
                    </a:cubicBezTo>
                    <a:cubicBezTo>
                      <a:pt x="296" y="94"/>
                      <a:pt x="115" y="253"/>
                      <a:pt x="28" y="514"/>
                    </a:cubicBezTo>
                    <a:cubicBezTo>
                      <a:pt x="14" y="558"/>
                      <a:pt x="9" y="606"/>
                      <a:pt x="0" y="653"/>
                    </a:cubicBezTo>
                    <a:cubicBezTo>
                      <a:pt x="0" y="685"/>
                      <a:pt x="0" y="717"/>
                      <a:pt x="0" y="750"/>
                    </a:cubicBezTo>
                    <a:cubicBezTo>
                      <a:pt x="1" y="754"/>
                      <a:pt x="3" y="758"/>
                      <a:pt x="4" y="763"/>
                    </a:cubicBezTo>
                    <a:cubicBezTo>
                      <a:pt x="10" y="825"/>
                      <a:pt x="25" y="885"/>
                      <a:pt x="55" y="939"/>
                    </a:cubicBezTo>
                    <a:cubicBezTo>
                      <a:pt x="99" y="1018"/>
                      <a:pt x="148" y="1096"/>
                      <a:pt x="196" y="1174"/>
                    </a:cubicBezTo>
                    <a:cubicBezTo>
                      <a:pt x="245" y="1253"/>
                      <a:pt x="291" y="1334"/>
                      <a:pt x="316" y="1424"/>
                    </a:cubicBezTo>
                    <a:cubicBezTo>
                      <a:pt x="323" y="1447"/>
                      <a:pt x="328" y="1470"/>
                      <a:pt x="334" y="1494"/>
                    </a:cubicBezTo>
                    <a:close/>
                    <a:moveTo>
                      <a:pt x="288" y="676"/>
                    </a:moveTo>
                    <a:cubicBezTo>
                      <a:pt x="246" y="669"/>
                      <a:pt x="216" y="633"/>
                      <a:pt x="216" y="583"/>
                    </a:cubicBezTo>
                    <a:cubicBezTo>
                      <a:pt x="217" y="580"/>
                      <a:pt x="217" y="570"/>
                      <a:pt x="220" y="560"/>
                    </a:cubicBezTo>
                    <a:cubicBezTo>
                      <a:pt x="245" y="463"/>
                      <a:pt x="306" y="389"/>
                      <a:pt x="381" y="327"/>
                    </a:cubicBezTo>
                    <a:cubicBezTo>
                      <a:pt x="430" y="287"/>
                      <a:pt x="483" y="255"/>
                      <a:pt x="547" y="248"/>
                    </a:cubicBezTo>
                    <a:cubicBezTo>
                      <a:pt x="591" y="243"/>
                      <a:pt x="633" y="272"/>
                      <a:pt x="642" y="314"/>
                    </a:cubicBezTo>
                    <a:cubicBezTo>
                      <a:pt x="652" y="361"/>
                      <a:pt x="627" y="405"/>
                      <a:pt x="582" y="417"/>
                    </a:cubicBezTo>
                    <a:cubicBezTo>
                      <a:pt x="477" y="443"/>
                      <a:pt x="412" y="510"/>
                      <a:pt x="383" y="614"/>
                    </a:cubicBezTo>
                    <a:cubicBezTo>
                      <a:pt x="371" y="656"/>
                      <a:pt x="331" y="682"/>
                      <a:pt x="288" y="6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56" name="Freeform 20"/>
              <p:cNvSpPr>
                <a:spLocks/>
              </p:cNvSpPr>
              <p:nvPr/>
            </p:nvSpPr>
            <p:spPr bwMode="auto">
              <a:xfrm>
                <a:off x="776286" y="3159111"/>
                <a:ext cx="233363" cy="93662"/>
              </a:xfrm>
              <a:custGeom>
                <a:avLst/>
                <a:gdLst>
                  <a:gd name="T0" fmla="*/ 827 w 927"/>
                  <a:gd name="T1" fmla="*/ 1 h 372"/>
                  <a:gd name="T2" fmla="*/ 102 w 927"/>
                  <a:gd name="T3" fmla="*/ 1 h 372"/>
                  <a:gd name="T4" fmla="*/ 0 w 927"/>
                  <a:gd name="T5" fmla="*/ 91 h 372"/>
                  <a:gd name="T6" fmla="*/ 100 w 927"/>
                  <a:gd name="T7" fmla="*/ 182 h 372"/>
                  <a:gd name="T8" fmla="*/ 212 w 927"/>
                  <a:gd name="T9" fmla="*/ 243 h 372"/>
                  <a:gd name="T10" fmla="*/ 373 w 927"/>
                  <a:gd name="T11" fmla="*/ 372 h 372"/>
                  <a:gd name="T12" fmla="*/ 553 w 927"/>
                  <a:gd name="T13" fmla="*/ 372 h 372"/>
                  <a:gd name="T14" fmla="*/ 714 w 927"/>
                  <a:gd name="T15" fmla="*/ 243 h 372"/>
                  <a:gd name="T16" fmla="*/ 830 w 927"/>
                  <a:gd name="T17" fmla="*/ 182 h 372"/>
                  <a:gd name="T18" fmla="*/ 926 w 927"/>
                  <a:gd name="T19" fmla="*/ 90 h 372"/>
                  <a:gd name="T20" fmla="*/ 827 w 927"/>
                  <a:gd name="T21" fmla="*/ 1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7" h="372">
                    <a:moveTo>
                      <a:pt x="827" y="1"/>
                    </a:moveTo>
                    <a:cubicBezTo>
                      <a:pt x="586" y="0"/>
                      <a:pt x="344" y="0"/>
                      <a:pt x="102" y="1"/>
                    </a:cubicBezTo>
                    <a:cubicBezTo>
                      <a:pt x="39" y="1"/>
                      <a:pt x="0" y="38"/>
                      <a:pt x="0" y="91"/>
                    </a:cubicBezTo>
                    <a:cubicBezTo>
                      <a:pt x="0" y="144"/>
                      <a:pt x="38" y="179"/>
                      <a:pt x="100" y="182"/>
                    </a:cubicBezTo>
                    <a:cubicBezTo>
                      <a:pt x="147" y="184"/>
                      <a:pt x="190" y="202"/>
                      <a:pt x="212" y="243"/>
                    </a:cubicBezTo>
                    <a:cubicBezTo>
                      <a:pt x="248" y="310"/>
                      <a:pt x="300" y="353"/>
                      <a:pt x="373" y="372"/>
                    </a:cubicBezTo>
                    <a:cubicBezTo>
                      <a:pt x="433" y="372"/>
                      <a:pt x="493" y="372"/>
                      <a:pt x="553" y="372"/>
                    </a:cubicBezTo>
                    <a:cubicBezTo>
                      <a:pt x="626" y="353"/>
                      <a:pt x="678" y="309"/>
                      <a:pt x="714" y="243"/>
                    </a:cubicBezTo>
                    <a:cubicBezTo>
                      <a:pt x="737" y="200"/>
                      <a:pt x="781" y="184"/>
                      <a:pt x="830" y="182"/>
                    </a:cubicBezTo>
                    <a:cubicBezTo>
                      <a:pt x="888" y="179"/>
                      <a:pt x="927" y="142"/>
                      <a:pt x="926" y="90"/>
                    </a:cubicBezTo>
                    <a:cubicBezTo>
                      <a:pt x="926" y="40"/>
                      <a:pt x="885" y="1"/>
                      <a:pt x="827" y="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57" name="Freeform 21"/>
              <p:cNvSpPr>
                <a:spLocks/>
              </p:cNvSpPr>
              <p:nvPr/>
            </p:nvSpPr>
            <p:spPr bwMode="auto">
              <a:xfrm>
                <a:off x="776288" y="3090863"/>
                <a:ext cx="238124" cy="46038"/>
              </a:xfrm>
              <a:custGeom>
                <a:avLst/>
                <a:gdLst>
                  <a:gd name="T0" fmla="*/ 827 w 947"/>
                  <a:gd name="T1" fmla="*/ 2 h 184"/>
                  <a:gd name="T2" fmla="*/ 464 w 947"/>
                  <a:gd name="T3" fmla="*/ 1 h 184"/>
                  <a:gd name="T4" fmla="*/ 464 w 947"/>
                  <a:gd name="T5" fmla="*/ 1 h 184"/>
                  <a:gd name="T6" fmla="*/ 101 w 947"/>
                  <a:gd name="T7" fmla="*/ 2 h 184"/>
                  <a:gd name="T8" fmla="*/ 0 w 947"/>
                  <a:gd name="T9" fmla="*/ 92 h 184"/>
                  <a:gd name="T10" fmla="*/ 96 w 947"/>
                  <a:gd name="T11" fmla="*/ 183 h 184"/>
                  <a:gd name="T12" fmla="*/ 830 w 947"/>
                  <a:gd name="T13" fmla="*/ 183 h 184"/>
                  <a:gd name="T14" fmla="*/ 916 w 947"/>
                  <a:gd name="T15" fmla="*/ 132 h 184"/>
                  <a:gd name="T16" fmla="*/ 827 w 947"/>
                  <a:gd name="T17" fmla="*/ 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7" h="184">
                    <a:moveTo>
                      <a:pt x="827" y="2"/>
                    </a:moveTo>
                    <a:cubicBezTo>
                      <a:pt x="706" y="0"/>
                      <a:pt x="585" y="1"/>
                      <a:pt x="464" y="1"/>
                    </a:cubicBezTo>
                    <a:cubicBezTo>
                      <a:pt x="464" y="1"/>
                      <a:pt x="464" y="1"/>
                      <a:pt x="464" y="1"/>
                    </a:cubicBezTo>
                    <a:cubicBezTo>
                      <a:pt x="343" y="1"/>
                      <a:pt x="222" y="1"/>
                      <a:pt x="101" y="2"/>
                    </a:cubicBezTo>
                    <a:cubicBezTo>
                      <a:pt x="41" y="2"/>
                      <a:pt x="0" y="39"/>
                      <a:pt x="0" y="92"/>
                    </a:cubicBezTo>
                    <a:cubicBezTo>
                      <a:pt x="0" y="143"/>
                      <a:pt x="39" y="183"/>
                      <a:pt x="96" y="183"/>
                    </a:cubicBezTo>
                    <a:cubicBezTo>
                      <a:pt x="341" y="184"/>
                      <a:pt x="585" y="184"/>
                      <a:pt x="830" y="183"/>
                    </a:cubicBezTo>
                    <a:cubicBezTo>
                      <a:pt x="868" y="183"/>
                      <a:pt x="898" y="167"/>
                      <a:pt x="916" y="132"/>
                    </a:cubicBezTo>
                    <a:cubicBezTo>
                      <a:pt x="947" y="70"/>
                      <a:pt x="903" y="2"/>
                      <a:pt x="827" y="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grpSp>
          <p:nvGrpSpPr>
            <p:cNvPr id="58" name="Group 57"/>
            <p:cNvGrpSpPr/>
            <p:nvPr userDrawn="1"/>
          </p:nvGrpSpPr>
          <p:grpSpPr>
            <a:xfrm>
              <a:off x="8436830" y="2082037"/>
              <a:ext cx="303051" cy="402432"/>
              <a:chOff x="649288" y="2909886"/>
              <a:chExt cx="784226" cy="1041403"/>
            </a:xfrm>
            <a:solidFill>
              <a:schemeClr val="tx2"/>
            </a:solidFill>
          </p:grpSpPr>
          <p:sp>
            <p:nvSpPr>
              <p:cNvPr id="59" name="Freeform 34"/>
              <p:cNvSpPr>
                <a:spLocks noEditPoints="1"/>
              </p:cNvSpPr>
              <p:nvPr/>
            </p:nvSpPr>
            <p:spPr bwMode="auto">
              <a:xfrm>
                <a:off x="649288" y="2909886"/>
                <a:ext cx="479426" cy="808038"/>
              </a:xfrm>
              <a:custGeom>
                <a:avLst/>
                <a:gdLst>
                  <a:gd name="T0" fmla="*/ 59 w 236"/>
                  <a:gd name="T1" fmla="*/ 343 h 397"/>
                  <a:gd name="T2" fmla="*/ 76 w 236"/>
                  <a:gd name="T3" fmla="*/ 320 h 397"/>
                  <a:gd name="T4" fmla="*/ 23 w 236"/>
                  <a:gd name="T5" fmla="*/ 320 h 397"/>
                  <a:gd name="T6" fmla="*/ 23 w 236"/>
                  <a:gd name="T7" fmla="*/ 62 h 397"/>
                  <a:gd name="T8" fmla="*/ 213 w 236"/>
                  <a:gd name="T9" fmla="*/ 62 h 397"/>
                  <a:gd name="T10" fmla="*/ 213 w 236"/>
                  <a:gd name="T11" fmla="*/ 249 h 397"/>
                  <a:gd name="T12" fmla="*/ 221 w 236"/>
                  <a:gd name="T13" fmla="*/ 247 h 397"/>
                  <a:gd name="T14" fmla="*/ 230 w 236"/>
                  <a:gd name="T15" fmla="*/ 246 h 397"/>
                  <a:gd name="T16" fmla="*/ 236 w 236"/>
                  <a:gd name="T17" fmla="*/ 247 h 397"/>
                  <a:gd name="T18" fmla="*/ 236 w 236"/>
                  <a:gd name="T19" fmla="*/ 37 h 397"/>
                  <a:gd name="T20" fmla="*/ 210 w 236"/>
                  <a:gd name="T21" fmla="*/ 6 h 397"/>
                  <a:gd name="T22" fmla="*/ 26 w 236"/>
                  <a:gd name="T23" fmla="*/ 6 h 397"/>
                  <a:gd name="T24" fmla="*/ 0 w 236"/>
                  <a:gd name="T25" fmla="*/ 37 h 397"/>
                  <a:gd name="T26" fmla="*/ 0 w 236"/>
                  <a:gd name="T27" fmla="*/ 362 h 397"/>
                  <a:gd name="T28" fmla="*/ 25 w 236"/>
                  <a:gd name="T29" fmla="*/ 393 h 397"/>
                  <a:gd name="T30" fmla="*/ 106 w 236"/>
                  <a:gd name="T31" fmla="*/ 397 h 397"/>
                  <a:gd name="T32" fmla="*/ 80 w 236"/>
                  <a:gd name="T33" fmla="*/ 375 h 397"/>
                  <a:gd name="T34" fmla="*/ 59 w 236"/>
                  <a:gd name="T35" fmla="*/ 343 h 397"/>
                  <a:gd name="T36" fmla="*/ 108 w 236"/>
                  <a:gd name="T37" fmla="*/ 25 h 397"/>
                  <a:gd name="T38" fmla="*/ 127 w 236"/>
                  <a:gd name="T39" fmla="*/ 25 h 397"/>
                  <a:gd name="T40" fmla="*/ 136 w 236"/>
                  <a:gd name="T41" fmla="*/ 34 h 397"/>
                  <a:gd name="T42" fmla="*/ 127 w 236"/>
                  <a:gd name="T43" fmla="*/ 43 h 397"/>
                  <a:gd name="T44" fmla="*/ 108 w 236"/>
                  <a:gd name="T45" fmla="*/ 43 h 397"/>
                  <a:gd name="T46" fmla="*/ 99 w 236"/>
                  <a:gd name="T47" fmla="*/ 34 h 397"/>
                  <a:gd name="T48" fmla="*/ 108 w 236"/>
                  <a:gd name="T49" fmla="*/ 25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6" h="397">
                    <a:moveTo>
                      <a:pt x="59" y="343"/>
                    </a:moveTo>
                    <a:cubicBezTo>
                      <a:pt x="61" y="335"/>
                      <a:pt x="67" y="327"/>
                      <a:pt x="76" y="320"/>
                    </a:cubicBezTo>
                    <a:cubicBezTo>
                      <a:pt x="23" y="320"/>
                      <a:pt x="23" y="320"/>
                      <a:pt x="23" y="320"/>
                    </a:cubicBezTo>
                    <a:cubicBezTo>
                      <a:pt x="23" y="62"/>
                      <a:pt x="23" y="62"/>
                      <a:pt x="23" y="62"/>
                    </a:cubicBezTo>
                    <a:cubicBezTo>
                      <a:pt x="213" y="62"/>
                      <a:pt x="213" y="62"/>
                      <a:pt x="213" y="62"/>
                    </a:cubicBezTo>
                    <a:cubicBezTo>
                      <a:pt x="213" y="249"/>
                      <a:pt x="213" y="249"/>
                      <a:pt x="213" y="249"/>
                    </a:cubicBezTo>
                    <a:cubicBezTo>
                      <a:pt x="216" y="248"/>
                      <a:pt x="218" y="248"/>
                      <a:pt x="221" y="247"/>
                    </a:cubicBezTo>
                    <a:cubicBezTo>
                      <a:pt x="224" y="246"/>
                      <a:pt x="227" y="246"/>
                      <a:pt x="230" y="246"/>
                    </a:cubicBezTo>
                    <a:cubicBezTo>
                      <a:pt x="232" y="246"/>
                      <a:pt x="234" y="246"/>
                      <a:pt x="236" y="247"/>
                    </a:cubicBezTo>
                    <a:cubicBezTo>
                      <a:pt x="236" y="37"/>
                      <a:pt x="236" y="37"/>
                      <a:pt x="236" y="37"/>
                    </a:cubicBezTo>
                    <a:cubicBezTo>
                      <a:pt x="236" y="22"/>
                      <a:pt x="225" y="8"/>
                      <a:pt x="210" y="6"/>
                    </a:cubicBezTo>
                    <a:cubicBezTo>
                      <a:pt x="143" y="0"/>
                      <a:pt x="92" y="0"/>
                      <a:pt x="26" y="6"/>
                    </a:cubicBezTo>
                    <a:cubicBezTo>
                      <a:pt x="11" y="8"/>
                      <a:pt x="0" y="22"/>
                      <a:pt x="0" y="37"/>
                    </a:cubicBezTo>
                    <a:cubicBezTo>
                      <a:pt x="0" y="362"/>
                      <a:pt x="0" y="362"/>
                      <a:pt x="0" y="362"/>
                    </a:cubicBezTo>
                    <a:cubicBezTo>
                      <a:pt x="0" y="377"/>
                      <a:pt x="11" y="391"/>
                      <a:pt x="25" y="393"/>
                    </a:cubicBezTo>
                    <a:cubicBezTo>
                      <a:pt x="57" y="396"/>
                      <a:pt x="78" y="397"/>
                      <a:pt x="106" y="397"/>
                    </a:cubicBezTo>
                    <a:cubicBezTo>
                      <a:pt x="96" y="388"/>
                      <a:pt x="87" y="381"/>
                      <a:pt x="80" y="375"/>
                    </a:cubicBezTo>
                    <a:cubicBezTo>
                      <a:pt x="68" y="367"/>
                      <a:pt x="56" y="358"/>
                      <a:pt x="59" y="343"/>
                    </a:cubicBezTo>
                    <a:close/>
                    <a:moveTo>
                      <a:pt x="108" y="25"/>
                    </a:moveTo>
                    <a:cubicBezTo>
                      <a:pt x="127" y="25"/>
                      <a:pt x="127" y="25"/>
                      <a:pt x="127" y="25"/>
                    </a:cubicBezTo>
                    <a:cubicBezTo>
                      <a:pt x="132" y="25"/>
                      <a:pt x="136" y="29"/>
                      <a:pt x="136" y="34"/>
                    </a:cubicBezTo>
                    <a:cubicBezTo>
                      <a:pt x="136" y="39"/>
                      <a:pt x="132" y="43"/>
                      <a:pt x="127" y="43"/>
                    </a:cubicBezTo>
                    <a:cubicBezTo>
                      <a:pt x="108" y="43"/>
                      <a:pt x="108" y="43"/>
                      <a:pt x="108" y="43"/>
                    </a:cubicBezTo>
                    <a:cubicBezTo>
                      <a:pt x="103" y="43"/>
                      <a:pt x="99" y="39"/>
                      <a:pt x="99" y="34"/>
                    </a:cubicBezTo>
                    <a:cubicBezTo>
                      <a:pt x="99" y="29"/>
                      <a:pt x="103" y="25"/>
                      <a:pt x="108"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60" name="Freeform 35"/>
              <p:cNvSpPr>
                <a:spLocks/>
              </p:cNvSpPr>
              <p:nvPr/>
            </p:nvSpPr>
            <p:spPr bwMode="auto">
              <a:xfrm>
                <a:off x="796925" y="3235327"/>
                <a:ext cx="636589" cy="715962"/>
              </a:xfrm>
              <a:custGeom>
                <a:avLst/>
                <a:gdLst>
                  <a:gd name="T0" fmla="*/ 78 w 313"/>
                  <a:gd name="T1" fmla="*/ 3 h 352"/>
                  <a:gd name="T2" fmla="*/ 57 w 313"/>
                  <a:gd name="T3" fmla="*/ 34 h 352"/>
                  <a:gd name="T4" fmla="*/ 89 w 313"/>
                  <a:gd name="T5" fmla="*/ 199 h 352"/>
                  <a:gd name="T6" fmla="*/ 30 w 313"/>
                  <a:gd name="T7" fmla="*/ 166 h 352"/>
                  <a:gd name="T8" fmla="*/ 3 w 313"/>
                  <a:gd name="T9" fmla="*/ 187 h 352"/>
                  <a:gd name="T10" fmla="*/ 79 w 313"/>
                  <a:gd name="T11" fmla="*/ 267 h 352"/>
                  <a:gd name="T12" fmla="*/ 219 w 313"/>
                  <a:gd name="T13" fmla="*/ 340 h 352"/>
                  <a:gd name="T14" fmla="*/ 306 w 313"/>
                  <a:gd name="T15" fmla="*/ 232 h 352"/>
                  <a:gd name="T16" fmla="*/ 289 w 313"/>
                  <a:gd name="T17" fmla="*/ 144 h 352"/>
                  <a:gd name="T18" fmla="*/ 264 w 313"/>
                  <a:gd name="T19" fmla="*/ 123 h 352"/>
                  <a:gd name="T20" fmla="*/ 239 w 313"/>
                  <a:gd name="T21" fmla="*/ 143 h 352"/>
                  <a:gd name="T22" fmla="*/ 236 w 313"/>
                  <a:gd name="T23" fmla="*/ 128 h 352"/>
                  <a:gd name="T24" fmla="*/ 210 w 313"/>
                  <a:gd name="T25" fmla="*/ 106 h 352"/>
                  <a:gd name="T26" fmla="*/ 184 w 313"/>
                  <a:gd name="T27" fmla="*/ 130 h 352"/>
                  <a:gd name="T28" fmla="*/ 157 w 313"/>
                  <a:gd name="T29" fmla="*/ 103 h 352"/>
                  <a:gd name="T30" fmla="*/ 130 w 313"/>
                  <a:gd name="T31" fmla="*/ 130 h 352"/>
                  <a:gd name="T32" fmla="*/ 109 w 313"/>
                  <a:gd name="T33" fmla="*/ 24 h 352"/>
                  <a:gd name="T34" fmla="*/ 78 w 313"/>
                  <a:gd name="T35" fmla="*/ 3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3" h="352">
                    <a:moveTo>
                      <a:pt x="78" y="3"/>
                    </a:moveTo>
                    <a:cubicBezTo>
                      <a:pt x="64" y="6"/>
                      <a:pt x="55" y="19"/>
                      <a:pt x="57" y="34"/>
                    </a:cubicBezTo>
                    <a:cubicBezTo>
                      <a:pt x="89" y="199"/>
                      <a:pt x="89" y="199"/>
                      <a:pt x="89" y="199"/>
                    </a:cubicBezTo>
                    <a:cubicBezTo>
                      <a:pt x="69" y="173"/>
                      <a:pt x="44" y="163"/>
                      <a:pt x="30" y="166"/>
                    </a:cubicBezTo>
                    <a:cubicBezTo>
                      <a:pt x="14" y="169"/>
                      <a:pt x="4" y="181"/>
                      <a:pt x="3" y="187"/>
                    </a:cubicBezTo>
                    <a:cubicBezTo>
                      <a:pt x="0" y="198"/>
                      <a:pt x="39" y="208"/>
                      <a:pt x="79" y="267"/>
                    </a:cubicBezTo>
                    <a:cubicBezTo>
                      <a:pt x="124" y="333"/>
                      <a:pt x="156" y="352"/>
                      <a:pt x="219" y="340"/>
                    </a:cubicBezTo>
                    <a:cubicBezTo>
                      <a:pt x="295" y="325"/>
                      <a:pt x="313" y="266"/>
                      <a:pt x="306" y="232"/>
                    </a:cubicBezTo>
                    <a:cubicBezTo>
                      <a:pt x="289" y="144"/>
                      <a:pt x="289" y="144"/>
                      <a:pt x="289" y="144"/>
                    </a:cubicBezTo>
                    <a:cubicBezTo>
                      <a:pt x="287" y="132"/>
                      <a:pt x="276" y="123"/>
                      <a:pt x="264" y="123"/>
                    </a:cubicBezTo>
                    <a:cubicBezTo>
                      <a:pt x="253" y="123"/>
                      <a:pt x="242" y="130"/>
                      <a:pt x="239" y="143"/>
                    </a:cubicBezTo>
                    <a:cubicBezTo>
                      <a:pt x="236" y="128"/>
                      <a:pt x="236" y="128"/>
                      <a:pt x="236" y="128"/>
                    </a:cubicBezTo>
                    <a:cubicBezTo>
                      <a:pt x="234" y="115"/>
                      <a:pt x="223" y="106"/>
                      <a:pt x="210" y="106"/>
                    </a:cubicBezTo>
                    <a:cubicBezTo>
                      <a:pt x="197" y="106"/>
                      <a:pt x="185" y="116"/>
                      <a:pt x="184" y="130"/>
                    </a:cubicBezTo>
                    <a:cubicBezTo>
                      <a:pt x="180" y="113"/>
                      <a:pt x="171" y="103"/>
                      <a:pt x="157" y="103"/>
                    </a:cubicBezTo>
                    <a:cubicBezTo>
                      <a:pt x="143" y="103"/>
                      <a:pt x="131" y="113"/>
                      <a:pt x="130" y="130"/>
                    </a:cubicBezTo>
                    <a:cubicBezTo>
                      <a:pt x="109" y="24"/>
                      <a:pt x="109" y="24"/>
                      <a:pt x="109" y="24"/>
                    </a:cubicBezTo>
                    <a:cubicBezTo>
                      <a:pt x="107" y="10"/>
                      <a:pt x="93" y="0"/>
                      <a:pt x="78" y="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grpSp>
          <p:nvGrpSpPr>
            <p:cNvPr id="80" name="Group 79"/>
            <p:cNvGrpSpPr/>
            <p:nvPr userDrawn="1"/>
          </p:nvGrpSpPr>
          <p:grpSpPr>
            <a:xfrm>
              <a:off x="4886084" y="2139268"/>
              <a:ext cx="224017" cy="270019"/>
              <a:chOff x="1581943" y="3035286"/>
              <a:chExt cx="533406" cy="642937"/>
            </a:xfrm>
            <a:solidFill>
              <a:schemeClr val="accent4"/>
            </a:solidFill>
          </p:grpSpPr>
          <p:sp>
            <p:nvSpPr>
              <p:cNvPr id="81" name="Freeform 38"/>
              <p:cNvSpPr>
                <a:spLocks/>
              </p:cNvSpPr>
              <p:nvPr/>
            </p:nvSpPr>
            <p:spPr bwMode="auto">
              <a:xfrm>
                <a:off x="1862936" y="3400406"/>
                <a:ext cx="252413" cy="277813"/>
              </a:xfrm>
              <a:custGeom>
                <a:avLst/>
                <a:gdLst>
                  <a:gd name="T0" fmla="*/ 404 w 412"/>
                  <a:gd name="T1" fmla="*/ 155 h 452"/>
                  <a:gd name="T2" fmla="*/ 308 w 412"/>
                  <a:gd name="T3" fmla="*/ 10 h 452"/>
                  <a:gd name="T4" fmla="*/ 297 w 412"/>
                  <a:gd name="T5" fmla="*/ 2 h 452"/>
                  <a:gd name="T6" fmla="*/ 291 w 412"/>
                  <a:gd name="T7" fmla="*/ 0 h 452"/>
                  <a:gd name="T8" fmla="*/ 286 w 412"/>
                  <a:gd name="T9" fmla="*/ 0 h 452"/>
                  <a:gd name="T10" fmla="*/ 126 w 412"/>
                  <a:gd name="T11" fmla="*/ 0 h 452"/>
                  <a:gd name="T12" fmla="*/ 120 w 412"/>
                  <a:gd name="T13" fmla="*/ 0 h 452"/>
                  <a:gd name="T14" fmla="*/ 114 w 412"/>
                  <a:gd name="T15" fmla="*/ 2 h 452"/>
                  <a:gd name="T16" fmla="*/ 104 w 412"/>
                  <a:gd name="T17" fmla="*/ 10 h 452"/>
                  <a:gd name="T18" fmla="*/ 7 w 412"/>
                  <a:gd name="T19" fmla="*/ 155 h 452"/>
                  <a:gd name="T20" fmla="*/ 18 w 412"/>
                  <a:gd name="T21" fmla="*/ 192 h 452"/>
                  <a:gd name="T22" fmla="*/ 56 w 412"/>
                  <a:gd name="T23" fmla="*/ 188 h 452"/>
                  <a:gd name="T24" fmla="*/ 126 w 412"/>
                  <a:gd name="T25" fmla="*/ 84 h 452"/>
                  <a:gd name="T26" fmla="*/ 126 w 412"/>
                  <a:gd name="T27" fmla="*/ 94 h 452"/>
                  <a:gd name="T28" fmla="*/ 80 w 412"/>
                  <a:gd name="T29" fmla="*/ 304 h 452"/>
                  <a:gd name="T30" fmla="*/ 126 w 412"/>
                  <a:gd name="T31" fmla="*/ 304 h 452"/>
                  <a:gd name="T32" fmla="*/ 126 w 412"/>
                  <a:gd name="T33" fmla="*/ 409 h 452"/>
                  <a:gd name="T34" fmla="*/ 160 w 412"/>
                  <a:gd name="T35" fmla="*/ 452 h 452"/>
                  <a:gd name="T36" fmla="*/ 194 w 412"/>
                  <a:gd name="T37" fmla="*/ 409 h 452"/>
                  <a:gd name="T38" fmla="*/ 194 w 412"/>
                  <a:gd name="T39" fmla="*/ 304 h 452"/>
                  <a:gd name="T40" fmla="*/ 218 w 412"/>
                  <a:gd name="T41" fmla="*/ 304 h 452"/>
                  <a:gd name="T42" fmla="*/ 218 w 412"/>
                  <a:gd name="T43" fmla="*/ 409 h 452"/>
                  <a:gd name="T44" fmla="*/ 252 w 412"/>
                  <a:gd name="T45" fmla="*/ 452 h 452"/>
                  <a:gd name="T46" fmla="*/ 286 w 412"/>
                  <a:gd name="T47" fmla="*/ 409 h 452"/>
                  <a:gd name="T48" fmla="*/ 286 w 412"/>
                  <a:gd name="T49" fmla="*/ 304 h 452"/>
                  <a:gd name="T50" fmla="*/ 331 w 412"/>
                  <a:gd name="T51" fmla="*/ 304 h 452"/>
                  <a:gd name="T52" fmla="*/ 286 w 412"/>
                  <a:gd name="T53" fmla="*/ 94 h 452"/>
                  <a:gd name="T54" fmla="*/ 286 w 412"/>
                  <a:gd name="T55" fmla="*/ 84 h 452"/>
                  <a:gd name="T56" fmla="*/ 355 w 412"/>
                  <a:gd name="T57" fmla="*/ 188 h 452"/>
                  <a:gd name="T58" fmla="*/ 393 w 412"/>
                  <a:gd name="T59" fmla="*/ 192 h 452"/>
                  <a:gd name="T60" fmla="*/ 404 w 412"/>
                  <a:gd name="T61" fmla="*/ 155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2" h="452">
                    <a:moveTo>
                      <a:pt x="404" y="155"/>
                    </a:moveTo>
                    <a:cubicBezTo>
                      <a:pt x="308" y="10"/>
                      <a:pt x="308" y="10"/>
                      <a:pt x="308" y="10"/>
                    </a:cubicBezTo>
                    <a:cubicBezTo>
                      <a:pt x="305" y="6"/>
                      <a:pt x="302" y="3"/>
                      <a:pt x="297" y="2"/>
                    </a:cubicBezTo>
                    <a:cubicBezTo>
                      <a:pt x="296" y="1"/>
                      <a:pt x="294" y="0"/>
                      <a:pt x="291" y="0"/>
                    </a:cubicBezTo>
                    <a:cubicBezTo>
                      <a:pt x="286" y="0"/>
                      <a:pt x="286" y="0"/>
                      <a:pt x="286" y="0"/>
                    </a:cubicBezTo>
                    <a:cubicBezTo>
                      <a:pt x="126" y="0"/>
                      <a:pt x="126" y="0"/>
                      <a:pt x="126" y="0"/>
                    </a:cubicBezTo>
                    <a:cubicBezTo>
                      <a:pt x="120" y="0"/>
                      <a:pt x="120" y="0"/>
                      <a:pt x="120" y="0"/>
                    </a:cubicBezTo>
                    <a:cubicBezTo>
                      <a:pt x="118" y="0"/>
                      <a:pt x="116" y="1"/>
                      <a:pt x="114" y="2"/>
                    </a:cubicBezTo>
                    <a:cubicBezTo>
                      <a:pt x="110" y="3"/>
                      <a:pt x="106" y="6"/>
                      <a:pt x="104" y="10"/>
                    </a:cubicBezTo>
                    <a:cubicBezTo>
                      <a:pt x="7" y="155"/>
                      <a:pt x="7" y="155"/>
                      <a:pt x="7" y="155"/>
                    </a:cubicBezTo>
                    <a:cubicBezTo>
                      <a:pt x="0" y="166"/>
                      <a:pt x="5" y="183"/>
                      <a:pt x="18" y="192"/>
                    </a:cubicBezTo>
                    <a:cubicBezTo>
                      <a:pt x="32" y="201"/>
                      <a:pt x="49" y="199"/>
                      <a:pt x="56" y="188"/>
                    </a:cubicBezTo>
                    <a:cubicBezTo>
                      <a:pt x="126" y="84"/>
                      <a:pt x="126" y="84"/>
                      <a:pt x="126" y="84"/>
                    </a:cubicBezTo>
                    <a:cubicBezTo>
                      <a:pt x="126" y="94"/>
                      <a:pt x="126" y="94"/>
                      <a:pt x="126" y="94"/>
                    </a:cubicBezTo>
                    <a:cubicBezTo>
                      <a:pt x="80" y="304"/>
                      <a:pt x="80" y="304"/>
                      <a:pt x="80" y="304"/>
                    </a:cubicBezTo>
                    <a:cubicBezTo>
                      <a:pt x="126" y="304"/>
                      <a:pt x="126" y="304"/>
                      <a:pt x="126" y="304"/>
                    </a:cubicBezTo>
                    <a:cubicBezTo>
                      <a:pt x="126" y="409"/>
                      <a:pt x="126" y="409"/>
                      <a:pt x="126" y="409"/>
                    </a:cubicBezTo>
                    <a:cubicBezTo>
                      <a:pt x="126" y="433"/>
                      <a:pt x="141" y="452"/>
                      <a:pt x="160" y="452"/>
                    </a:cubicBezTo>
                    <a:cubicBezTo>
                      <a:pt x="178" y="452"/>
                      <a:pt x="194" y="433"/>
                      <a:pt x="194" y="409"/>
                    </a:cubicBezTo>
                    <a:cubicBezTo>
                      <a:pt x="194" y="304"/>
                      <a:pt x="194" y="304"/>
                      <a:pt x="194" y="304"/>
                    </a:cubicBezTo>
                    <a:cubicBezTo>
                      <a:pt x="218" y="304"/>
                      <a:pt x="218" y="304"/>
                      <a:pt x="218" y="304"/>
                    </a:cubicBezTo>
                    <a:cubicBezTo>
                      <a:pt x="218" y="409"/>
                      <a:pt x="218" y="409"/>
                      <a:pt x="218" y="409"/>
                    </a:cubicBezTo>
                    <a:cubicBezTo>
                      <a:pt x="218" y="433"/>
                      <a:pt x="233" y="452"/>
                      <a:pt x="252" y="452"/>
                    </a:cubicBezTo>
                    <a:cubicBezTo>
                      <a:pt x="271" y="452"/>
                      <a:pt x="286" y="433"/>
                      <a:pt x="286" y="409"/>
                    </a:cubicBezTo>
                    <a:cubicBezTo>
                      <a:pt x="286" y="304"/>
                      <a:pt x="286" y="304"/>
                      <a:pt x="286" y="304"/>
                    </a:cubicBezTo>
                    <a:cubicBezTo>
                      <a:pt x="331" y="304"/>
                      <a:pt x="331" y="304"/>
                      <a:pt x="331" y="304"/>
                    </a:cubicBezTo>
                    <a:cubicBezTo>
                      <a:pt x="286" y="94"/>
                      <a:pt x="286" y="94"/>
                      <a:pt x="286" y="94"/>
                    </a:cubicBezTo>
                    <a:cubicBezTo>
                      <a:pt x="286" y="84"/>
                      <a:pt x="286" y="84"/>
                      <a:pt x="286" y="84"/>
                    </a:cubicBezTo>
                    <a:cubicBezTo>
                      <a:pt x="355" y="188"/>
                      <a:pt x="355" y="188"/>
                      <a:pt x="355" y="188"/>
                    </a:cubicBezTo>
                    <a:cubicBezTo>
                      <a:pt x="363" y="199"/>
                      <a:pt x="380" y="201"/>
                      <a:pt x="393" y="192"/>
                    </a:cubicBezTo>
                    <a:cubicBezTo>
                      <a:pt x="407" y="183"/>
                      <a:pt x="412" y="166"/>
                      <a:pt x="404" y="15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82" name="Oval 39"/>
              <p:cNvSpPr>
                <a:spLocks noChangeArrowheads="1"/>
              </p:cNvSpPr>
              <p:nvPr/>
            </p:nvSpPr>
            <p:spPr bwMode="auto">
              <a:xfrm>
                <a:off x="1951834" y="3314682"/>
                <a:ext cx="73026" cy="74614"/>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83" name="Oval 40"/>
              <p:cNvSpPr>
                <a:spLocks noChangeArrowheads="1"/>
              </p:cNvSpPr>
              <p:nvPr/>
            </p:nvSpPr>
            <p:spPr bwMode="auto">
              <a:xfrm>
                <a:off x="1637508" y="3035286"/>
                <a:ext cx="109537" cy="109537"/>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84" name="Freeform 41"/>
              <p:cNvSpPr>
                <a:spLocks/>
              </p:cNvSpPr>
              <p:nvPr/>
            </p:nvSpPr>
            <p:spPr bwMode="auto">
              <a:xfrm>
                <a:off x="1581943" y="3159109"/>
                <a:ext cx="219075" cy="519112"/>
              </a:xfrm>
              <a:custGeom>
                <a:avLst/>
                <a:gdLst>
                  <a:gd name="T0" fmla="*/ 247 w 357"/>
                  <a:gd name="T1" fmla="*/ 410 h 847"/>
                  <a:gd name="T2" fmla="*/ 228 w 357"/>
                  <a:gd name="T3" fmla="*/ 413 h 847"/>
                  <a:gd name="T4" fmla="*/ 212 w 357"/>
                  <a:gd name="T5" fmla="*/ 411 h 847"/>
                  <a:gd name="T6" fmla="*/ 171 w 357"/>
                  <a:gd name="T7" fmla="*/ 337 h 847"/>
                  <a:gd name="T8" fmla="*/ 248 w 357"/>
                  <a:gd name="T9" fmla="*/ 68 h 847"/>
                  <a:gd name="T10" fmla="*/ 290 w 357"/>
                  <a:gd name="T11" fmla="*/ 26 h 847"/>
                  <a:gd name="T12" fmla="*/ 304 w 357"/>
                  <a:gd name="T13" fmla="*/ 24 h 847"/>
                  <a:gd name="T14" fmla="*/ 357 w 357"/>
                  <a:gd name="T15" fmla="*/ 24 h 847"/>
                  <a:gd name="T16" fmla="*/ 324 w 357"/>
                  <a:gd name="T17" fmla="*/ 0 h 847"/>
                  <a:gd name="T18" fmla="*/ 322 w 357"/>
                  <a:gd name="T19" fmla="*/ 0 h 847"/>
                  <a:gd name="T20" fmla="*/ 321 w 357"/>
                  <a:gd name="T21" fmla="*/ 0 h 847"/>
                  <a:gd name="T22" fmla="*/ 275 w 357"/>
                  <a:gd name="T23" fmla="*/ 0 h 847"/>
                  <a:gd name="T24" fmla="*/ 86 w 357"/>
                  <a:gd name="T25" fmla="*/ 0 h 847"/>
                  <a:gd name="T26" fmla="*/ 40 w 357"/>
                  <a:gd name="T27" fmla="*/ 0 h 847"/>
                  <a:gd name="T28" fmla="*/ 39 w 357"/>
                  <a:gd name="T29" fmla="*/ 0 h 847"/>
                  <a:gd name="T30" fmla="*/ 38 w 357"/>
                  <a:gd name="T31" fmla="*/ 0 h 847"/>
                  <a:gd name="T32" fmla="*/ 0 w 357"/>
                  <a:gd name="T33" fmla="*/ 44 h 847"/>
                  <a:gd name="T34" fmla="*/ 0 w 357"/>
                  <a:gd name="T35" fmla="*/ 358 h 847"/>
                  <a:gd name="T36" fmla="*/ 38 w 357"/>
                  <a:gd name="T37" fmla="*/ 402 h 847"/>
                  <a:gd name="T38" fmla="*/ 76 w 357"/>
                  <a:gd name="T39" fmla="*/ 358 h 847"/>
                  <a:gd name="T40" fmla="*/ 76 w 357"/>
                  <a:gd name="T41" fmla="*/ 90 h 847"/>
                  <a:gd name="T42" fmla="*/ 86 w 357"/>
                  <a:gd name="T43" fmla="*/ 90 h 847"/>
                  <a:gd name="T44" fmla="*/ 86 w 357"/>
                  <a:gd name="T45" fmla="*/ 439 h 847"/>
                  <a:gd name="T46" fmla="*/ 86 w 357"/>
                  <a:gd name="T47" fmla="*/ 796 h 847"/>
                  <a:gd name="T48" fmla="*/ 130 w 357"/>
                  <a:gd name="T49" fmla="*/ 847 h 847"/>
                  <a:gd name="T50" fmla="*/ 173 w 357"/>
                  <a:gd name="T51" fmla="*/ 796 h 847"/>
                  <a:gd name="T52" fmla="*/ 173 w 357"/>
                  <a:gd name="T53" fmla="*/ 439 h 847"/>
                  <a:gd name="T54" fmla="*/ 188 w 357"/>
                  <a:gd name="T55" fmla="*/ 439 h 847"/>
                  <a:gd name="T56" fmla="*/ 188 w 357"/>
                  <a:gd name="T57" fmla="*/ 796 h 847"/>
                  <a:gd name="T58" fmla="*/ 232 w 357"/>
                  <a:gd name="T59" fmla="*/ 847 h 847"/>
                  <a:gd name="T60" fmla="*/ 275 w 357"/>
                  <a:gd name="T61" fmla="*/ 796 h 847"/>
                  <a:gd name="T62" fmla="*/ 275 w 357"/>
                  <a:gd name="T63" fmla="*/ 588 h 847"/>
                  <a:gd name="T64" fmla="*/ 198 w 357"/>
                  <a:gd name="T65" fmla="*/ 588 h 847"/>
                  <a:gd name="T66" fmla="*/ 247 w 357"/>
                  <a:gd name="T67" fmla="*/ 410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7" h="847">
                    <a:moveTo>
                      <a:pt x="247" y="410"/>
                    </a:moveTo>
                    <a:cubicBezTo>
                      <a:pt x="241" y="412"/>
                      <a:pt x="235" y="413"/>
                      <a:pt x="228" y="413"/>
                    </a:cubicBezTo>
                    <a:cubicBezTo>
                      <a:pt x="223" y="413"/>
                      <a:pt x="217" y="413"/>
                      <a:pt x="212" y="411"/>
                    </a:cubicBezTo>
                    <a:cubicBezTo>
                      <a:pt x="180" y="402"/>
                      <a:pt x="162" y="369"/>
                      <a:pt x="171" y="337"/>
                    </a:cubicBezTo>
                    <a:cubicBezTo>
                      <a:pt x="248" y="68"/>
                      <a:pt x="248" y="68"/>
                      <a:pt x="248" y="68"/>
                    </a:cubicBezTo>
                    <a:cubicBezTo>
                      <a:pt x="253" y="48"/>
                      <a:pt x="269" y="32"/>
                      <a:pt x="290" y="26"/>
                    </a:cubicBezTo>
                    <a:cubicBezTo>
                      <a:pt x="294" y="25"/>
                      <a:pt x="299" y="24"/>
                      <a:pt x="304" y="24"/>
                    </a:cubicBezTo>
                    <a:cubicBezTo>
                      <a:pt x="357" y="24"/>
                      <a:pt x="357" y="24"/>
                      <a:pt x="357" y="24"/>
                    </a:cubicBezTo>
                    <a:cubicBezTo>
                      <a:pt x="351" y="10"/>
                      <a:pt x="338" y="0"/>
                      <a:pt x="324" y="0"/>
                    </a:cubicBezTo>
                    <a:cubicBezTo>
                      <a:pt x="323" y="0"/>
                      <a:pt x="323" y="0"/>
                      <a:pt x="322" y="0"/>
                    </a:cubicBezTo>
                    <a:cubicBezTo>
                      <a:pt x="322" y="0"/>
                      <a:pt x="321" y="0"/>
                      <a:pt x="321" y="0"/>
                    </a:cubicBezTo>
                    <a:cubicBezTo>
                      <a:pt x="275" y="0"/>
                      <a:pt x="275" y="0"/>
                      <a:pt x="275" y="0"/>
                    </a:cubicBezTo>
                    <a:cubicBezTo>
                      <a:pt x="86" y="0"/>
                      <a:pt x="86" y="0"/>
                      <a:pt x="86" y="0"/>
                    </a:cubicBezTo>
                    <a:cubicBezTo>
                      <a:pt x="40" y="0"/>
                      <a:pt x="40" y="0"/>
                      <a:pt x="40" y="0"/>
                    </a:cubicBezTo>
                    <a:cubicBezTo>
                      <a:pt x="40" y="0"/>
                      <a:pt x="39" y="0"/>
                      <a:pt x="39" y="0"/>
                    </a:cubicBezTo>
                    <a:cubicBezTo>
                      <a:pt x="39" y="0"/>
                      <a:pt x="38" y="0"/>
                      <a:pt x="38" y="0"/>
                    </a:cubicBezTo>
                    <a:cubicBezTo>
                      <a:pt x="17" y="0"/>
                      <a:pt x="0" y="20"/>
                      <a:pt x="0" y="44"/>
                    </a:cubicBezTo>
                    <a:cubicBezTo>
                      <a:pt x="0" y="358"/>
                      <a:pt x="0" y="358"/>
                      <a:pt x="0" y="358"/>
                    </a:cubicBezTo>
                    <a:cubicBezTo>
                      <a:pt x="0" y="382"/>
                      <a:pt x="17" y="402"/>
                      <a:pt x="38" y="402"/>
                    </a:cubicBezTo>
                    <a:cubicBezTo>
                      <a:pt x="59" y="402"/>
                      <a:pt x="76" y="382"/>
                      <a:pt x="76" y="358"/>
                    </a:cubicBezTo>
                    <a:cubicBezTo>
                      <a:pt x="76" y="90"/>
                      <a:pt x="76" y="90"/>
                      <a:pt x="76" y="90"/>
                    </a:cubicBezTo>
                    <a:cubicBezTo>
                      <a:pt x="86" y="90"/>
                      <a:pt x="86" y="90"/>
                      <a:pt x="86" y="90"/>
                    </a:cubicBezTo>
                    <a:cubicBezTo>
                      <a:pt x="86" y="439"/>
                      <a:pt x="86" y="439"/>
                      <a:pt x="86" y="439"/>
                    </a:cubicBezTo>
                    <a:cubicBezTo>
                      <a:pt x="86" y="796"/>
                      <a:pt x="86" y="796"/>
                      <a:pt x="86" y="796"/>
                    </a:cubicBezTo>
                    <a:cubicBezTo>
                      <a:pt x="86" y="824"/>
                      <a:pt x="106" y="847"/>
                      <a:pt x="130" y="847"/>
                    </a:cubicBezTo>
                    <a:cubicBezTo>
                      <a:pt x="154" y="847"/>
                      <a:pt x="173" y="824"/>
                      <a:pt x="173" y="796"/>
                    </a:cubicBezTo>
                    <a:cubicBezTo>
                      <a:pt x="173" y="439"/>
                      <a:pt x="173" y="439"/>
                      <a:pt x="173" y="439"/>
                    </a:cubicBezTo>
                    <a:cubicBezTo>
                      <a:pt x="188" y="439"/>
                      <a:pt x="188" y="439"/>
                      <a:pt x="188" y="439"/>
                    </a:cubicBezTo>
                    <a:cubicBezTo>
                      <a:pt x="188" y="796"/>
                      <a:pt x="188" y="796"/>
                      <a:pt x="188" y="796"/>
                    </a:cubicBezTo>
                    <a:cubicBezTo>
                      <a:pt x="188" y="824"/>
                      <a:pt x="208" y="847"/>
                      <a:pt x="232" y="847"/>
                    </a:cubicBezTo>
                    <a:cubicBezTo>
                      <a:pt x="256" y="847"/>
                      <a:pt x="275" y="824"/>
                      <a:pt x="275" y="796"/>
                    </a:cubicBezTo>
                    <a:cubicBezTo>
                      <a:pt x="275" y="588"/>
                      <a:pt x="275" y="588"/>
                      <a:pt x="275" y="588"/>
                    </a:cubicBezTo>
                    <a:cubicBezTo>
                      <a:pt x="198" y="588"/>
                      <a:pt x="198" y="588"/>
                      <a:pt x="198" y="588"/>
                    </a:cubicBezTo>
                    <a:lnTo>
                      <a:pt x="247" y="410"/>
                    </a:lnTo>
                    <a:close/>
                  </a:path>
                </a:pathLst>
              </a:custGeom>
              <a:grp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85" name="Freeform 42"/>
              <p:cNvSpPr>
                <a:spLocks/>
              </p:cNvSpPr>
              <p:nvPr/>
            </p:nvSpPr>
            <p:spPr bwMode="auto">
              <a:xfrm>
                <a:off x="1694657" y="3186099"/>
                <a:ext cx="287338" cy="492122"/>
              </a:xfrm>
              <a:custGeom>
                <a:avLst/>
                <a:gdLst>
                  <a:gd name="T0" fmla="*/ 263 w 467"/>
                  <a:gd name="T1" fmla="*/ 493 h 802"/>
                  <a:gd name="T2" fmla="*/ 360 w 467"/>
                  <a:gd name="T3" fmla="*/ 348 h 802"/>
                  <a:gd name="T4" fmla="*/ 378 w 467"/>
                  <a:gd name="T5" fmla="*/ 333 h 802"/>
                  <a:gd name="T6" fmla="*/ 393 w 467"/>
                  <a:gd name="T7" fmla="*/ 330 h 802"/>
                  <a:gd name="T8" fmla="*/ 410 w 467"/>
                  <a:gd name="T9" fmla="*/ 330 h 802"/>
                  <a:gd name="T10" fmla="*/ 346 w 467"/>
                  <a:gd name="T11" fmla="*/ 100 h 802"/>
                  <a:gd name="T12" fmla="*/ 346 w 467"/>
                  <a:gd name="T13" fmla="*/ 85 h 802"/>
                  <a:gd name="T14" fmla="*/ 356 w 467"/>
                  <a:gd name="T15" fmla="*/ 85 h 802"/>
                  <a:gd name="T16" fmla="*/ 401 w 467"/>
                  <a:gd name="T17" fmla="*/ 244 h 802"/>
                  <a:gd name="T18" fmla="*/ 467 w 467"/>
                  <a:gd name="T19" fmla="*/ 189 h 802"/>
                  <a:gd name="T20" fmla="*/ 421 w 467"/>
                  <a:gd name="T21" fmla="*/ 29 h 802"/>
                  <a:gd name="T22" fmla="*/ 394 w 467"/>
                  <a:gd name="T23" fmla="*/ 1 h 802"/>
                  <a:gd name="T24" fmla="*/ 385 w 467"/>
                  <a:gd name="T25" fmla="*/ 0 h 802"/>
                  <a:gd name="T26" fmla="*/ 346 w 467"/>
                  <a:gd name="T27" fmla="*/ 0 h 802"/>
                  <a:gd name="T28" fmla="*/ 157 w 467"/>
                  <a:gd name="T29" fmla="*/ 0 h 802"/>
                  <a:gd name="T30" fmla="*/ 119 w 467"/>
                  <a:gd name="T31" fmla="*/ 0 h 802"/>
                  <a:gd name="T32" fmla="*/ 110 w 467"/>
                  <a:gd name="T33" fmla="*/ 1 h 802"/>
                  <a:gd name="T34" fmla="*/ 82 w 467"/>
                  <a:gd name="T35" fmla="*/ 29 h 802"/>
                  <a:gd name="T36" fmla="*/ 6 w 467"/>
                  <a:gd name="T37" fmla="*/ 298 h 802"/>
                  <a:gd name="T38" fmla="*/ 33 w 467"/>
                  <a:gd name="T39" fmla="*/ 346 h 802"/>
                  <a:gd name="T40" fmla="*/ 81 w 467"/>
                  <a:gd name="T41" fmla="*/ 319 h 802"/>
                  <a:gd name="T42" fmla="*/ 148 w 467"/>
                  <a:gd name="T43" fmla="*/ 85 h 802"/>
                  <a:gd name="T44" fmla="*/ 157 w 467"/>
                  <a:gd name="T45" fmla="*/ 85 h 802"/>
                  <a:gd name="T46" fmla="*/ 157 w 467"/>
                  <a:gd name="T47" fmla="*/ 100 h 802"/>
                  <a:gd name="T48" fmla="*/ 40 w 467"/>
                  <a:gd name="T49" fmla="*/ 522 h 802"/>
                  <a:gd name="T50" fmla="*/ 157 w 467"/>
                  <a:gd name="T51" fmla="*/ 522 h 802"/>
                  <a:gd name="T52" fmla="*/ 157 w 467"/>
                  <a:gd name="T53" fmla="*/ 751 h 802"/>
                  <a:gd name="T54" fmla="*/ 201 w 467"/>
                  <a:gd name="T55" fmla="*/ 802 h 802"/>
                  <a:gd name="T56" fmla="*/ 244 w 467"/>
                  <a:gd name="T57" fmla="*/ 751 h 802"/>
                  <a:gd name="T58" fmla="*/ 244 w 467"/>
                  <a:gd name="T59" fmla="*/ 522 h 802"/>
                  <a:gd name="T60" fmla="*/ 256 w 467"/>
                  <a:gd name="T61" fmla="*/ 522 h 802"/>
                  <a:gd name="T62" fmla="*/ 263 w 467"/>
                  <a:gd name="T63" fmla="*/ 49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7" h="802">
                    <a:moveTo>
                      <a:pt x="263" y="493"/>
                    </a:moveTo>
                    <a:cubicBezTo>
                      <a:pt x="360" y="348"/>
                      <a:pt x="360" y="348"/>
                      <a:pt x="360" y="348"/>
                    </a:cubicBezTo>
                    <a:cubicBezTo>
                      <a:pt x="364" y="342"/>
                      <a:pt x="371" y="336"/>
                      <a:pt x="378" y="333"/>
                    </a:cubicBezTo>
                    <a:cubicBezTo>
                      <a:pt x="383" y="331"/>
                      <a:pt x="388" y="330"/>
                      <a:pt x="393" y="330"/>
                    </a:cubicBezTo>
                    <a:cubicBezTo>
                      <a:pt x="410" y="330"/>
                      <a:pt x="410" y="330"/>
                      <a:pt x="410" y="330"/>
                    </a:cubicBezTo>
                    <a:cubicBezTo>
                      <a:pt x="346" y="100"/>
                      <a:pt x="346" y="100"/>
                      <a:pt x="346" y="100"/>
                    </a:cubicBezTo>
                    <a:cubicBezTo>
                      <a:pt x="346" y="85"/>
                      <a:pt x="346" y="85"/>
                      <a:pt x="346" y="85"/>
                    </a:cubicBezTo>
                    <a:cubicBezTo>
                      <a:pt x="356" y="85"/>
                      <a:pt x="356" y="85"/>
                      <a:pt x="356" y="85"/>
                    </a:cubicBezTo>
                    <a:cubicBezTo>
                      <a:pt x="401" y="244"/>
                      <a:pt x="401" y="244"/>
                      <a:pt x="401" y="244"/>
                    </a:cubicBezTo>
                    <a:cubicBezTo>
                      <a:pt x="411" y="215"/>
                      <a:pt x="436" y="193"/>
                      <a:pt x="467" y="189"/>
                    </a:cubicBezTo>
                    <a:cubicBezTo>
                      <a:pt x="421" y="29"/>
                      <a:pt x="421" y="29"/>
                      <a:pt x="421" y="29"/>
                    </a:cubicBezTo>
                    <a:cubicBezTo>
                      <a:pt x="417" y="15"/>
                      <a:pt x="406" y="5"/>
                      <a:pt x="394" y="1"/>
                    </a:cubicBezTo>
                    <a:cubicBezTo>
                      <a:pt x="391" y="0"/>
                      <a:pt x="388" y="0"/>
                      <a:pt x="385" y="0"/>
                    </a:cubicBezTo>
                    <a:cubicBezTo>
                      <a:pt x="346" y="0"/>
                      <a:pt x="346" y="0"/>
                      <a:pt x="346" y="0"/>
                    </a:cubicBezTo>
                    <a:cubicBezTo>
                      <a:pt x="157" y="0"/>
                      <a:pt x="157" y="0"/>
                      <a:pt x="157" y="0"/>
                    </a:cubicBezTo>
                    <a:cubicBezTo>
                      <a:pt x="119" y="0"/>
                      <a:pt x="119" y="0"/>
                      <a:pt x="119" y="0"/>
                    </a:cubicBezTo>
                    <a:cubicBezTo>
                      <a:pt x="116" y="0"/>
                      <a:pt x="113" y="0"/>
                      <a:pt x="110" y="1"/>
                    </a:cubicBezTo>
                    <a:cubicBezTo>
                      <a:pt x="97" y="5"/>
                      <a:pt x="86" y="15"/>
                      <a:pt x="82" y="29"/>
                    </a:cubicBezTo>
                    <a:cubicBezTo>
                      <a:pt x="6" y="298"/>
                      <a:pt x="6" y="298"/>
                      <a:pt x="6" y="298"/>
                    </a:cubicBezTo>
                    <a:cubicBezTo>
                      <a:pt x="0" y="318"/>
                      <a:pt x="12" y="340"/>
                      <a:pt x="33" y="346"/>
                    </a:cubicBezTo>
                    <a:cubicBezTo>
                      <a:pt x="53" y="352"/>
                      <a:pt x="75" y="340"/>
                      <a:pt x="81" y="319"/>
                    </a:cubicBezTo>
                    <a:cubicBezTo>
                      <a:pt x="148" y="85"/>
                      <a:pt x="148" y="85"/>
                      <a:pt x="148" y="85"/>
                    </a:cubicBezTo>
                    <a:cubicBezTo>
                      <a:pt x="157" y="85"/>
                      <a:pt x="157" y="85"/>
                      <a:pt x="157" y="85"/>
                    </a:cubicBezTo>
                    <a:cubicBezTo>
                      <a:pt x="157" y="100"/>
                      <a:pt x="157" y="100"/>
                      <a:pt x="157" y="100"/>
                    </a:cubicBezTo>
                    <a:cubicBezTo>
                      <a:pt x="40" y="522"/>
                      <a:pt x="40" y="522"/>
                      <a:pt x="40" y="522"/>
                    </a:cubicBezTo>
                    <a:cubicBezTo>
                      <a:pt x="157" y="522"/>
                      <a:pt x="157" y="522"/>
                      <a:pt x="157" y="522"/>
                    </a:cubicBezTo>
                    <a:cubicBezTo>
                      <a:pt x="157" y="751"/>
                      <a:pt x="157" y="751"/>
                      <a:pt x="157" y="751"/>
                    </a:cubicBezTo>
                    <a:cubicBezTo>
                      <a:pt x="157" y="779"/>
                      <a:pt x="177" y="802"/>
                      <a:pt x="201" y="802"/>
                    </a:cubicBezTo>
                    <a:cubicBezTo>
                      <a:pt x="224" y="802"/>
                      <a:pt x="244" y="779"/>
                      <a:pt x="244" y="751"/>
                    </a:cubicBezTo>
                    <a:cubicBezTo>
                      <a:pt x="244" y="522"/>
                      <a:pt x="244" y="522"/>
                      <a:pt x="244" y="522"/>
                    </a:cubicBezTo>
                    <a:cubicBezTo>
                      <a:pt x="256" y="522"/>
                      <a:pt x="256" y="522"/>
                      <a:pt x="256" y="522"/>
                    </a:cubicBezTo>
                    <a:cubicBezTo>
                      <a:pt x="255" y="512"/>
                      <a:pt x="257" y="502"/>
                      <a:pt x="263" y="49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86" name="Freeform 43"/>
              <p:cNvSpPr>
                <a:spLocks/>
              </p:cNvSpPr>
              <p:nvPr/>
            </p:nvSpPr>
            <p:spPr bwMode="auto">
              <a:xfrm>
                <a:off x="1854988" y="3514712"/>
                <a:ext cx="52389" cy="163511"/>
              </a:xfrm>
              <a:custGeom>
                <a:avLst/>
                <a:gdLst>
                  <a:gd name="T0" fmla="*/ 50 w 86"/>
                  <a:gd name="T1" fmla="*/ 32 h 266"/>
                  <a:gd name="T2" fmla="*/ 20 w 86"/>
                  <a:gd name="T3" fmla="*/ 23 h 266"/>
                  <a:gd name="T4" fmla="*/ 0 w 86"/>
                  <a:gd name="T5" fmla="*/ 0 h 266"/>
                  <a:gd name="T6" fmla="*/ 0 w 86"/>
                  <a:gd name="T7" fmla="*/ 215 h 266"/>
                  <a:gd name="T8" fmla="*/ 43 w 86"/>
                  <a:gd name="T9" fmla="*/ 266 h 266"/>
                  <a:gd name="T10" fmla="*/ 86 w 86"/>
                  <a:gd name="T11" fmla="*/ 215 h 266"/>
                  <a:gd name="T12" fmla="*/ 86 w 86"/>
                  <a:gd name="T13" fmla="*/ 139 h 266"/>
                  <a:gd name="T14" fmla="*/ 67 w 86"/>
                  <a:gd name="T15" fmla="*/ 139 h 266"/>
                  <a:gd name="T16" fmla="*/ 86 w 86"/>
                  <a:gd name="T17" fmla="*/ 50 h 266"/>
                  <a:gd name="T18" fmla="*/ 86 w 86"/>
                  <a:gd name="T19" fmla="*/ 13 h 266"/>
                  <a:gd name="T20" fmla="*/ 50 w 86"/>
                  <a:gd name="T21" fmla="*/ 32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266">
                    <a:moveTo>
                      <a:pt x="50" y="32"/>
                    </a:moveTo>
                    <a:cubicBezTo>
                      <a:pt x="39" y="32"/>
                      <a:pt x="29" y="29"/>
                      <a:pt x="20" y="23"/>
                    </a:cubicBezTo>
                    <a:cubicBezTo>
                      <a:pt x="11" y="17"/>
                      <a:pt x="4" y="9"/>
                      <a:pt x="0" y="0"/>
                    </a:cubicBezTo>
                    <a:cubicBezTo>
                      <a:pt x="0" y="215"/>
                      <a:pt x="0" y="215"/>
                      <a:pt x="0" y="215"/>
                    </a:cubicBezTo>
                    <a:cubicBezTo>
                      <a:pt x="0" y="243"/>
                      <a:pt x="20" y="266"/>
                      <a:pt x="43" y="266"/>
                    </a:cubicBezTo>
                    <a:cubicBezTo>
                      <a:pt x="67" y="266"/>
                      <a:pt x="86" y="243"/>
                      <a:pt x="86" y="215"/>
                    </a:cubicBezTo>
                    <a:cubicBezTo>
                      <a:pt x="86" y="139"/>
                      <a:pt x="86" y="139"/>
                      <a:pt x="86" y="139"/>
                    </a:cubicBezTo>
                    <a:cubicBezTo>
                      <a:pt x="67" y="139"/>
                      <a:pt x="67" y="139"/>
                      <a:pt x="67" y="139"/>
                    </a:cubicBezTo>
                    <a:cubicBezTo>
                      <a:pt x="86" y="50"/>
                      <a:pt x="86" y="50"/>
                      <a:pt x="86" y="50"/>
                    </a:cubicBezTo>
                    <a:cubicBezTo>
                      <a:pt x="86" y="13"/>
                      <a:pt x="86" y="13"/>
                      <a:pt x="86" y="13"/>
                    </a:cubicBezTo>
                    <a:cubicBezTo>
                      <a:pt x="79" y="25"/>
                      <a:pt x="65" y="32"/>
                      <a:pt x="50" y="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2400" dirty="0"/>
              </a:p>
            </p:txBody>
          </p:sp>
          <p:sp>
            <p:nvSpPr>
              <p:cNvPr id="87" name="Oval 44"/>
              <p:cNvSpPr>
                <a:spLocks noChangeArrowheads="1"/>
              </p:cNvSpPr>
              <p:nvPr/>
            </p:nvSpPr>
            <p:spPr bwMode="auto">
              <a:xfrm>
                <a:off x="1794668" y="3060699"/>
                <a:ext cx="109537" cy="109537"/>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2400" dirty="0"/>
              </a:p>
            </p:txBody>
          </p:sp>
        </p:grpSp>
        <p:sp>
          <p:nvSpPr>
            <p:cNvPr id="77" name="Freeform 6"/>
            <p:cNvSpPr>
              <a:spLocks noEditPoints="1"/>
            </p:cNvSpPr>
            <p:nvPr userDrawn="1"/>
          </p:nvSpPr>
          <p:spPr bwMode="auto">
            <a:xfrm>
              <a:off x="4795076" y="2042524"/>
              <a:ext cx="353226" cy="443453"/>
            </a:xfrm>
            <a:custGeom>
              <a:avLst/>
              <a:gdLst>
                <a:gd name="T0" fmla="*/ 318 w 817"/>
                <a:gd name="T1" fmla="*/ 192 h 1026"/>
                <a:gd name="T2" fmla="*/ 264 w 817"/>
                <a:gd name="T3" fmla="*/ 125 h 1026"/>
                <a:gd name="T4" fmla="*/ 313 w 817"/>
                <a:gd name="T5" fmla="*/ 79 h 1026"/>
                <a:gd name="T6" fmla="*/ 519 w 817"/>
                <a:gd name="T7" fmla="*/ 102 h 1026"/>
                <a:gd name="T8" fmla="*/ 576 w 817"/>
                <a:gd name="T9" fmla="*/ 169 h 1026"/>
                <a:gd name="T10" fmla="*/ 314 w 817"/>
                <a:gd name="T11" fmla="*/ 111 h 1026"/>
                <a:gd name="T12" fmla="*/ 295 w 817"/>
                <a:gd name="T13" fmla="*/ 131 h 1026"/>
                <a:gd name="T14" fmla="*/ 361 w 817"/>
                <a:gd name="T15" fmla="*/ 175 h 1026"/>
                <a:gd name="T16" fmla="*/ 456 w 817"/>
                <a:gd name="T17" fmla="*/ 205 h 1026"/>
                <a:gd name="T18" fmla="*/ 792 w 817"/>
                <a:gd name="T19" fmla="*/ 225 h 1026"/>
                <a:gd name="T20" fmla="*/ 791 w 817"/>
                <a:gd name="T21" fmla="*/ 66 h 1026"/>
                <a:gd name="T22" fmla="*/ 707 w 817"/>
                <a:gd name="T23" fmla="*/ 90 h 1026"/>
                <a:gd name="T24" fmla="*/ 657 w 817"/>
                <a:gd name="T25" fmla="*/ 80 h 1026"/>
                <a:gd name="T26" fmla="*/ 420 w 817"/>
                <a:gd name="T27" fmla="*/ 2 h 1026"/>
                <a:gd name="T28" fmla="*/ 374 w 817"/>
                <a:gd name="T29" fmla="*/ 5 h 1026"/>
                <a:gd name="T30" fmla="*/ 51 w 817"/>
                <a:gd name="T31" fmla="*/ 155 h 1026"/>
                <a:gd name="T32" fmla="*/ 85 w 817"/>
                <a:gd name="T33" fmla="*/ 217 h 1026"/>
                <a:gd name="T34" fmla="*/ 113 w 817"/>
                <a:gd name="T35" fmla="*/ 206 h 1026"/>
                <a:gd name="T36" fmla="*/ 159 w 817"/>
                <a:gd name="T37" fmla="*/ 226 h 1026"/>
                <a:gd name="T38" fmla="*/ 178 w 817"/>
                <a:gd name="T39" fmla="*/ 218 h 1026"/>
                <a:gd name="T40" fmla="*/ 238 w 817"/>
                <a:gd name="T41" fmla="*/ 234 h 1026"/>
                <a:gd name="T42" fmla="*/ 318 w 817"/>
                <a:gd name="T43" fmla="*/ 192 h 1026"/>
                <a:gd name="T44" fmla="*/ 499 w 817"/>
                <a:gd name="T45" fmla="*/ 833 h 1026"/>
                <a:gd name="T46" fmla="*/ 553 w 817"/>
                <a:gd name="T47" fmla="*/ 900 h 1026"/>
                <a:gd name="T48" fmla="*/ 504 w 817"/>
                <a:gd name="T49" fmla="*/ 946 h 1026"/>
                <a:gd name="T50" fmla="*/ 298 w 817"/>
                <a:gd name="T51" fmla="*/ 924 h 1026"/>
                <a:gd name="T52" fmla="*/ 241 w 817"/>
                <a:gd name="T53" fmla="*/ 856 h 1026"/>
                <a:gd name="T54" fmla="*/ 503 w 817"/>
                <a:gd name="T55" fmla="*/ 915 h 1026"/>
                <a:gd name="T56" fmla="*/ 523 w 817"/>
                <a:gd name="T57" fmla="*/ 895 h 1026"/>
                <a:gd name="T58" fmla="*/ 457 w 817"/>
                <a:gd name="T59" fmla="*/ 851 h 1026"/>
                <a:gd name="T60" fmla="*/ 361 w 817"/>
                <a:gd name="T61" fmla="*/ 821 h 1026"/>
                <a:gd name="T62" fmla="*/ 24 w 817"/>
                <a:gd name="T63" fmla="*/ 800 h 1026"/>
                <a:gd name="T64" fmla="*/ 24 w 817"/>
                <a:gd name="T65" fmla="*/ 959 h 1026"/>
                <a:gd name="T66" fmla="*/ 110 w 817"/>
                <a:gd name="T67" fmla="*/ 936 h 1026"/>
                <a:gd name="T68" fmla="*/ 160 w 817"/>
                <a:gd name="T69" fmla="*/ 945 h 1026"/>
                <a:gd name="T70" fmla="*/ 397 w 817"/>
                <a:gd name="T71" fmla="*/ 1023 h 1026"/>
                <a:gd name="T72" fmla="*/ 443 w 817"/>
                <a:gd name="T73" fmla="*/ 1020 h 1026"/>
                <a:gd name="T74" fmla="*/ 767 w 817"/>
                <a:gd name="T75" fmla="*/ 870 h 1026"/>
                <a:gd name="T76" fmla="*/ 732 w 817"/>
                <a:gd name="T77" fmla="*/ 809 h 1026"/>
                <a:gd name="T78" fmla="*/ 704 w 817"/>
                <a:gd name="T79" fmla="*/ 820 h 1026"/>
                <a:gd name="T80" fmla="*/ 658 w 817"/>
                <a:gd name="T81" fmla="*/ 800 h 1026"/>
                <a:gd name="T82" fmla="*/ 639 w 817"/>
                <a:gd name="T83" fmla="*/ 808 h 1026"/>
                <a:gd name="T84" fmla="*/ 579 w 817"/>
                <a:gd name="T85" fmla="*/ 792 h 1026"/>
                <a:gd name="T86" fmla="*/ 499 w 817"/>
                <a:gd name="T87" fmla="*/ 833 h 1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17" h="1026">
                  <a:moveTo>
                    <a:pt x="318" y="192"/>
                  </a:moveTo>
                  <a:cubicBezTo>
                    <a:pt x="287" y="183"/>
                    <a:pt x="257" y="163"/>
                    <a:pt x="264" y="125"/>
                  </a:cubicBezTo>
                  <a:cubicBezTo>
                    <a:pt x="268" y="101"/>
                    <a:pt x="287" y="80"/>
                    <a:pt x="313" y="79"/>
                  </a:cubicBezTo>
                  <a:cubicBezTo>
                    <a:pt x="414" y="77"/>
                    <a:pt x="456" y="72"/>
                    <a:pt x="519" y="102"/>
                  </a:cubicBezTo>
                  <a:cubicBezTo>
                    <a:pt x="548" y="115"/>
                    <a:pt x="564" y="141"/>
                    <a:pt x="576" y="169"/>
                  </a:cubicBezTo>
                  <a:cubicBezTo>
                    <a:pt x="465" y="100"/>
                    <a:pt x="441" y="108"/>
                    <a:pt x="314" y="111"/>
                  </a:cubicBezTo>
                  <a:cubicBezTo>
                    <a:pt x="305" y="111"/>
                    <a:pt x="295" y="118"/>
                    <a:pt x="295" y="131"/>
                  </a:cubicBezTo>
                  <a:cubicBezTo>
                    <a:pt x="294" y="161"/>
                    <a:pt x="318" y="167"/>
                    <a:pt x="361" y="175"/>
                  </a:cubicBezTo>
                  <a:cubicBezTo>
                    <a:pt x="397" y="181"/>
                    <a:pt x="429" y="180"/>
                    <a:pt x="456" y="205"/>
                  </a:cubicBezTo>
                  <a:cubicBezTo>
                    <a:pt x="564" y="302"/>
                    <a:pt x="657" y="305"/>
                    <a:pt x="792" y="225"/>
                  </a:cubicBezTo>
                  <a:cubicBezTo>
                    <a:pt x="791" y="66"/>
                    <a:pt x="791" y="66"/>
                    <a:pt x="791" y="66"/>
                  </a:cubicBezTo>
                  <a:cubicBezTo>
                    <a:pt x="767" y="72"/>
                    <a:pt x="732" y="83"/>
                    <a:pt x="707" y="90"/>
                  </a:cubicBezTo>
                  <a:cubicBezTo>
                    <a:pt x="689" y="94"/>
                    <a:pt x="673" y="89"/>
                    <a:pt x="657" y="80"/>
                  </a:cubicBezTo>
                  <a:cubicBezTo>
                    <a:pt x="548" y="22"/>
                    <a:pt x="542" y="23"/>
                    <a:pt x="420" y="2"/>
                  </a:cubicBezTo>
                  <a:cubicBezTo>
                    <a:pt x="404" y="0"/>
                    <a:pt x="389" y="0"/>
                    <a:pt x="374" y="5"/>
                  </a:cubicBezTo>
                  <a:cubicBezTo>
                    <a:pt x="219" y="53"/>
                    <a:pt x="206" y="58"/>
                    <a:pt x="51" y="155"/>
                  </a:cubicBezTo>
                  <a:cubicBezTo>
                    <a:pt x="0" y="187"/>
                    <a:pt x="31" y="239"/>
                    <a:pt x="85" y="217"/>
                  </a:cubicBezTo>
                  <a:cubicBezTo>
                    <a:pt x="94" y="213"/>
                    <a:pt x="104" y="209"/>
                    <a:pt x="113" y="206"/>
                  </a:cubicBezTo>
                  <a:cubicBezTo>
                    <a:pt x="108" y="223"/>
                    <a:pt x="134" y="235"/>
                    <a:pt x="159" y="226"/>
                  </a:cubicBezTo>
                  <a:cubicBezTo>
                    <a:pt x="165" y="224"/>
                    <a:pt x="171" y="221"/>
                    <a:pt x="178" y="218"/>
                  </a:cubicBezTo>
                  <a:cubicBezTo>
                    <a:pt x="176" y="237"/>
                    <a:pt x="202" y="249"/>
                    <a:pt x="238" y="234"/>
                  </a:cubicBezTo>
                  <a:cubicBezTo>
                    <a:pt x="247" y="230"/>
                    <a:pt x="300" y="201"/>
                    <a:pt x="318" y="192"/>
                  </a:cubicBezTo>
                  <a:close/>
                  <a:moveTo>
                    <a:pt x="499" y="833"/>
                  </a:moveTo>
                  <a:cubicBezTo>
                    <a:pt x="530" y="842"/>
                    <a:pt x="560" y="863"/>
                    <a:pt x="553" y="900"/>
                  </a:cubicBezTo>
                  <a:cubicBezTo>
                    <a:pt x="549" y="925"/>
                    <a:pt x="530" y="945"/>
                    <a:pt x="504" y="946"/>
                  </a:cubicBezTo>
                  <a:cubicBezTo>
                    <a:pt x="403" y="949"/>
                    <a:pt x="362" y="953"/>
                    <a:pt x="298" y="924"/>
                  </a:cubicBezTo>
                  <a:cubicBezTo>
                    <a:pt x="270" y="911"/>
                    <a:pt x="253" y="884"/>
                    <a:pt x="241" y="856"/>
                  </a:cubicBezTo>
                  <a:cubicBezTo>
                    <a:pt x="352" y="926"/>
                    <a:pt x="376" y="918"/>
                    <a:pt x="503" y="915"/>
                  </a:cubicBezTo>
                  <a:cubicBezTo>
                    <a:pt x="512" y="915"/>
                    <a:pt x="522" y="908"/>
                    <a:pt x="523" y="895"/>
                  </a:cubicBezTo>
                  <a:cubicBezTo>
                    <a:pt x="523" y="864"/>
                    <a:pt x="500" y="859"/>
                    <a:pt x="457" y="851"/>
                  </a:cubicBezTo>
                  <a:cubicBezTo>
                    <a:pt x="420" y="844"/>
                    <a:pt x="389" y="845"/>
                    <a:pt x="361" y="821"/>
                  </a:cubicBezTo>
                  <a:cubicBezTo>
                    <a:pt x="254" y="724"/>
                    <a:pt x="158" y="720"/>
                    <a:pt x="24" y="800"/>
                  </a:cubicBezTo>
                  <a:cubicBezTo>
                    <a:pt x="24" y="959"/>
                    <a:pt x="24" y="959"/>
                    <a:pt x="24" y="959"/>
                  </a:cubicBezTo>
                  <a:cubicBezTo>
                    <a:pt x="49" y="953"/>
                    <a:pt x="85" y="942"/>
                    <a:pt x="110" y="936"/>
                  </a:cubicBezTo>
                  <a:cubicBezTo>
                    <a:pt x="128" y="931"/>
                    <a:pt x="144" y="936"/>
                    <a:pt x="160" y="945"/>
                  </a:cubicBezTo>
                  <a:cubicBezTo>
                    <a:pt x="269" y="1003"/>
                    <a:pt x="275" y="1002"/>
                    <a:pt x="397" y="1023"/>
                  </a:cubicBezTo>
                  <a:cubicBezTo>
                    <a:pt x="414" y="1026"/>
                    <a:pt x="428" y="1025"/>
                    <a:pt x="443" y="1020"/>
                  </a:cubicBezTo>
                  <a:cubicBezTo>
                    <a:pt x="598" y="973"/>
                    <a:pt x="611" y="968"/>
                    <a:pt x="767" y="870"/>
                  </a:cubicBezTo>
                  <a:cubicBezTo>
                    <a:pt x="817" y="838"/>
                    <a:pt x="786" y="786"/>
                    <a:pt x="732" y="809"/>
                  </a:cubicBezTo>
                  <a:cubicBezTo>
                    <a:pt x="723" y="812"/>
                    <a:pt x="713" y="816"/>
                    <a:pt x="704" y="820"/>
                  </a:cubicBezTo>
                  <a:cubicBezTo>
                    <a:pt x="709" y="802"/>
                    <a:pt x="683" y="790"/>
                    <a:pt x="658" y="800"/>
                  </a:cubicBezTo>
                  <a:cubicBezTo>
                    <a:pt x="652" y="802"/>
                    <a:pt x="646" y="804"/>
                    <a:pt x="639" y="808"/>
                  </a:cubicBezTo>
                  <a:cubicBezTo>
                    <a:pt x="641" y="789"/>
                    <a:pt x="616" y="777"/>
                    <a:pt x="579" y="792"/>
                  </a:cubicBezTo>
                  <a:cubicBezTo>
                    <a:pt x="571" y="795"/>
                    <a:pt x="517" y="825"/>
                    <a:pt x="499" y="833"/>
                  </a:cubicBezTo>
                  <a:close/>
                </a:path>
              </a:pathLst>
            </a:custGeom>
            <a:solidFill>
              <a:schemeClr val="bg1"/>
            </a:solidFill>
            <a:ln w="285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2400" dirty="0"/>
            </a:p>
          </p:txBody>
        </p:sp>
        <p:sp>
          <p:nvSpPr>
            <p:cNvPr id="88" name="Freeform 6"/>
            <p:cNvSpPr>
              <a:spLocks noEditPoints="1"/>
            </p:cNvSpPr>
            <p:nvPr userDrawn="1"/>
          </p:nvSpPr>
          <p:spPr bwMode="auto">
            <a:xfrm>
              <a:off x="4795076" y="2042524"/>
              <a:ext cx="353226" cy="443453"/>
            </a:xfrm>
            <a:custGeom>
              <a:avLst/>
              <a:gdLst>
                <a:gd name="T0" fmla="*/ 318 w 817"/>
                <a:gd name="T1" fmla="*/ 192 h 1026"/>
                <a:gd name="T2" fmla="*/ 264 w 817"/>
                <a:gd name="T3" fmla="*/ 125 h 1026"/>
                <a:gd name="T4" fmla="*/ 313 w 817"/>
                <a:gd name="T5" fmla="*/ 79 h 1026"/>
                <a:gd name="T6" fmla="*/ 519 w 817"/>
                <a:gd name="T7" fmla="*/ 102 h 1026"/>
                <a:gd name="T8" fmla="*/ 576 w 817"/>
                <a:gd name="T9" fmla="*/ 169 h 1026"/>
                <a:gd name="T10" fmla="*/ 314 w 817"/>
                <a:gd name="T11" fmla="*/ 111 h 1026"/>
                <a:gd name="T12" fmla="*/ 295 w 817"/>
                <a:gd name="T13" fmla="*/ 131 h 1026"/>
                <a:gd name="T14" fmla="*/ 361 w 817"/>
                <a:gd name="T15" fmla="*/ 175 h 1026"/>
                <a:gd name="T16" fmla="*/ 456 w 817"/>
                <a:gd name="T17" fmla="*/ 205 h 1026"/>
                <a:gd name="T18" fmla="*/ 792 w 817"/>
                <a:gd name="T19" fmla="*/ 225 h 1026"/>
                <a:gd name="T20" fmla="*/ 791 w 817"/>
                <a:gd name="T21" fmla="*/ 66 h 1026"/>
                <a:gd name="T22" fmla="*/ 707 w 817"/>
                <a:gd name="T23" fmla="*/ 90 h 1026"/>
                <a:gd name="T24" fmla="*/ 657 w 817"/>
                <a:gd name="T25" fmla="*/ 80 h 1026"/>
                <a:gd name="T26" fmla="*/ 420 w 817"/>
                <a:gd name="T27" fmla="*/ 2 h 1026"/>
                <a:gd name="T28" fmla="*/ 374 w 817"/>
                <a:gd name="T29" fmla="*/ 5 h 1026"/>
                <a:gd name="T30" fmla="*/ 51 w 817"/>
                <a:gd name="T31" fmla="*/ 155 h 1026"/>
                <a:gd name="T32" fmla="*/ 85 w 817"/>
                <a:gd name="T33" fmla="*/ 217 h 1026"/>
                <a:gd name="T34" fmla="*/ 113 w 817"/>
                <a:gd name="T35" fmla="*/ 206 h 1026"/>
                <a:gd name="T36" fmla="*/ 159 w 817"/>
                <a:gd name="T37" fmla="*/ 226 h 1026"/>
                <a:gd name="T38" fmla="*/ 178 w 817"/>
                <a:gd name="T39" fmla="*/ 218 h 1026"/>
                <a:gd name="T40" fmla="*/ 238 w 817"/>
                <a:gd name="T41" fmla="*/ 234 h 1026"/>
                <a:gd name="T42" fmla="*/ 318 w 817"/>
                <a:gd name="T43" fmla="*/ 192 h 1026"/>
                <a:gd name="T44" fmla="*/ 499 w 817"/>
                <a:gd name="T45" fmla="*/ 833 h 1026"/>
                <a:gd name="T46" fmla="*/ 553 w 817"/>
                <a:gd name="T47" fmla="*/ 900 h 1026"/>
                <a:gd name="T48" fmla="*/ 504 w 817"/>
                <a:gd name="T49" fmla="*/ 946 h 1026"/>
                <a:gd name="T50" fmla="*/ 298 w 817"/>
                <a:gd name="T51" fmla="*/ 924 h 1026"/>
                <a:gd name="T52" fmla="*/ 241 w 817"/>
                <a:gd name="T53" fmla="*/ 856 h 1026"/>
                <a:gd name="T54" fmla="*/ 503 w 817"/>
                <a:gd name="T55" fmla="*/ 915 h 1026"/>
                <a:gd name="T56" fmla="*/ 523 w 817"/>
                <a:gd name="T57" fmla="*/ 895 h 1026"/>
                <a:gd name="T58" fmla="*/ 457 w 817"/>
                <a:gd name="T59" fmla="*/ 851 h 1026"/>
                <a:gd name="T60" fmla="*/ 361 w 817"/>
                <a:gd name="T61" fmla="*/ 821 h 1026"/>
                <a:gd name="T62" fmla="*/ 24 w 817"/>
                <a:gd name="T63" fmla="*/ 800 h 1026"/>
                <a:gd name="T64" fmla="*/ 24 w 817"/>
                <a:gd name="T65" fmla="*/ 959 h 1026"/>
                <a:gd name="T66" fmla="*/ 110 w 817"/>
                <a:gd name="T67" fmla="*/ 936 h 1026"/>
                <a:gd name="T68" fmla="*/ 160 w 817"/>
                <a:gd name="T69" fmla="*/ 945 h 1026"/>
                <a:gd name="T70" fmla="*/ 397 w 817"/>
                <a:gd name="T71" fmla="*/ 1023 h 1026"/>
                <a:gd name="T72" fmla="*/ 443 w 817"/>
                <a:gd name="T73" fmla="*/ 1020 h 1026"/>
                <a:gd name="T74" fmla="*/ 767 w 817"/>
                <a:gd name="T75" fmla="*/ 870 h 1026"/>
                <a:gd name="T76" fmla="*/ 732 w 817"/>
                <a:gd name="T77" fmla="*/ 809 h 1026"/>
                <a:gd name="T78" fmla="*/ 704 w 817"/>
                <a:gd name="T79" fmla="*/ 820 h 1026"/>
                <a:gd name="T80" fmla="*/ 658 w 817"/>
                <a:gd name="T81" fmla="*/ 800 h 1026"/>
                <a:gd name="T82" fmla="*/ 639 w 817"/>
                <a:gd name="T83" fmla="*/ 808 h 1026"/>
                <a:gd name="T84" fmla="*/ 579 w 817"/>
                <a:gd name="T85" fmla="*/ 792 h 1026"/>
                <a:gd name="T86" fmla="*/ 499 w 817"/>
                <a:gd name="T87" fmla="*/ 833 h 1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17" h="1026">
                  <a:moveTo>
                    <a:pt x="318" y="192"/>
                  </a:moveTo>
                  <a:cubicBezTo>
                    <a:pt x="287" y="183"/>
                    <a:pt x="257" y="163"/>
                    <a:pt x="264" y="125"/>
                  </a:cubicBezTo>
                  <a:cubicBezTo>
                    <a:pt x="268" y="101"/>
                    <a:pt x="287" y="80"/>
                    <a:pt x="313" y="79"/>
                  </a:cubicBezTo>
                  <a:cubicBezTo>
                    <a:pt x="414" y="77"/>
                    <a:pt x="456" y="72"/>
                    <a:pt x="519" y="102"/>
                  </a:cubicBezTo>
                  <a:cubicBezTo>
                    <a:pt x="548" y="115"/>
                    <a:pt x="564" y="141"/>
                    <a:pt x="576" y="169"/>
                  </a:cubicBezTo>
                  <a:cubicBezTo>
                    <a:pt x="465" y="100"/>
                    <a:pt x="441" y="108"/>
                    <a:pt x="314" y="111"/>
                  </a:cubicBezTo>
                  <a:cubicBezTo>
                    <a:pt x="305" y="111"/>
                    <a:pt x="295" y="118"/>
                    <a:pt x="295" y="131"/>
                  </a:cubicBezTo>
                  <a:cubicBezTo>
                    <a:pt x="294" y="161"/>
                    <a:pt x="318" y="167"/>
                    <a:pt x="361" y="175"/>
                  </a:cubicBezTo>
                  <a:cubicBezTo>
                    <a:pt x="397" y="181"/>
                    <a:pt x="429" y="180"/>
                    <a:pt x="456" y="205"/>
                  </a:cubicBezTo>
                  <a:cubicBezTo>
                    <a:pt x="564" y="302"/>
                    <a:pt x="657" y="305"/>
                    <a:pt x="792" y="225"/>
                  </a:cubicBezTo>
                  <a:cubicBezTo>
                    <a:pt x="791" y="66"/>
                    <a:pt x="791" y="66"/>
                    <a:pt x="791" y="66"/>
                  </a:cubicBezTo>
                  <a:cubicBezTo>
                    <a:pt x="767" y="72"/>
                    <a:pt x="732" y="83"/>
                    <a:pt x="707" y="90"/>
                  </a:cubicBezTo>
                  <a:cubicBezTo>
                    <a:pt x="689" y="94"/>
                    <a:pt x="673" y="89"/>
                    <a:pt x="657" y="80"/>
                  </a:cubicBezTo>
                  <a:cubicBezTo>
                    <a:pt x="548" y="22"/>
                    <a:pt x="542" y="23"/>
                    <a:pt x="420" y="2"/>
                  </a:cubicBezTo>
                  <a:cubicBezTo>
                    <a:pt x="404" y="0"/>
                    <a:pt x="389" y="0"/>
                    <a:pt x="374" y="5"/>
                  </a:cubicBezTo>
                  <a:cubicBezTo>
                    <a:pt x="219" y="53"/>
                    <a:pt x="206" y="58"/>
                    <a:pt x="51" y="155"/>
                  </a:cubicBezTo>
                  <a:cubicBezTo>
                    <a:pt x="0" y="187"/>
                    <a:pt x="31" y="239"/>
                    <a:pt x="85" y="217"/>
                  </a:cubicBezTo>
                  <a:cubicBezTo>
                    <a:pt x="94" y="213"/>
                    <a:pt x="104" y="209"/>
                    <a:pt x="113" y="206"/>
                  </a:cubicBezTo>
                  <a:cubicBezTo>
                    <a:pt x="108" y="223"/>
                    <a:pt x="134" y="235"/>
                    <a:pt x="159" y="226"/>
                  </a:cubicBezTo>
                  <a:cubicBezTo>
                    <a:pt x="165" y="224"/>
                    <a:pt x="171" y="221"/>
                    <a:pt x="178" y="218"/>
                  </a:cubicBezTo>
                  <a:cubicBezTo>
                    <a:pt x="176" y="237"/>
                    <a:pt x="202" y="249"/>
                    <a:pt x="238" y="234"/>
                  </a:cubicBezTo>
                  <a:cubicBezTo>
                    <a:pt x="247" y="230"/>
                    <a:pt x="300" y="201"/>
                    <a:pt x="318" y="192"/>
                  </a:cubicBezTo>
                  <a:close/>
                  <a:moveTo>
                    <a:pt x="499" y="833"/>
                  </a:moveTo>
                  <a:cubicBezTo>
                    <a:pt x="530" y="842"/>
                    <a:pt x="560" y="863"/>
                    <a:pt x="553" y="900"/>
                  </a:cubicBezTo>
                  <a:cubicBezTo>
                    <a:pt x="549" y="925"/>
                    <a:pt x="530" y="945"/>
                    <a:pt x="504" y="946"/>
                  </a:cubicBezTo>
                  <a:cubicBezTo>
                    <a:pt x="403" y="949"/>
                    <a:pt x="362" y="953"/>
                    <a:pt x="298" y="924"/>
                  </a:cubicBezTo>
                  <a:cubicBezTo>
                    <a:pt x="270" y="911"/>
                    <a:pt x="253" y="884"/>
                    <a:pt x="241" y="856"/>
                  </a:cubicBezTo>
                  <a:cubicBezTo>
                    <a:pt x="352" y="926"/>
                    <a:pt x="376" y="918"/>
                    <a:pt x="503" y="915"/>
                  </a:cubicBezTo>
                  <a:cubicBezTo>
                    <a:pt x="512" y="915"/>
                    <a:pt x="522" y="908"/>
                    <a:pt x="523" y="895"/>
                  </a:cubicBezTo>
                  <a:cubicBezTo>
                    <a:pt x="523" y="864"/>
                    <a:pt x="500" y="859"/>
                    <a:pt x="457" y="851"/>
                  </a:cubicBezTo>
                  <a:cubicBezTo>
                    <a:pt x="420" y="844"/>
                    <a:pt x="389" y="845"/>
                    <a:pt x="361" y="821"/>
                  </a:cubicBezTo>
                  <a:cubicBezTo>
                    <a:pt x="254" y="724"/>
                    <a:pt x="158" y="720"/>
                    <a:pt x="24" y="800"/>
                  </a:cubicBezTo>
                  <a:cubicBezTo>
                    <a:pt x="24" y="959"/>
                    <a:pt x="24" y="959"/>
                    <a:pt x="24" y="959"/>
                  </a:cubicBezTo>
                  <a:cubicBezTo>
                    <a:pt x="49" y="953"/>
                    <a:pt x="85" y="942"/>
                    <a:pt x="110" y="936"/>
                  </a:cubicBezTo>
                  <a:cubicBezTo>
                    <a:pt x="128" y="931"/>
                    <a:pt x="144" y="936"/>
                    <a:pt x="160" y="945"/>
                  </a:cubicBezTo>
                  <a:cubicBezTo>
                    <a:pt x="269" y="1003"/>
                    <a:pt x="275" y="1002"/>
                    <a:pt x="397" y="1023"/>
                  </a:cubicBezTo>
                  <a:cubicBezTo>
                    <a:pt x="414" y="1026"/>
                    <a:pt x="428" y="1025"/>
                    <a:pt x="443" y="1020"/>
                  </a:cubicBezTo>
                  <a:cubicBezTo>
                    <a:pt x="598" y="973"/>
                    <a:pt x="611" y="968"/>
                    <a:pt x="767" y="870"/>
                  </a:cubicBezTo>
                  <a:cubicBezTo>
                    <a:pt x="817" y="838"/>
                    <a:pt x="786" y="786"/>
                    <a:pt x="732" y="809"/>
                  </a:cubicBezTo>
                  <a:cubicBezTo>
                    <a:pt x="723" y="812"/>
                    <a:pt x="713" y="816"/>
                    <a:pt x="704" y="820"/>
                  </a:cubicBezTo>
                  <a:cubicBezTo>
                    <a:pt x="709" y="802"/>
                    <a:pt x="683" y="790"/>
                    <a:pt x="658" y="800"/>
                  </a:cubicBezTo>
                  <a:cubicBezTo>
                    <a:pt x="652" y="802"/>
                    <a:pt x="646" y="804"/>
                    <a:pt x="639" y="808"/>
                  </a:cubicBezTo>
                  <a:cubicBezTo>
                    <a:pt x="641" y="789"/>
                    <a:pt x="616" y="777"/>
                    <a:pt x="579" y="792"/>
                  </a:cubicBezTo>
                  <a:cubicBezTo>
                    <a:pt x="571" y="795"/>
                    <a:pt x="517" y="825"/>
                    <a:pt x="499" y="8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nvGrpSpPr>
            <p:cNvPr id="111" name="Group 110"/>
            <p:cNvGrpSpPr/>
            <p:nvPr userDrawn="1"/>
          </p:nvGrpSpPr>
          <p:grpSpPr>
            <a:xfrm>
              <a:off x="5434346" y="2092355"/>
              <a:ext cx="2728020" cy="392112"/>
              <a:chOff x="4437292" y="1911988"/>
              <a:chExt cx="2728020" cy="540140"/>
            </a:xfrm>
            <a:solidFill>
              <a:schemeClr val="bg1"/>
            </a:solidFill>
          </p:grpSpPr>
          <p:cxnSp>
            <p:nvCxnSpPr>
              <p:cNvPr id="105" name="Straight Connector 104"/>
              <p:cNvCxnSpPr/>
              <p:nvPr userDrawn="1"/>
            </p:nvCxnSpPr>
            <p:spPr>
              <a:xfrm>
                <a:off x="4437292" y="1911988"/>
                <a:ext cx="0" cy="540140"/>
              </a:xfrm>
              <a:prstGeom prst="line">
                <a:avLst/>
              </a:prstGeom>
              <a:grpFill/>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userDrawn="1"/>
            </p:nvCxnSpPr>
            <p:spPr>
              <a:xfrm>
                <a:off x="5341781" y="1911988"/>
                <a:ext cx="0" cy="540140"/>
              </a:xfrm>
              <a:prstGeom prst="line">
                <a:avLst/>
              </a:prstGeom>
              <a:grpFill/>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userDrawn="1"/>
            </p:nvCxnSpPr>
            <p:spPr>
              <a:xfrm>
                <a:off x="6266541" y="1911988"/>
                <a:ext cx="0" cy="540140"/>
              </a:xfrm>
              <a:prstGeom prst="line">
                <a:avLst/>
              </a:prstGeom>
              <a:grpFill/>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userDrawn="1"/>
            </p:nvCxnSpPr>
            <p:spPr>
              <a:xfrm>
                <a:off x="7165312" y="1911988"/>
                <a:ext cx="0" cy="540140"/>
              </a:xfrm>
              <a:prstGeom prst="line">
                <a:avLst/>
              </a:prstGeom>
              <a:grpFill/>
              <a:ln w="19050">
                <a:solidFill>
                  <a:schemeClr val="accent4"/>
                </a:solidFill>
              </a:ln>
            </p:spPr>
            <p:style>
              <a:lnRef idx="1">
                <a:schemeClr val="accent1"/>
              </a:lnRef>
              <a:fillRef idx="0">
                <a:schemeClr val="accent1"/>
              </a:fillRef>
              <a:effectRef idx="0">
                <a:schemeClr val="accent1"/>
              </a:effectRef>
              <a:fontRef idx="minor">
                <a:schemeClr val="tx1"/>
              </a:fontRef>
            </p:style>
          </p:cxnSp>
        </p:grpSp>
      </p:grpSp>
      <p:sp>
        <p:nvSpPr>
          <p:cNvPr id="61" name="Text Placeholder 6"/>
          <p:cNvSpPr>
            <a:spLocks noGrp="1"/>
          </p:cNvSpPr>
          <p:nvPr userDrawn="1">
            <p:ph type="body" sz="quarter" idx="12" hasCustomPrompt="1"/>
          </p:nvPr>
        </p:nvSpPr>
        <p:spPr>
          <a:xfrm>
            <a:off x="1125416" y="5776648"/>
            <a:ext cx="10445704" cy="332117"/>
          </a:xfrm>
          <a:prstGeom prst="rect">
            <a:avLst/>
          </a:prstGeom>
        </p:spPr>
        <p:txBody>
          <a:bodyPr lIns="0" tIns="0" rIns="0" bIns="0" anchor="ctr" anchorCtr="0">
            <a:noAutofit/>
          </a:bodyPr>
          <a:lstStyle>
            <a:lvl1pPr marL="0" indent="0">
              <a:buNone/>
              <a:defRPr sz="1600">
                <a:solidFill>
                  <a:schemeClr val="tx2"/>
                </a:solidFill>
              </a:defRPr>
            </a:lvl1pPr>
            <a:lvl5pPr marL="2438339" indent="0">
              <a:buNone/>
              <a:defRPr/>
            </a:lvl5pPr>
          </a:lstStyle>
          <a:p>
            <a:pPr lvl="0"/>
            <a:r>
              <a:rPr lang="en-US" dirty="0"/>
              <a:t>Date</a:t>
            </a:r>
          </a:p>
        </p:txBody>
      </p:sp>
      <p:sp>
        <p:nvSpPr>
          <p:cNvPr id="7" name="Text Placeholder 6"/>
          <p:cNvSpPr>
            <a:spLocks noGrp="1"/>
          </p:cNvSpPr>
          <p:nvPr>
            <p:ph type="body" sz="quarter" idx="13" hasCustomPrompt="1"/>
          </p:nvPr>
        </p:nvSpPr>
        <p:spPr>
          <a:xfrm>
            <a:off x="1138815" y="6584148"/>
            <a:ext cx="10445704" cy="119337"/>
          </a:xfrm>
        </p:spPr>
        <p:txBody>
          <a:bodyPr rIns="0"/>
          <a:lstStyle>
            <a:lvl1pPr marL="0" indent="0">
              <a:buNone/>
              <a:defRPr lang="en-US" sz="1067" kern="1200" dirty="0">
                <a:solidFill>
                  <a:srgbClr val="000000"/>
                </a:solidFill>
              </a:defRPr>
            </a:lvl1pPr>
          </a:lstStyle>
          <a:p>
            <a:pPr algn="r"/>
            <a:r>
              <a:rPr lang="en-US" sz="933" kern="1200" dirty="0">
                <a:solidFill>
                  <a:srgbClr val="000000"/>
                </a:solidFill>
                <a:latin typeface="+mn-lt"/>
                <a:ea typeface="+mn-ea"/>
                <a:cs typeface="+mn-cs"/>
              </a:rPr>
              <a:t>For Financial Professional Use Only. Not For Use With Consumers.</a:t>
            </a:r>
          </a:p>
        </p:txBody>
      </p:sp>
    </p:spTree>
    <p:extLst>
      <p:ext uri="{BB962C8B-B14F-4D97-AF65-F5344CB8AC3E}">
        <p14:creationId xmlns:p14="http://schemas.microsoft.com/office/powerpoint/2010/main" val="36206918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BC4F0E7-7A71-CD4B-892C-E037C95A85FF}"/>
              </a:ext>
            </a:extLst>
          </p:cNvPr>
          <p:cNvGraphicFramePr>
            <a:graphicFrameLocks noChangeAspect="1"/>
          </p:cNvGraphicFramePr>
          <p:nvPr>
            <p:custDataLst>
              <p:tags r:id="rId2"/>
            </p:custDataLst>
            <p:extLst>
              <p:ext uri="{D42A27DB-BD31-4B8C-83A1-F6EECF244321}">
                <p14:modId xmlns:p14="http://schemas.microsoft.com/office/powerpoint/2010/main" val="23318396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5625"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BBC4F0E7-7A71-CD4B-892C-E037C95A85F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685800" y="419100"/>
            <a:ext cx="10820400" cy="960438"/>
          </a:xfrm>
        </p:spPr>
        <p:txBody>
          <a:bodyPr vert="horz"/>
          <a:lstStyle/>
          <a:p>
            <a:r>
              <a:rPr lang="en-US"/>
              <a:t>Click to edit Master title style</a:t>
            </a:r>
          </a:p>
        </p:txBody>
      </p:sp>
      <p:sp>
        <p:nvSpPr>
          <p:cNvPr id="3" name="Content Placeholder 2"/>
          <p:cNvSpPr>
            <a:spLocks noGrp="1"/>
          </p:cNvSpPr>
          <p:nvPr>
            <p:ph sz="half" idx="1"/>
          </p:nvPr>
        </p:nvSpPr>
        <p:spPr>
          <a:xfrm>
            <a:off x="685800" y="1545336"/>
            <a:ext cx="2441575" cy="412394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476625" y="1545336"/>
            <a:ext cx="2441575" cy="412394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a:extLst>
              <a:ext uri="{FF2B5EF4-FFF2-40B4-BE49-F238E27FC236}">
                <a16:creationId xmlns:a16="http://schemas.microsoft.com/office/drawing/2014/main" id="{BE1CFF2A-43F1-D94B-93AF-F563A6206EC4}"/>
              </a:ext>
            </a:extLst>
          </p:cNvPr>
          <p:cNvSpPr>
            <a:spLocks noGrp="1"/>
          </p:cNvSpPr>
          <p:nvPr>
            <p:ph type="body" sz="quarter" idx="10" hasCustomPrompt="1"/>
          </p:nvPr>
        </p:nvSpPr>
        <p:spPr>
          <a:xfrm>
            <a:off x="685800" y="5830756"/>
            <a:ext cx="10820400" cy="344619"/>
          </a:xfrm>
        </p:spPr>
        <p:txBody>
          <a:bodyPr anchor="b"/>
          <a:lstStyle>
            <a:lvl1pPr>
              <a:defRPr sz="800"/>
            </a:lvl1pPr>
            <a:lvl2pPr marL="0" indent="0">
              <a:buNone/>
              <a:defRPr/>
            </a:lvl2pPr>
          </a:lstStyle>
          <a:p>
            <a:pPr lvl="0"/>
            <a:r>
              <a:rPr lang="en-US"/>
              <a:t>Click to add footnote</a:t>
            </a:r>
          </a:p>
        </p:txBody>
      </p:sp>
      <p:sp>
        <p:nvSpPr>
          <p:cNvPr id="11" name="Content Placeholder 3">
            <a:extLst>
              <a:ext uri="{FF2B5EF4-FFF2-40B4-BE49-F238E27FC236}">
                <a16:creationId xmlns:a16="http://schemas.microsoft.com/office/drawing/2014/main" id="{5D0F65DE-7BEC-F24C-B544-263760C6321F}"/>
              </a:ext>
            </a:extLst>
          </p:cNvPr>
          <p:cNvSpPr>
            <a:spLocks noGrp="1"/>
          </p:cNvSpPr>
          <p:nvPr>
            <p:ph sz="half" idx="11"/>
          </p:nvPr>
        </p:nvSpPr>
        <p:spPr>
          <a:xfrm>
            <a:off x="6273802" y="1545336"/>
            <a:ext cx="2441575" cy="412394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EC8167C8-4843-0343-8726-95415F9FBF94}"/>
              </a:ext>
            </a:extLst>
          </p:cNvPr>
          <p:cNvSpPr>
            <a:spLocks noGrp="1"/>
          </p:cNvSpPr>
          <p:nvPr>
            <p:ph sz="half" idx="12"/>
          </p:nvPr>
        </p:nvSpPr>
        <p:spPr>
          <a:xfrm>
            <a:off x="9061450" y="1545336"/>
            <a:ext cx="2444750" cy="412394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189581"/>
      </p:ext>
    </p:extLst>
  </p:cSld>
  <p:clrMapOvr>
    <a:masterClrMapping/>
  </p:clrMapOvr>
  <p:extLst>
    <p:ext uri="{DCECCB84-F9BA-43D5-87BE-67443E8EF086}">
      <p15:sldGuideLst xmlns:p15="http://schemas.microsoft.com/office/powerpoint/2012/main">
        <p15:guide id="1" pos="1970">
          <p15:clr>
            <a:srgbClr val="FBAE40"/>
          </p15:clr>
        </p15:guide>
        <p15:guide id="2" pos="2190">
          <p15:clr>
            <a:srgbClr val="FBAE40"/>
          </p15:clr>
        </p15:guide>
        <p15:guide id="3" pos="3948">
          <p15:clr>
            <a:srgbClr val="FBAE40"/>
          </p15:clr>
        </p15:guide>
        <p15:guide id="4" pos="5486">
          <p15:clr>
            <a:srgbClr val="FBAE40"/>
          </p15:clr>
        </p15:guide>
        <p15:guide id="5" pos="3728">
          <p15:clr>
            <a:srgbClr val="FBAE40"/>
          </p15:clr>
        </p15:guide>
        <p15:guide id="6" pos="5708">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AGENDA layout">
    <p:spTree>
      <p:nvGrpSpPr>
        <p:cNvPr id="1" name=""/>
        <p:cNvGrpSpPr/>
        <p:nvPr/>
      </p:nvGrpSpPr>
      <p:grpSpPr>
        <a:xfrm>
          <a:off x="0" y="0"/>
          <a:ext cx="0" cy="0"/>
          <a:chOff x="0" y="0"/>
          <a:chExt cx="0" cy="0"/>
        </a:xfrm>
      </p:grpSpPr>
      <p:sp>
        <p:nvSpPr>
          <p:cNvPr id="6" name="Text Placeholder 5"/>
          <p:cNvSpPr>
            <a:spLocks noGrp="1"/>
          </p:cNvSpPr>
          <p:nvPr>
            <p:ph type="body" sz="quarter" idx="14" hasCustomPrompt="1"/>
          </p:nvPr>
        </p:nvSpPr>
        <p:spPr>
          <a:xfrm>
            <a:off x="3138793" y="6560363"/>
            <a:ext cx="5927388" cy="214955"/>
          </a:xfrm>
        </p:spPr>
        <p:txBody>
          <a:bodyPr/>
          <a:lstStyle>
            <a:lvl1pPr marL="0" indent="0" algn="ctr">
              <a:buNone/>
              <a:defRPr sz="933" baseline="0"/>
            </a:lvl1pPr>
          </a:lstStyle>
          <a:p>
            <a:pPr lvl="0"/>
            <a:r>
              <a:rPr lang="en-US" dirty="0"/>
              <a:t>For internal use only.</a:t>
            </a:r>
          </a:p>
        </p:txBody>
      </p:sp>
      <p:sp>
        <p:nvSpPr>
          <p:cNvPr id="2" name="Title 1"/>
          <p:cNvSpPr>
            <a:spLocks noGrp="1"/>
          </p:cNvSpPr>
          <p:nvPr>
            <p:ph type="title" hasCustomPrompt="1"/>
          </p:nvPr>
        </p:nvSpPr>
        <p:spPr/>
        <p:txBody>
          <a:bodyPr/>
          <a:lstStyle>
            <a:lvl1pPr>
              <a:defRPr/>
            </a:lvl1pPr>
          </a:lstStyle>
          <a:p>
            <a:r>
              <a:rPr lang="en-US" dirty="0"/>
              <a:t>Agenda</a:t>
            </a:r>
          </a:p>
        </p:txBody>
      </p:sp>
      <p:sp>
        <p:nvSpPr>
          <p:cNvPr id="5" name="Table Placeholder 4"/>
          <p:cNvSpPr>
            <a:spLocks noGrp="1"/>
          </p:cNvSpPr>
          <p:nvPr>
            <p:ph type="tbl" sz="quarter" idx="10" hasCustomPrompt="1"/>
          </p:nvPr>
        </p:nvSpPr>
        <p:spPr>
          <a:xfrm>
            <a:off x="3055008" y="1530350"/>
            <a:ext cx="9136993" cy="4660901"/>
          </a:xfrm>
        </p:spPr>
        <p:txBody>
          <a:bodyPr/>
          <a:lstStyle>
            <a:lvl1pPr marL="0" indent="0">
              <a:buNone/>
              <a:defRPr/>
            </a:lvl1pPr>
          </a:lstStyle>
          <a:p>
            <a:r>
              <a:rPr lang="en-US" dirty="0"/>
              <a:t>Agenda Table</a:t>
            </a:r>
          </a:p>
        </p:txBody>
      </p:sp>
      <p:sp>
        <p:nvSpPr>
          <p:cNvPr id="7" name="TextBox 6"/>
          <p:cNvSpPr txBox="1"/>
          <p:nvPr userDrawn="1"/>
        </p:nvSpPr>
        <p:spPr>
          <a:xfrm>
            <a:off x="12650699" y="1455472"/>
            <a:ext cx="2977117" cy="769634"/>
          </a:xfrm>
          <a:prstGeom prst="rect">
            <a:avLst/>
          </a:prstGeom>
          <a:noFill/>
        </p:spPr>
        <p:txBody>
          <a:bodyPr wrap="square" rtlCol="0">
            <a:spAutoFit/>
          </a:bodyPr>
          <a:lstStyle/>
          <a:p>
            <a:r>
              <a:rPr lang="en-US" sz="1467" dirty="0">
                <a:solidFill>
                  <a:schemeClr val="tx1"/>
                </a:solidFill>
              </a:rPr>
              <a:t>To add more items to the agenda, click in last row and press tab on your keyboard.</a:t>
            </a:r>
          </a:p>
        </p:txBody>
      </p:sp>
      <p:sp>
        <p:nvSpPr>
          <p:cNvPr id="9" name="TextBox 8"/>
          <p:cNvSpPr txBox="1"/>
          <p:nvPr userDrawn="1"/>
        </p:nvSpPr>
        <p:spPr>
          <a:xfrm>
            <a:off x="12650699" y="2988928"/>
            <a:ext cx="2977117" cy="1898468"/>
          </a:xfrm>
          <a:prstGeom prst="rect">
            <a:avLst/>
          </a:prstGeom>
          <a:noFill/>
        </p:spPr>
        <p:txBody>
          <a:bodyPr wrap="square" rtlCol="0">
            <a:spAutoFit/>
          </a:bodyPr>
          <a:lstStyle/>
          <a:p>
            <a:r>
              <a:rPr lang="en-US" sz="1467" dirty="0">
                <a:solidFill>
                  <a:schemeClr val="tx1"/>
                </a:solidFill>
              </a:rPr>
              <a:t>Use</a:t>
            </a:r>
            <a:r>
              <a:rPr lang="en-US" sz="1467" baseline="0" dirty="0">
                <a:solidFill>
                  <a:schemeClr val="tx1"/>
                </a:solidFill>
              </a:rPr>
              <a:t> the Agenda as section dividers throughout your presentation Turn the Agenda items gray except for the section you are on—leave it black. This is both practical and helpful to the audience to guide them through the presentation.</a:t>
            </a:r>
            <a:endParaRPr lang="en-US" sz="1467" dirty="0">
              <a:solidFill>
                <a:schemeClr val="tx1"/>
              </a:solidFill>
            </a:endParaRPr>
          </a:p>
        </p:txBody>
      </p:sp>
      <p:cxnSp>
        <p:nvCxnSpPr>
          <p:cNvPr id="10" name="Straight Connector 9"/>
          <p:cNvCxnSpPr/>
          <p:nvPr userDrawn="1"/>
        </p:nvCxnSpPr>
        <p:spPr>
          <a:xfrm>
            <a:off x="12511603" y="2622308"/>
            <a:ext cx="29823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430990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lvl1pPr>
              <a:defRPr sz="3200" baseline="0"/>
            </a:lvl1pPr>
          </a:lstStyle>
          <a:p>
            <a:r>
              <a:rPr lang="en-US" dirty="0"/>
              <a:t>Custom layout option</a:t>
            </a:r>
          </a:p>
        </p:txBody>
      </p:sp>
      <p:sp>
        <p:nvSpPr>
          <p:cNvPr id="3" name="Text Placeholder 4"/>
          <p:cNvSpPr>
            <a:spLocks noGrp="1"/>
          </p:cNvSpPr>
          <p:nvPr>
            <p:ph type="body" sz="quarter" idx="11" hasCustomPrompt="1"/>
          </p:nvPr>
        </p:nvSpPr>
        <p:spPr>
          <a:xfrm>
            <a:off x="611717" y="881767"/>
            <a:ext cx="10972800" cy="366932"/>
          </a:xfrm>
        </p:spPr>
        <p:txBody>
          <a:bodyPr/>
          <a:lstStyle>
            <a:lvl1pPr marL="0" indent="0">
              <a:buNone/>
              <a:defRPr sz="2667" baseline="0"/>
            </a:lvl1pPr>
            <a:lvl2pPr marL="302675" indent="0">
              <a:buNone/>
              <a:defRPr/>
            </a:lvl2pPr>
          </a:lstStyle>
          <a:p>
            <a:pPr lvl="0"/>
            <a:r>
              <a:rPr lang="en-US" dirty="0"/>
              <a:t>Sub-header optional—delete if not needed</a:t>
            </a:r>
          </a:p>
        </p:txBody>
      </p:sp>
      <p:sp>
        <p:nvSpPr>
          <p:cNvPr id="4" name="Text Placeholder 5"/>
          <p:cNvSpPr>
            <a:spLocks noGrp="1"/>
          </p:cNvSpPr>
          <p:nvPr>
            <p:ph type="body" sz="quarter" idx="14" hasCustomPrompt="1"/>
          </p:nvPr>
        </p:nvSpPr>
        <p:spPr>
          <a:xfrm>
            <a:off x="3138793" y="6560363"/>
            <a:ext cx="5927388" cy="214955"/>
          </a:xfrm>
        </p:spPr>
        <p:txBody>
          <a:bodyPr/>
          <a:lstStyle>
            <a:lvl1pPr marL="0" indent="0" algn="ctr">
              <a:buNone/>
              <a:defRPr sz="933" baseline="0"/>
            </a:lvl1pPr>
          </a:lstStyle>
          <a:p>
            <a:pPr lvl="0"/>
            <a:r>
              <a:rPr lang="en-US" dirty="0"/>
              <a:t>For internal use only.</a:t>
            </a:r>
          </a:p>
        </p:txBody>
      </p:sp>
    </p:spTree>
    <p:extLst>
      <p:ext uri="{BB962C8B-B14F-4D97-AF65-F5344CB8AC3E}">
        <p14:creationId xmlns:p14="http://schemas.microsoft.com/office/powerpoint/2010/main" val="267687576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27013"/>
            <a:ext cx="10962219" cy="498475"/>
          </a:xfrm>
        </p:spPr>
        <p:txBody>
          <a:bodyPr/>
          <a:lstStyle>
            <a:lvl1pPr>
              <a:defRPr baseline="0"/>
            </a:lvl1pPr>
          </a:lstStyle>
          <a:p>
            <a:r>
              <a:rPr lang="en-US" dirty="0"/>
              <a:t>Text layout</a:t>
            </a:r>
          </a:p>
        </p:txBody>
      </p:sp>
      <p:sp>
        <p:nvSpPr>
          <p:cNvPr id="3" name="Text Placeholder 20"/>
          <p:cNvSpPr>
            <a:spLocks noGrp="1"/>
          </p:cNvSpPr>
          <p:nvPr>
            <p:ph type="body" sz="quarter" idx="10"/>
          </p:nvPr>
        </p:nvSpPr>
        <p:spPr>
          <a:xfrm>
            <a:off x="609601" y="1530351"/>
            <a:ext cx="10962217" cy="4660900"/>
          </a:xfrm>
          <a:prstGeom prst="rect">
            <a:avLst/>
          </a:prstGeom>
        </p:spPr>
        <p:txBody>
          <a:bodyPr lIns="0" tIns="91440" bIns="91440" anchor="ctr" anchorCtr="0"/>
          <a:lstStyle>
            <a:lvl1pPr marL="224361" indent="-224361">
              <a:spcBef>
                <a:spcPts val="2400"/>
              </a:spcBef>
              <a:buSzPct val="100000"/>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1pPr>
            <a:lvl2pPr marL="537620" indent="-234945">
              <a:lnSpc>
                <a:spcPct val="90000"/>
              </a:lnSpc>
              <a:spcBef>
                <a:spcPts val="0"/>
              </a:spcBef>
              <a:tabLst>
                <a:tab pos="537620" algn="l"/>
              </a:tabLst>
              <a:defRPr sz="2133">
                <a:solidFill>
                  <a:schemeClr val="tx1"/>
                </a:solidFill>
                <a:latin typeface="Arial" panose="020B0604020202020204" pitchFamily="34" charset="0"/>
                <a:cs typeface="Arial" panose="020B0604020202020204" pitchFamily="34" charset="0"/>
              </a:defRPr>
            </a:lvl2pPr>
            <a:lvl3pPr marL="838179" indent="-222245">
              <a:lnSpc>
                <a:spcPct val="90000"/>
              </a:lnSpc>
              <a:spcBef>
                <a:spcPts val="0"/>
              </a:spcBef>
              <a:buFont typeface="Courier New" panose="02070309020205020404" pitchFamily="49" charset="0"/>
              <a:buChar char="o"/>
              <a:defRPr sz="1867">
                <a:solidFill>
                  <a:schemeClr val="tx1"/>
                </a:solidFill>
                <a:latin typeface="Arial" panose="020B0604020202020204" pitchFamily="34" charset="0"/>
                <a:cs typeface="Arial" panose="020B0604020202020204" pitchFamily="34" charset="0"/>
              </a:defRPr>
            </a:lvl3pPr>
            <a:lvl4pPr marL="1979035" indent="-222245">
              <a:lnSpc>
                <a:spcPct val="90000"/>
              </a:lnSpc>
              <a:spcBef>
                <a:spcPts val="0"/>
              </a:spcBef>
              <a:buFont typeface="Arial" panose="020B0604020202020204" pitchFamily="34" charset="0"/>
              <a:buChar char="»"/>
              <a:defRPr lang="en-US" sz="2400" kern="1200" dirty="0" smtClean="0">
                <a:solidFill>
                  <a:srgbClr val="646464"/>
                </a:solidFill>
                <a:latin typeface="Arial" panose="020B0604020202020204" pitchFamily="34" charset="0"/>
                <a:ea typeface="+mn-ea"/>
                <a:cs typeface="Arial" panose="020B0604020202020204" pitchFamily="34" charset="0"/>
              </a:defRPr>
            </a:lvl4pPr>
            <a:lvl5pPr>
              <a:defRPr sz="2133">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4" name="Text Placeholder 4"/>
          <p:cNvSpPr>
            <a:spLocks noGrp="1"/>
          </p:cNvSpPr>
          <p:nvPr>
            <p:ph type="body" sz="quarter" idx="11" hasCustomPrompt="1"/>
          </p:nvPr>
        </p:nvSpPr>
        <p:spPr>
          <a:xfrm>
            <a:off x="600428" y="881767"/>
            <a:ext cx="10972800" cy="366932"/>
          </a:xfrm>
        </p:spPr>
        <p:txBody>
          <a:bodyPr/>
          <a:lstStyle>
            <a:lvl1pPr marL="0" indent="0">
              <a:buNone/>
              <a:defRPr sz="2667" baseline="0"/>
            </a:lvl1pPr>
            <a:lvl2pPr marL="302675" indent="0">
              <a:buNone/>
              <a:defRPr/>
            </a:lvl2pPr>
          </a:lstStyle>
          <a:p>
            <a:pPr lvl="0"/>
            <a:r>
              <a:rPr lang="en-US" dirty="0"/>
              <a:t>Subheader optional—delete if not needed</a:t>
            </a:r>
          </a:p>
        </p:txBody>
      </p:sp>
    </p:spTree>
    <p:extLst>
      <p:ext uri="{BB962C8B-B14F-4D97-AF65-F5344CB8AC3E}">
        <p14:creationId xmlns:p14="http://schemas.microsoft.com/office/powerpoint/2010/main" val="393914015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XT and CHART/GRAPH lyaout">
    <p:spTree>
      <p:nvGrpSpPr>
        <p:cNvPr id="1" name=""/>
        <p:cNvGrpSpPr/>
        <p:nvPr/>
      </p:nvGrpSpPr>
      <p:grpSpPr>
        <a:xfrm>
          <a:off x="0" y="0"/>
          <a:ext cx="0" cy="0"/>
          <a:chOff x="0" y="0"/>
          <a:chExt cx="0" cy="0"/>
        </a:xfrm>
      </p:grpSpPr>
      <p:sp>
        <p:nvSpPr>
          <p:cNvPr id="3" name="Text Placeholder 20"/>
          <p:cNvSpPr>
            <a:spLocks noGrp="1"/>
          </p:cNvSpPr>
          <p:nvPr>
            <p:ph type="body" sz="quarter" idx="10"/>
          </p:nvPr>
        </p:nvSpPr>
        <p:spPr>
          <a:xfrm>
            <a:off x="609602" y="1530351"/>
            <a:ext cx="5274364" cy="4660900"/>
          </a:xfrm>
          <a:prstGeom prst="rect">
            <a:avLst/>
          </a:prstGeom>
        </p:spPr>
        <p:txBody>
          <a:bodyPr lIns="0" tIns="91440" bIns="91440" anchor="ctr" anchorCtr="0"/>
          <a:lstStyle>
            <a:lvl1pPr marL="224361" indent="-224361">
              <a:spcBef>
                <a:spcPts val="2400"/>
              </a:spcBef>
              <a:buSzPct val="100000"/>
              <a:buFont typeface="Arial" panose="020B0604020202020204" pitchFamily="34" charset="0"/>
              <a:buChar char="•"/>
              <a:defRPr sz="2400">
                <a:latin typeface="Arial" panose="020B0604020202020204" pitchFamily="34" charset="0"/>
                <a:cs typeface="Arial" panose="020B0604020202020204" pitchFamily="34" charset="0"/>
              </a:defRPr>
            </a:lvl1pPr>
            <a:lvl2pPr marL="537620" indent="-234945">
              <a:lnSpc>
                <a:spcPct val="90000"/>
              </a:lnSpc>
              <a:spcBef>
                <a:spcPts val="0"/>
              </a:spcBef>
              <a:tabLst>
                <a:tab pos="537620" algn="l"/>
              </a:tabLst>
              <a:defRPr sz="2133">
                <a:latin typeface="Arial" panose="020B0604020202020204" pitchFamily="34" charset="0"/>
                <a:cs typeface="Arial" panose="020B0604020202020204" pitchFamily="34" charset="0"/>
              </a:defRPr>
            </a:lvl2pPr>
            <a:lvl3pPr marL="838179" indent="-222245">
              <a:lnSpc>
                <a:spcPct val="90000"/>
              </a:lnSpc>
              <a:spcBef>
                <a:spcPts val="0"/>
              </a:spcBef>
              <a:buFont typeface="Courier New" panose="02070309020205020404" pitchFamily="49" charset="0"/>
              <a:buChar char="o"/>
              <a:defRPr sz="1867">
                <a:solidFill>
                  <a:srgbClr val="000000"/>
                </a:solidFill>
                <a:latin typeface="Arial" panose="020B0604020202020204" pitchFamily="34" charset="0"/>
                <a:cs typeface="Arial" panose="020B0604020202020204" pitchFamily="34" charset="0"/>
              </a:defRPr>
            </a:lvl3pPr>
            <a:lvl4pPr marL="1979035" indent="-222245">
              <a:lnSpc>
                <a:spcPct val="90000"/>
              </a:lnSpc>
              <a:spcBef>
                <a:spcPts val="0"/>
              </a:spcBef>
              <a:buFont typeface="Arial" panose="020B0604020202020204" pitchFamily="34" charset="0"/>
              <a:buChar char="»"/>
              <a:defRPr lang="en-US" sz="2400" kern="1200" dirty="0" smtClean="0">
                <a:solidFill>
                  <a:srgbClr val="646464"/>
                </a:solidFill>
                <a:latin typeface="Arial" panose="020B0604020202020204" pitchFamily="34" charset="0"/>
                <a:ea typeface="+mn-ea"/>
                <a:cs typeface="Arial" panose="020B0604020202020204" pitchFamily="34" charset="0"/>
              </a:defRPr>
            </a:lvl4pPr>
            <a:lvl5pPr>
              <a:defRPr sz="2133">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4" name="Text Placeholder 4"/>
          <p:cNvSpPr>
            <a:spLocks noGrp="1"/>
          </p:cNvSpPr>
          <p:nvPr>
            <p:ph type="body" sz="quarter" idx="11" hasCustomPrompt="1"/>
          </p:nvPr>
        </p:nvSpPr>
        <p:spPr>
          <a:xfrm>
            <a:off x="600428" y="881767"/>
            <a:ext cx="10972800" cy="366932"/>
          </a:xfrm>
        </p:spPr>
        <p:txBody>
          <a:bodyPr/>
          <a:lstStyle>
            <a:lvl1pPr marL="0" indent="0">
              <a:buNone/>
              <a:defRPr sz="2667" baseline="0"/>
            </a:lvl1pPr>
            <a:lvl2pPr marL="302675" indent="0">
              <a:buNone/>
              <a:defRPr/>
            </a:lvl2pPr>
          </a:lstStyle>
          <a:p>
            <a:pPr lvl="0"/>
            <a:r>
              <a:rPr lang="en-US" dirty="0"/>
              <a:t>Sub-header optional—delete if not needed</a:t>
            </a:r>
          </a:p>
        </p:txBody>
      </p:sp>
      <p:sp>
        <p:nvSpPr>
          <p:cNvPr id="5" name="Text Placeholder 5"/>
          <p:cNvSpPr>
            <a:spLocks noGrp="1"/>
          </p:cNvSpPr>
          <p:nvPr>
            <p:ph type="body" sz="quarter" idx="14" hasCustomPrompt="1"/>
          </p:nvPr>
        </p:nvSpPr>
        <p:spPr>
          <a:xfrm>
            <a:off x="3138793" y="6560363"/>
            <a:ext cx="5927388" cy="214955"/>
          </a:xfrm>
        </p:spPr>
        <p:txBody>
          <a:bodyPr/>
          <a:lstStyle>
            <a:lvl1pPr marL="0" indent="0" algn="ctr">
              <a:buNone/>
              <a:defRPr sz="933" baseline="0"/>
            </a:lvl1pPr>
          </a:lstStyle>
          <a:p>
            <a:pPr lvl="0"/>
            <a:r>
              <a:rPr lang="en-US" dirty="0"/>
              <a:t>For internal use only.</a:t>
            </a:r>
          </a:p>
        </p:txBody>
      </p:sp>
      <p:sp>
        <p:nvSpPr>
          <p:cNvPr id="6" name="Chart Placeholder 5"/>
          <p:cNvSpPr>
            <a:spLocks noGrp="1"/>
          </p:cNvSpPr>
          <p:nvPr>
            <p:ph type="chart" sz="quarter" idx="15" hasCustomPrompt="1"/>
          </p:nvPr>
        </p:nvSpPr>
        <p:spPr>
          <a:xfrm>
            <a:off x="6297435" y="1538288"/>
            <a:ext cx="5287084" cy="4652963"/>
          </a:xfrm>
        </p:spPr>
        <p:txBody>
          <a:bodyPr tIns="914400"/>
          <a:lstStyle>
            <a:lvl1pPr marL="0" indent="0" algn="ctr">
              <a:spcBef>
                <a:spcPts val="0"/>
              </a:spcBef>
              <a:buNone/>
              <a:defRPr sz="1600" baseline="0"/>
            </a:lvl1pPr>
          </a:lstStyle>
          <a:p>
            <a:r>
              <a:rPr lang="en-US" dirty="0"/>
              <a:t>CLICK ▲ ICON                </a:t>
            </a:r>
          </a:p>
          <a:p>
            <a:r>
              <a:rPr lang="en-US" dirty="0"/>
              <a:t>to insert chart of graph</a:t>
            </a:r>
          </a:p>
        </p:txBody>
      </p:sp>
      <p:sp>
        <p:nvSpPr>
          <p:cNvPr id="7" name="Title 1"/>
          <p:cNvSpPr>
            <a:spLocks noGrp="1"/>
          </p:cNvSpPr>
          <p:nvPr>
            <p:ph type="title" hasCustomPrompt="1"/>
          </p:nvPr>
        </p:nvSpPr>
        <p:spPr>
          <a:xfrm>
            <a:off x="609600" y="227013"/>
            <a:ext cx="10962219" cy="498475"/>
          </a:xfrm>
        </p:spPr>
        <p:txBody>
          <a:bodyPr/>
          <a:lstStyle>
            <a:lvl1pPr>
              <a:defRPr baseline="0"/>
            </a:lvl1pPr>
          </a:lstStyle>
          <a:p>
            <a:r>
              <a:rPr lang="en-US" dirty="0"/>
              <a:t>Text and chart layout</a:t>
            </a:r>
          </a:p>
        </p:txBody>
      </p:sp>
    </p:spTree>
    <p:extLst>
      <p:ext uri="{BB962C8B-B14F-4D97-AF65-F5344CB8AC3E}">
        <p14:creationId xmlns:p14="http://schemas.microsoft.com/office/powerpoint/2010/main" val="13424013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HART or GRAPH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Graph layout visually communicates the message</a:t>
            </a:r>
          </a:p>
        </p:txBody>
      </p:sp>
      <p:sp>
        <p:nvSpPr>
          <p:cNvPr id="4" name="Chart Placeholder 3"/>
          <p:cNvSpPr>
            <a:spLocks noGrp="1"/>
          </p:cNvSpPr>
          <p:nvPr>
            <p:ph type="chart" sz="quarter" idx="10"/>
          </p:nvPr>
        </p:nvSpPr>
        <p:spPr>
          <a:xfrm>
            <a:off x="611717" y="1530351"/>
            <a:ext cx="10972800" cy="4660899"/>
          </a:xfrm>
        </p:spPr>
        <p:txBody>
          <a:bodyPr lIns="91440" tIns="640080" rIns="365760" bIns="365760"/>
          <a:lstStyle>
            <a:lvl1pPr marL="0" indent="156629" algn="ctr">
              <a:spcBef>
                <a:spcPts val="0"/>
              </a:spcBef>
              <a:buNone/>
              <a:defRPr sz="1600" baseline="0"/>
            </a:lvl1pPr>
          </a:lstStyle>
          <a:p>
            <a:endParaRPr lang="en-US" dirty="0"/>
          </a:p>
          <a:p>
            <a:endParaRPr lang="en-US" dirty="0"/>
          </a:p>
          <a:p>
            <a:endParaRPr lang="en-US" dirty="0"/>
          </a:p>
          <a:p>
            <a:r>
              <a:rPr lang="en-US" dirty="0"/>
              <a:t>CLICK ▲ ICON </a:t>
            </a:r>
          </a:p>
          <a:p>
            <a:r>
              <a:rPr lang="en-US" dirty="0"/>
              <a:t>to select chart type and insert</a:t>
            </a:r>
          </a:p>
        </p:txBody>
      </p:sp>
      <p:sp>
        <p:nvSpPr>
          <p:cNvPr id="5" name="Text Placeholder 4"/>
          <p:cNvSpPr>
            <a:spLocks noGrp="1"/>
          </p:cNvSpPr>
          <p:nvPr>
            <p:ph type="body" sz="quarter" idx="11" hasCustomPrompt="1"/>
          </p:nvPr>
        </p:nvSpPr>
        <p:spPr>
          <a:xfrm>
            <a:off x="611717" y="881767"/>
            <a:ext cx="10972800" cy="366932"/>
          </a:xfrm>
        </p:spPr>
        <p:txBody>
          <a:bodyPr/>
          <a:lstStyle>
            <a:lvl1pPr marL="0" indent="0">
              <a:buNone/>
              <a:defRPr sz="2667" baseline="0"/>
            </a:lvl1pPr>
            <a:lvl2pPr marL="302675" indent="0">
              <a:buNone/>
              <a:defRPr/>
            </a:lvl2pPr>
          </a:lstStyle>
          <a:p>
            <a:pPr lvl="0"/>
            <a:r>
              <a:rPr lang="en-US" dirty="0"/>
              <a:t>Sub-header optional—delete if not needed</a:t>
            </a:r>
          </a:p>
        </p:txBody>
      </p:sp>
      <p:sp>
        <p:nvSpPr>
          <p:cNvPr id="6" name="Text Placeholder 5"/>
          <p:cNvSpPr>
            <a:spLocks noGrp="1"/>
          </p:cNvSpPr>
          <p:nvPr>
            <p:ph type="body" sz="quarter" idx="14" hasCustomPrompt="1"/>
          </p:nvPr>
        </p:nvSpPr>
        <p:spPr>
          <a:xfrm>
            <a:off x="3138793" y="6560363"/>
            <a:ext cx="5927388" cy="214955"/>
          </a:xfrm>
        </p:spPr>
        <p:txBody>
          <a:bodyPr/>
          <a:lstStyle>
            <a:lvl1pPr marL="0" indent="0" algn="ctr">
              <a:buNone/>
              <a:defRPr sz="933" baseline="0"/>
            </a:lvl1pPr>
          </a:lstStyle>
          <a:p>
            <a:pPr lvl="0"/>
            <a:r>
              <a:rPr lang="en-US" dirty="0"/>
              <a:t>For internal use only.</a:t>
            </a:r>
          </a:p>
        </p:txBody>
      </p:sp>
    </p:spTree>
    <p:extLst>
      <p:ext uri="{BB962C8B-B14F-4D97-AF65-F5344CB8AC3E}">
        <p14:creationId xmlns:p14="http://schemas.microsoft.com/office/powerpoint/2010/main" val="395561418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images and text">
    <p:spTree>
      <p:nvGrpSpPr>
        <p:cNvPr id="1" name=""/>
        <p:cNvGrpSpPr/>
        <p:nvPr/>
      </p:nvGrpSpPr>
      <p:grpSpPr>
        <a:xfrm>
          <a:off x="0" y="0"/>
          <a:ext cx="0" cy="0"/>
          <a:chOff x="0" y="0"/>
          <a:chExt cx="0" cy="0"/>
        </a:xfrm>
      </p:grpSpPr>
      <p:grpSp>
        <p:nvGrpSpPr>
          <p:cNvPr id="8" name="Group 7"/>
          <p:cNvGrpSpPr/>
          <p:nvPr userDrawn="1"/>
        </p:nvGrpSpPr>
        <p:grpSpPr>
          <a:xfrm>
            <a:off x="737514" y="1850529"/>
            <a:ext cx="2419644" cy="4028971"/>
            <a:chOff x="553135" y="1387897"/>
            <a:chExt cx="1814733" cy="3021728"/>
          </a:xfrm>
        </p:grpSpPr>
        <p:sp>
          <p:nvSpPr>
            <p:cNvPr id="12" name="Rectangle 11"/>
            <p:cNvSpPr/>
            <p:nvPr userDrawn="1"/>
          </p:nvSpPr>
          <p:spPr>
            <a:xfrm>
              <a:off x="553135" y="1387897"/>
              <a:ext cx="1814733" cy="1097279"/>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7" name="Rectangle 16"/>
            <p:cNvSpPr/>
            <p:nvPr userDrawn="1"/>
          </p:nvSpPr>
          <p:spPr>
            <a:xfrm>
              <a:off x="553135" y="3312346"/>
              <a:ext cx="1814733" cy="1097279"/>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nvGrpSpPr>
            <p:cNvPr id="26" name="Group 25"/>
            <p:cNvGrpSpPr/>
            <p:nvPr userDrawn="1"/>
          </p:nvGrpSpPr>
          <p:grpSpPr>
            <a:xfrm>
              <a:off x="1005539" y="3403852"/>
              <a:ext cx="909923" cy="457133"/>
              <a:chOff x="1751012" y="1069975"/>
              <a:chExt cx="2359025" cy="1143001"/>
            </a:xfrm>
            <a:solidFill>
              <a:schemeClr val="bg1">
                <a:lumMod val="50000"/>
              </a:schemeClr>
            </a:solidFill>
          </p:grpSpPr>
          <p:sp>
            <p:nvSpPr>
              <p:cNvPr id="27" name="Freeform 30"/>
              <p:cNvSpPr>
                <a:spLocks/>
              </p:cNvSpPr>
              <p:nvPr/>
            </p:nvSpPr>
            <p:spPr bwMode="auto">
              <a:xfrm>
                <a:off x="2827338" y="1069975"/>
                <a:ext cx="1068387" cy="752475"/>
              </a:xfrm>
              <a:custGeom>
                <a:avLst/>
                <a:gdLst>
                  <a:gd name="T0" fmla="*/ 19 w 285"/>
                  <a:gd name="T1" fmla="*/ 61 h 201"/>
                  <a:gd name="T2" fmla="*/ 56 w 285"/>
                  <a:gd name="T3" fmla="*/ 92 h 201"/>
                  <a:gd name="T4" fmla="*/ 74 w 285"/>
                  <a:gd name="T5" fmla="*/ 83 h 201"/>
                  <a:gd name="T6" fmla="*/ 130 w 285"/>
                  <a:gd name="T7" fmla="*/ 122 h 201"/>
                  <a:gd name="T8" fmla="*/ 151 w 285"/>
                  <a:gd name="T9" fmla="*/ 110 h 201"/>
                  <a:gd name="T10" fmla="*/ 152 w 285"/>
                  <a:gd name="T11" fmla="*/ 111 h 201"/>
                  <a:gd name="T12" fmla="*/ 253 w 285"/>
                  <a:gd name="T13" fmla="*/ 184 h 201"/>
                  <a:gd name="T14" fmla="*/ 279 w 285"/>
                  <a:gd name="T15" fmla="*/ 201 h 201"/>
                  <a:gd name="T16" fmla="*/ 285 w 285"/>
                  <a:gd name="T17" fmla="*/ 157 h 201"/>
                  <a:gd name="T18" fmla="*/ 128 w 285"/>
                  <a:gd name="T19" fmla="*/ 0 h 201"/>
                  <a:gd name="T20" fmla="*/ 0 w 285"/>
                  <a:gd name="T21" fmla="*/ 66 h 201"/>
                  <a:gd name="T22" fmla="*/ 2 w 285"/>
                  <a:gd name="T23" fmla="*/ 67 h 201"/>
                  <a:gd name="T24" fmla="*/ 19 w 285"/>
                  <a:gd name="T25" fmla="*/ 6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5" h="201">
                    <a:moveTo>
                      <a:pt x="19" y="61"/>
                    </a:moveTo>
                    <a:cubicBezTo>
                      <a:pt x="56" y="92"/>
                      <a:pt x="56" y="92"/>
                      <a:pt x="56" y="92"/>
                    </a:cubicBezTo>
                    <a:cubicBezTo>
                      <a:pt x="74" y="83"/>
                      <a:pt x="74" y="83"/>
                      <a:pt x="74" y="83"/>
                    </a:cubicBezTo>
                    <a:cubicBezTo>
                      <a:pt x="130" y="122"/>
                      <a:pt x="130" y="122"/>
                      <a:pt x="130" y="122"/>
                    </a:cubicBezTo>
                    <a:cubicBezTo>
                      <a:pt x="151" y="110"/>
                      <a:pt x="151" y="110"/>
                      <a:pt x="151" y="110"/>
                    </a:cubicBezTo>
                    <a:cubicBezTo>
                      <a:pt x="152" y="111"/>
                      <a:pt x="152" y="111"/>
                      <a:pt x="152" y="111"/>
                    </a:cubicBezTo>
                    <a:cubicBezTo>
                      <a:pt x="187" y="140"/>
                      <a:pt x="227" y="166"/>
                      <a:pt x="253" y="184"/>
                    </a:cubicBezTo>
                    <a:cubicBezTo>
                      <a:pt x="267" y="193"/>
                      <a:pt x="275" y="198"/>
                      <a:pt x="279" y="201"/>
                    </a:cubicBezTo>
                    <a:cubicBezTo>
                      <a:pt x="283" y="187"/>
                      <a:pt x="285" y="173"/>
                      <a:pt x="285" y="157"/>
                    </a:cubicBezTo>
                    <a:cubicBezTo>
                      <a:pt x="285" y="70"/>
                      <a:pt x="215" y="0"/>
                      <a:pt x="128" y="0"/>
                    </a:cubicBezTo>
                    <a:cubicBezTo>
                      <a:pt x="75" y="0"/>
                      <a:pt x="29" y="26"/>
                      <a:pt x="0" y="66"/>
                    </a:cubicBezTo>
                    <a:cubicBezTo>
                      <a:pt x="2" y="67"/>
                      <a:pt x="2" y="67"/>
                      <a:pt x="2" y="67"/>
                    </a:cubicBezTo>
                    <a:lnTo>
                      <a:pt x="19"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28" name="Freeform 31"/>
              <p:cNvSpPr>
                <a:spLocks noEditPoints="1"/>
              </p:cNvSpPr>
              <p:nvPr/>
            </p:nvSpPr>
            <p:spPr bwMode="auto">
              <a:xfrm>
                <a:off x="1751012" y="1208088"/>
                <a:ext cx="2359025" cy="1004888"/>
              </a:xfrm>
              <a:custGeom>
                <a:avLst/>
                <a:gdLst>
                  <a:gd name="T0" fmla="*/ 540 w 629"/>
                  <a:gd name="T1" fmla="*/ 154 h 268"/>
                  <a:gd name="T2" fmla="*/ 438 w 629"/>
                  <a:gd name="T3" fmla="*/ 80 h 268"/>
                  <a:gd name="T4" fmla="*/ 361 w 629"/>
                  <a:gd name="T5" fmla="*/ 54 h 268"/>
                  <a:gd name="T6" fmla="*/ 306 w 629"/>
                  <a:gd name="T7" fmla="*/ 31 h 268"/>
                  <a:gd name="T8" fmla="*/ 233 w 629"/>
                  <a:gd name="T9" fmla="*/ 0 h 268"/>
                  <a:gd name="T10" fmla="*/ 190 w 629"/>
                  <a:gd name="T11" fmla="*/ 29 h 268"/>
                  <a:gd name="T12" fmla="*/ 44 w 629"/>
                  <a:gd name="T13" fmla="*/ 163 h 268"/>
                  <a:gd name="T14" fmla="*/ 92 w 629"/>
                  <a:gd name="T15" fmla="*/ 149 h 268"/>
                  <a:gd name="T16" fmla="*/ 110 w 629"/>
                  <a:gd name="T17" fmla="*/ 116 h 268"/>
                  <a:gd name="T18" fmla="*/ 100 w 629"/>
                  <a:gd name="T19" fmla="*/ 111 h 268"/>
                  <a:gd name="T20" fmla="*/ 118 w 629"/>
                  <a:gd name="T21" fmla="*/ 83 h 268"/>
                  <a:gd name="T22" fmla="*/ 190 w 629"/>
                  <a:gd name="T23" fmla="*/ 40 h 268"/>
                  <a:gd name="T24" fmla="*/ 250 w 629"/>
                  <a:gd name="T25" fmla="*/ 49 h 268"/>
                  <a:gd name="T26" fmla="*/ 282 w 629"/>
                  <a:gd name="T27" fmla="*/ 64 h 268"/>
                  <a:gd name="T28" fmla="*/ 303 w 629"/>
                  <a:gd name="T29" fmla="*/ 65 h 268"/>
                  <a:gd name="T30" fmla="*/ 308 w 629"/>
                  <a:gd name="T31" fmla="*/ 39 h 268"/>
                  <a:gd name="T32" fmla="*/ 348 w 629"/>
                  <a:gd name="T33" fmla="*/ 67 h 268"/>
                  <a:gd name="T34" fmla="*/ 408 w 629"/>
                  <a:gd name="T35" fmla="*/ 132 h 268"/>
                  <a:gd name="T36" fmla="*/ 442 w 629"/>
                  <a:gd name="T37" fmla="*/ 139 h 268"/>
                  <a:gd name="T38" fmla="*/ 463 w 629"/>
                  <a:gd name="T39" fmla="*/ 132 h 268"/>
                  <a:gd name="T40" fmla="*/ 519 w 629"/>
                  <a:gd name="T41" fmla="*/ 150 h 268"/>
                  <a:gd name="T42" fmla="*/ 376 w 629"/>
                  <a:gd name="T43" fmla="*/ 185 h 268"/>
                  <a:gd name="T44" fmla="*/ 81 w 629"/>
                  <a:gd name="T45" fmla="*/ 268 h 268"/>
                  <a:gd name="T46" fmla="*/ 108 w 629"/>
                  <a:gd name="T47" fmla="*/ 217 h 268"/>
                  <a:gd name="T48" fmla="*/ 163 w 629"/>
                  <a:gd name="T49" fmla="*/ 219 h 268"/>
                  <a:gd name="T50" fmla="*/ 390 w 629"/>
                  <a:gd name="T51" fmla="*/ 268 h 268"/>
                  <a:gd name="T52" fmla="*/ 613 w 629"/>
                  <a:gd name="T53" fmla="*/ 212 h 268"/>
                  <a:gd name="T54" fmla="*/ 41 w 629"/>
                  <a:gd name="T55" fmla="*/ 205 h 268"/>
                  <a:gd name="T56" fmla="*/ 34 w 629"/>
                  <a:gd name="T57" fmla="*/ 202 h 268"/>
                  <a:gd name="T58" fmla="*/ 41 w 629"/>
                  <a:gd name="T59" fmla="*/ 205 h 268"/>
                  <a:gd name="T60" fmla="*/ 521 w 629"/>
                  <a:gd name="T61" fmla="*/ 212 h 268"/>
                  <a:gd name="T62" fmla="*/ 581 w 629"/>
                  <a:gd name="T63" fmla="*/ 17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29" h="268">
                    <a:moveTo>
                      <a:pt x="559" y="166"/>
                    </a:moveTo>
                    <a:cubicBezTo>
                      <a:pt x="554" y="163"/>
                      <a:pt x="547" y="159"/>
                      <a:pt x="540" y="154"/>
                    </a:cubicBezTo>
                    <a:cubicBezTo>
                      <a:pt x="514" y="137"/>
                      <a:pt x="474" y="110"/>
                      <a:pt x="439" y="81"/>
                    </a:cubicBezTo>
                    <a:cubicBezTo>
                      <a:pt x="438" y="80"/>
                      <a:pt x="438" y="80"/>
                      <a:pt x="438" y="80"/>
                    </a:cubicBezTo>
                    <a:cubicBezTo>
                      <a:pt x="417" y="93"/>
                      <a:pt x="417" y="93"/>
                      <a:pt x="417" y="93"/>
                    </a:cubicBezTo>
                    <a:cubicBezTo>
                      <a:pt x="361" y="54"/>
                      <a:pt x="361" y="54"/>
                      <a:pt x="361" y="54"/>
                    </a:cubicBezTo>
                    <a:cubicBezTo>
                      <a:pt x="343" y="62"/>
                      <a:pt x="343" y="62"/>
                      <a:pt x="343" y="62"/>
                    </a:cubicBezTo>
                    <a:cubicBezTo>
                      <a:pt x="306" y="31"/>
                      <a:pt x="306" y="31"/>
                      <a:pt x="306" y="31"/>
                    </a:cubicBezTo>
                    <a:cubicBezTo>
                      <a:pt x="289" y="38"/>
                      <a:pt x="289" y="38"/>
                      <a:pt x="289" y="38"/>
                    </a:cubicBezTo>
                    <a:cubicBezTo>
                      <a:pt x="233" y="0"/>
                      <a:pt x="233" y="0"/>
                      <a:pt x="233" y="0"/>
                    </a:cubicBezTo>
                    <a:cubicBezTo>
                      <a:pt x="231" y="2"/>
                      <a:pt x="231" y="2"/>
                      <a:pt x="231" y="2"/>
                    </a:cubicBezTo>
                    <a:cubicBezTo>
                      <a:pt x="224" y="9"/>
                      <a:pt x="197" y="29"/>
                      <a:pt x="190" y="29"/>
                    </a:cubicBezTo>
                    <a:cubicBezTo>
                      <a:pt x="184" y="25"/>
                      <a:pt x="174" y="13"/>
                      <a:pt x="174" y="13"/>
                    </a:cubicBezTo>
                    <a:cubicBezTo>
                      <a:pt x="174" y="13"/>
                      <a:pt x="82" y="112"/>
                      <a:pt x="44" y="163"/>
                    </a:cubicBezTo>
                    <a:cubicBezTo>
                      <a:pt x="97" y="121"/>
                      <a:pt x="97" y="121"/>
                      <a:pt x="97" y="121"/>
                    </a:cubicBezTo>
                    <a:cubicBezTo>
                      <a:pt x="92" y="149"/>
                      <a:pt x="92" y="149"/>
                      <a:pt x="92" y="149"/>
                    </a:cubicBezTo>
                    <a:cubicBezTo>
                      <a:pt x="149" y="79"/>
                      <a:pt x="149" y="79"/>
                      <a:pt x="149" y="79"/>
                    </a:cubicBezTo>
                    <a:cubicBezTo>
                      <a:pt x="110" y="116"/>
                      <a:pt x="110" y="116"/>
                      <a:pt x="110" y="116"/>
                    </a:cubicBezTo>
                    <a:cubicBezTo>
                      <a:pt x="156" y="53"/>
                      <a:pt x="156" y="53"/>
                      <a:pt x="156" y="53"/>
                    </a:cubicBezTo>
                    <a:cubicBezTo>
                      <a:pt x="100" y="111"/>
                      <a:pt x="100" y="111"/>
                      <a:pt x="100" y="111"/>
                    </a:cubicBezTo>
                    <a:cubicBezTo>
                      <a:pt x="118" y="83"/>
                      <a:pt x="118" y="83"/>
                      <a:pt x="118" y="83"/>
                    </a:cubicBezTo>
                    <a:cubicBezTo>
                      <a:pt x="118" y="83"/>
                      <a:pt x="118" y="83"/>
                      <a:pt x="118" y="83"/>
                    </a:cubicBezTo>
                    <a:cubicBezTo>
                      <a:pt x="151" y="49"/>
                      <a:pt x="174" y="27"/>
                      <a:pt x="174" y="27"/>
                    </a:cubicBezTo>
                    <a:cubicBezTo>
                      <a:pt x="174" y="27"/>
                      <a:pt x="183" y="38"/>
                      <a:pt x="190" y="40"/>
                    </a:cubicBezTo>
                    <a:cubicBezTo>
                      <a:pt x="199" y="35"/>
                      <a:pt x="222" y="20"/>
                      <a:pt x="222" y="20"/>
                    </a:cubicBezTo>
                    <a:cubicBezTo>
                      <a:pt x="250" y="49"/>
                      <a:pt x="250" y="49"/>
                      <a:pt x="250" y="49"/>
                    </a:cubicBezTo>
                    <a:cubicBezTo>
                      <a:pt x="240" y="21"/>
                      <a:pt x="240" y="21"/>
                      <a:pt x="240" y="21"/>
                    </a:cubicBezTo>
                    <a:cubicBezTo>
                      <a:pt x="282" y="64"/>
                      <a:pt x="282" y="64"/>
                      <a:pt x="282" y="64"/>
                    </a:cubicBezTo>
                    <a:cubicBezTo>
                      <a:pt x="274" y="43"/>
                      <a:pt x="274" y="43"/>
                      <a:pt x="274" y="43"/>
                    </a:cubicBezTo>
                    <a:cubicBezTo>
                      <a:pt x="303" y="65"/>
                      <a:pt x="303" y="65"/>
                      <a:pt x="303" y="65"/>
                    </a:cubicBezTo>
                    <a:cubicBezTo>
                      <a:pt x="296" y="47"/>
                      <a:pt x="296" y="47"/>
                      <a:pt x="296" y="47"/>
                    </a:cubicBezTo>
                    <a:cubicBezTo>
                      <a:pt x="308" y="39"/>
                      <a:pt x="308" y="39"/>
                      <a:pt x="308" y="39"/>
                    </a:cubicBezTo>
                    <a:cubicBezTo>
                      <a:pt x="353" y="89"/>
                      <a:pt x="353" y="89"/>
                      <a:pt x="353" y="89"/>
                    </a:cubicBezTo>
                    <a:cubicBezTo>
                      <a:pt x="348" y="67"/>
                      <a:pt x="348" y="67"/>
                      <a:pt x="348" y="67"/>
                    </a:cubicBezTo>
                    <a:cubicBezTo>
                      <a:pt x="415" y="155"/>
                      <a:pt x="415" y="155"/>
                      <a:pt x="415" y="155"/>
                    </a:cubicBezTo>
                    <a:cubicBezTo>
                      <a:pt x="408" y="132"/>
                      <a:pt x="408" y="132"/>
                      <a:pt x="408" y="132"/>
                    </a:cubicBezTo>
                    <a:cubicBezTo>
                      <a:pt x="457" y="167"/>
                      <a:pt x="457" y="167"/>
                      <a:pt x="457" y="167"/>
                    </a:cubicBezTo>
                    <a:cubicBezTo>
                      <a:pt x="456" y="162"/>
                      <a:pt x="442" y="139"/>
                      <a:pt x="442" y="139"/>
                    </a:cubicBezTo>
                    <a:cubicBezTo>
                      <a:pt x="489" y="169"/>
                      <a:pt x="489" y="169"/>
                      <a:pt x="489" y="169"/>
                    </a:cubicBezTo>
                    <a:cubicBezTo>
                      <a:pt x="463" y="132"/>
                      <a:pt x="463" y="132"/>
                      <a:pt x="463" y="132"/>
                    </a:cubicBezTo>
                    <a:cubicBezTo>
                      <a:pt x="545" y="167"/>
                      <a:pt x="545" y="167"/>
                      <a:pt x="545" y="167"/>
                    </a:cubicBezTo>
                    <a:cubicBezTo>
                      <a:pt x="540" y="164"/>
                      <a:pt x="530" y="157"/>
                      <a:pt x="519" y="150"/>
                    </a:cubicBezTo>
                    <a:cubicBezTo>
                      <a:pt x="543" y="163"/>
                      <a:pt x="562" y="170"/>
                      <a:pt x="569" y="174"/>
                    </a:cubicBezTo>
                    <a:cubicBezTo>
                      <a:pt x="600" y="197"/>
                      <a:pt x="510" y="211"/>
                      <a:pt x="376" y="185"/>
                    </a:cubicBezTo>
                    <a:cubicBezTo>
                      <a:pt x="300" y="170"/>
                      <a:pt x="133" y="134"/>
                      <a:pt x="43" y="172"/>
                    </a:cubicBezTo>
                    <a:cubicBezTo>
                      <a:pt x="1" y="191"/>
                      <a:pt x="0" y="239"/>
                      <a:pt x="81" y="268"/>
                    </a:cubicBezTo>
                    <a:cubicBezTo>
                      <a:pt x="86" y="268"/>
                      <a:pt x="169" y="268"/>
                      <a:pt x="172" y="268"/>
                    </a:cubicBezTo>
                    <a:cubicBezTo>
                      <a:pt x="150" y="256"/>
                      <a:pt x="125" y="239"/>
                      <a:pt x="108" y="217"/>
                    </a:cubicBezTo>
                    <a:cubicBezTo>
                      <a:pt x="82" y="183"/>
                      <a:pt x="143" y="169"/>
                      <a:pt x="243" y="177"/>
                    </a:cubicBezTo>
                    <a:cubicBezTo>
                      <a:pt x="179" y="174"/>
                      <a:pt x="115" y="182"/>
                      <a:pt x="163" y="219"/>
                    </a:cubicBezTo>
                    <a:cubicBezTo>
                      <a:pt x="189" y="240"/>
                      <a:pt x="230" y="256"/>
                      <a:pt x="273" y="268"/>
                    </a:cubicBezTo>
                    <a:cubicBezTo>
                      <a:pt x="282" y="268"/>
                      <a:pt x="388" y="268"/>
                      <a:pt x="390" y="268"/>
                    </a:cubicBezTo>
                    <a:cubicBezTo>
                      <a:pt x="298" y="251"/>
                      <a:pt x="195" y="227"/>
                      <a:pt x="209" y="206"/>
                    </a:cubicBezTo>
                    <a:cubicBezTo>
                      <a:pt x="238" y="159"/>
                      <a:pt x="572" y="263"/>
                      <a:pt x="613" y="212"/>
                    </a:cubicBezTo>
                    <a:cubicBezTo>
                      <a:pt x="629" y="191"/>
                      <a:pt x="584" y="174"/>
                      <a:pt x="559" y="166"/>
                    </a:cubicBezTo>
                    <a:close/>
                    <a:moveTo>
                      <a:pt x="41" y="205"/>
                    </a:moveTo>
                    <a:cubicBezTo>
                      <a:pt x="44" y="221"/>
                      <a:pt x="61" y="233"/>
                      <a:pt x="61" y="233"/>
                    </a:cubicBezTo>
                    <a:cubicBezTo>
                      <a:pt x="61" y="233"/>
                      <a:pt x="33" y="221"/>
                      <a:pt x="34" y="202"/>
                    </a:cubicBezTo>
                    <a:cubicBezTo>
                      <a:pt x="35" y="181"/>
                      <a:pt x="71" y="176"/>
                      <a:pt x="71" y="176"/>
                    </a:cubicBezTo>
                    <a:cubicBezTo>
                      <a:pt x="62" y="178"/>
                      <a:pt x="38" y="183"/>
                      <a:pt x="41" y="205"/>
                    </a:cubicBezTo>
                    <a:close/>
                    <a:moveTo>
                      <a:pt x="603" y="197"/>
                    </a:moveTo>
                    <a:cubicBezTo>
                      <a:pt x="597" y="217"/>
                      <a:pt x="539" y="214"/>
                      <a:pt x="521" y="212"/>
                    </a:cubicBezTo>
                    <a:cubicBezTo>
                      <a:pt x="529" y="212"/>
                      <a:pt x="591" y="213"/>
                      <a:pt x="597" y="197"/>
                    </a:cubicBezTo>
                    <a:cubicBezTo>
                      <a:pt x="602" y="186"/>
                      <a:pt x="585" y="179"/>
                      <a:pt x="581" y="177"/>
                    </a:cubicBezTo>
                    <a:cubicBezTo>
                      <a:pt x="585" y="178"/>
                      <a:pt x="605" y="189"/>
                      <a:pt x="603"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grpSp>
          <p:nvGrpSpPr>
            <p:cNvPr id="29" name="Group 28"/>
            <p:cNvGrpSpPr/>
            <p:nvPr userDrawn="1"/>
          </p:nvGrpSpPr>
          <p:grpSpPr>
            <a:xfrm>
              <a:off x="1005539" y="1479403"/>
              <a:ext cx="909923" cy="457133"/>
              <a:chOff x="1751012" y="1069975"/>
              <a:chExt cx="2359025" cy="1143001"/>
            </a:xfrm>
            <a:solidFill>
              <a:schemeClr val="bg1">
                <a:lumMod val="50000"/>
              </a:schemeClr>
            </a:solidFill>
          </p:grpSpPr>
          <p:sp>
            <p:nvSpPr>
              <p:cNvPr id="30" name="Freeform 30"/>
              <p:cNvSpPr>
                <a:spLocks/>
              </p:cNvSpPr>
              <p:nvPr/>
            </p:nvSpPr>
            <p:spPr bwMode="auto">
              <a:xfrm>
                <a:off x="2827338" y="1069975"/>
                <a:ext cx="1068387" cy="752475"/>
              </a:xfrm>
              <a:custGeom>
                <a:avLst/>
                <a:gdLst>
                  <a:gd name="T0" fmla="*/ 19 w 285"/>
                  <a:gd name="T1" fmla="*/ 61 h 201"/>
                  <a:gd name="T2" fmla="*/ 56 w 285"/>
                  <a:gd name="T3" fmla="*/ 92 h 201"/>
                  <a:gd name="T4" fmla="*/ 74 w 285"/>
                  <a:gd name="T5" fmla="*/ 83 h 201"/>
                  <a:gd name="T6" fmla="*/ 130 w 285"/>
                  <a:gd name="T7" fmla="*/ 122 h 201"/>
                  <a:gd name="T8" fmla="*/ 151 w 285"/>
                  <a:gd name="T9" fmla="*/ 110 h 201"/>
                  <a:gd name="T10" fmla="*/ 152 w 285"/>
                  <a:gd name="T11" fmla="*/ 111 h 201"/>
                  <a:gd name="T12" fmla="*/ 253 w 285"/>
                  <a:gd name="T13" fmla="*/ 184 h 201"/>
                  <a:gd name="T14" fmla="*/ 279 w 285"/>
                  <a:gd name="T15" fmla="*/ 201 h 201"/>
                  <a:gd name="T16" fmla="*/ 285 w 285"/>
                  <a:gd name="T17" fmla="*/ 157 h 201"/>
                  <a:gd name="T18" fmla="*/ 128 w 285"/>
                  <a:gd name="T19" fmla="*/ 0 h 201"/>
                  <a:gd name="T20" fmla="*/ 0 w 285"/>
                  <a:gd name="T21" fmla="*/ 66 h 201"/>
                  <a:gd name="T22" fmla="*/ 2 w 285"/>
                  <a:gd name="T23" fmla="*/ 67 h 201"/>
                  <a:gd name="T24" fmla="*/ 19 w 285"/>
                  <a:gd name="T25" fmla="*/ 6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5" h="201">
                    <a:moveTo>
                      <a:pt x="19" y="61"/>
                    </a:moveTo>
                    <a:cubicBezTo>
                      <a:pt x="56" y="92"/>
                      <a:pt x="56" y="92"/>
                      <a:pt x="56" y="92"/>
                    </a:cubicBezTo>
                    <a:cubicBezTo>
                      <a:pt x="74" y="83"/>
                      <a:pt x="74" y="83"/>
                      <a:pt x="74" y="83"/>
                    </a:cubicBezTo>
                    <a:cubicBezTo>
                      <a:pt x="130" y="122"/>
                      <a:pt x="130" y="122"/>
                      <a:pt x="130" y="122"/>
                    </a:cubicBezTo>
                    <a:cubicBezTo>
                      <a:pt x="151" y="110"/>
                      <a:pt x="151" y="110"/>
                      <a:pt x="151" y="110"/>
                    </a:cubicBezTo>
                    <a:cubicBezTo>
                      <a:pt x="152" y="111"/>
                      <a:pt x="152" y="111"/>
                      <a:pt x="152" y="111"/>
                    </a:cubicBezTo>
                    <a:cubicBezTo>
                      <a:pt x="187" y="140"/>
                      <a:pt x="227" y="166"/>
                      <a:pt x="253" y="184"/>
                    </a:cubicBezTo>
                    <a:cubicBezTo>
                      <a:pt x="267" y="193"/>
                      <a:pt x="275" y="198"/>
                      <a:pt x="279" y="201"/>
                    </a:cubicBezTo>
                    <a:cubicBezTo>
                      <a:pt x="283" y="187"/>
                      <a:pt x="285" y="173"/>
                      <a:pt x="285" y="157"/>
                    </a:cubicBezTo>
                    <a:cubicBezTo>
                      <a:pt x="285" y="70"/>
                      <a:pt x="215" y="0"/>
                      <a:pt x="128" y="0"/>
                    </a:cubicBezTo>
                    <a:cubicBezTo>
                      <a:pt x="75" y="0"/>
                      <a:pt x="29" y="26"/>
                      <a:pt x="0" y="66"/>
                    </a:cubicBezTo>
                    <a:cubicBezTo>
                      <a:pt x="2" y="67"/>
                      <a:pt x="2" y="67"/>
                      <a:pt x="2" y="67"/>
                    </a:cubicBezTo>
                    <a:lnTo>
                      <a:pt x="19"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31" name="Freeform 31"/>
              <p:cNvSpPr>
                <a:spLocks noEditPoints="1"/>
              </p:cNvSpPr>
              <p:nvPr/>
            </p:nvSpPr>
            <p:spPr bwMode="auto">
              <a:xfrm>
                <a:off x="1751012" y="1208088"/>
                <a:ext cx="2359025" cy="1004888"/>
              </a:xfrm>
              <a:custGeom>
                <a:avLst/>
                <a:gdLst>
                  <a:gd name="T0" fmla="*/ 540 w 629"/>
                  <a:gd name="T1" fmla="*/ 154 h 268"/>
                  <a:gd name="T2" fmla="*/ 438 w 629"/>
                  <a:gd name="T3" fmla="*/ 80 h 268"/>
                  <a:gd name="T4" fmla="*/ 361 w 629"/>
                  <a:gd name="T5" fmla="*/ 54 h 268"/>
                  <a:gd name="T6" fmla="*/ 306 w 629"/>
                  <a:gd name="T7" fmla="*/ 31 h 268"/>
                  <a:gd name="T8" fmla="*/ 233 w 629"/>
                  <a:gd name="T9" fmla="*/ 0 h 268"/>
                  <a:gd name="T10" fmla="*/ 190 w 629"/>
                  <a:gd name="T11" fmla="*/ 29 h 268"/>
                  <a:gd name="T12" fmla="*/ 44 w 629"/>
                  <a:gd name="T13" fmla="*/ 163 h 268"/>
                  <a:gd name="T14" fmla="*/ 92 w 629"/>
                  <a:gd name="T15" fmla="*/ 149 h 268"/>
                  <a:gd name="T16" fmla="*/ 110 w 629"/>
                  <a:gd name="T17" fmla="*/ 116 h 268"/>
                  <a:gd name="T18" fmla="*/ 100 w 629"/>
                  <a:gd name="T19" fmla="*/ 111 h 268"/>
                  <a:gd name="T20" fmla="*/ 118 w 629"/>
                  <a:gd name="T21" fmla="*/ 83 h 268"/>
                  <a:gd name="T22" fmla="*/ 190 w 629"/>
                  <a:gd name="T23" fmla="*/ 40 h 268"/>
                  <a:gd name="T24" fmla="*/ 250 w 629"/>
                  <a:gd name="T25" fmla="*/ 49 h 268"/>
                  <a:gd name="T26" fmla="*/ 282 w 629"/>
                  <a:gd name="T27" fmla="*/ 64 h 268"/>
                  <a:gd name="T28" fmla="*/ 303 w 629"/>
                  <a:gd name="T29" fmla="*/ 65 h 268"/>
                  <a:gd name="T30" fmla="*/ 308 w 629"/>
                  <a:gd name="T31" fmla="*/ 39 h 268"/>
                  <a:gd name="T32" fmla="*/ 348 w 629"/>
                  <a:gd name="T33" fmla="*/ 67 h 268"/>
                  <a:gd name="T34" fmla="*/ 408 w 629"/>
                  <a:gd name="T35" fmla="*/ 132 h 268"/>
                  <a:gd name="T36" fmla="*/ 442 w 629"/>
                  <a:gd name="T37" fmla="*/ 139 h 268"/>
                  <a:gd name="T38" fmla="*/ 463 w 629"/>
                  <a:gd name="T39" fmla="*/ 132 h 268"/>
                  <a:gd name="T40" fmla="*/ 519 w 629"/>
                  <a:gd name="T41" fmla="*/ 150 h 268"/>
                  <a:gd name="T42" fmla="*/ 376 w 629"/>
                  <a:gd name="T43" fmla="*/ 185 h 268"/>
                  <a:gd name="T44" fmla="*/ 81 w 629"/>
                  <a:gd name="T45" fmla="*/ 268 h 268"/>
                  <a:gd name="T46" fmla="*/ 108 w 629"/>
                  <a:gd name="T47" fmla="*/ 217 h 268"/>
                  <a:gd name="T48" fmla="*/ 163 w 629"/>
                  <a:gd name="T49" fmla="*/ 219 h 268"/>
                  <a:gd name="T50" fmla="*/ 390 w 629"/>
                  <a:gd name="T51" fmla="*/ 268 h 268"/>
                  <a:gd name="T52" fmla="*/ 613 w 629"/>
                  <a:gd name="T53" fmla="*/ 212 h 268"/>
                  <a:gd name="T54" fmla="*/ 41 w 629"/>
                  <a:gd name="T55" fmla="*/ 205 h 268"/>
                  <a:gd name="T56" fmla="*/ 34 w 629"/>
                  <a:gd name="T57" fmla="*/ 202 h 268"/>
                  <a:gd name="T58" fmla="*/ 41 w 629"/>
                  <a:gd name="T59" fmla="*/ 205 h 268"/>
                  <a:gd name="T60" fmla="*/ 521 w 629"/>
                  <a:gd name="T61" fmla="*/ 212 h 268"/>
                  <a:gd name="T62" fmla="*/ 581 w 629"/>
                  <a:gd name="T63" fmla="*/ 17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29" h="268">
                    <a:moveTo>
                      <a:pt x="559" y="166"/>
                    </a:moveTo>
                    <a:cubicBezTo>
                      <a:pt x="554" y="163"/>
                      <a:pt x="547" y="159"/>
                      <a:pt x="540" y="154"/>
                    </a:cubicBezTo>
                    <a:cubicBezTo>
                      <a:pt x="514" y="137"/>
                      <a:pt x="474" y="110"/>
                      <a:pt x="439" y="81"/>
                    </a:cubicBezTo>
                    <a:cubicBezTo>
                      <a:pt x="438" y="80"/>
                      <a:pt x="438" y="80"/>
                      <a:pt x="438" y="80"/>
                    </a:cubicBezTo>
                    <a:cubicBezTo>
                      <a:pt x="417" y="93"/>
                      <a:pt x="417" y="93"/>
                      <a:pt x="417" y="93"/>
                    </a:cubicBezTo>
                    <a:cubicBezTo>
                      <a:pt x="361" y="54"/>
                      <a:pt x="361" y="54"/>
                      <a:pt x="361" y="54"/>
                    </a:cubicBezTo>
                    <a:cubicBezTo>
                      <a:pt x="343" y="62"/>
                      <a:pt x="343" y="62"/>
                      <a:pt x="343" y="62"/>
                    </a:cubicBezTo>
                    <a:cubicBezTo>
                      <a:pt x="306" y="31"/>
                      <a:pt x="306" y="31"/>
                      <a:pt x="306" y="31"/>
                    </a:cubicBezTo>
                    <a:cubicBezTo>
                      <a:pt x="289" y="38"/>
                      <a:pt x="289" y="38"/>
                      <a:pt x="289" y="38"/>
                    </a:cubicBezTo>
                    <a:cubicBezTo>
                      <a:pt x="233" y="0"/>
                      <a:pt x="233" y="0"/>
                      <a:pt x="233" y="0"/>
                    </a:cubicBezTo>
                    <a:cubicBezTo>
                      <a:pt x="231" y="2"/>
                      <a:pt x="231" y="2"/>
                      <a:pt x="231" y="2"/>
                    </a:cubicBezTo>
                    <a:cubicBezTo>
                      <a:pt x="224" y="9"/>
                      <a:pt x="197" y="29"/>
                      <a:pt x="190" y="29"/>
                    </a:cubicBezTo>
                    <a:cubicBezTo>
                      <a:pt x="184" y="25"/>
                      <a:pt x="174" y="13"/>
                      <a:pt x="174" y="13"/>
                    </a:cubicBezTo>
                    <a:cubicBezTo>
                      <a:pt x="174" y="13"/>
                      <a:pt x="82" y="112"/>
                      <a:pt x="44" y="163"/>
                    </a:cubicBezTo>
                    <a:cubicBezTo>
                      <a:pt x="97" y="121"/>
                      <a:pt x="97" y="121"/>
                      <a:pt x="97" y="121"/>
                    </a:cubicBezTo>
                    <a:cubicBezTo>
                      <a:pt x="92" y="149"/>
                      <a:pt x="92" y="149"/>
                      <a:pt x="92" y="149"/>
                    </a:cubicBezTo>
                    <a:cubicBezTo>
                      <a:pt x="149" y="79"/>
                      <a:pt x="149" y="79"/>
                      <a:pt x="149" y="79"/>
                    </a:cubicBezTo>
                    <a:cubicBezTo>
                      <a:pt x="110" y="116"/>
                      <a:pt x="110" y="116"/>
                      <a:pt x="110" y="116"/>
                    </a:cubicBezTo>
                    <a:cubicBezTo>
                      <a:pt x="156" y="53"/>
                      <a:pt x="156" y="53"/>
                      <a:pt x="156" y="53"/>
                    </a:cubicBezTo>
                    <a:cubicBezTo>
                      <a:pt x="100" y="111"/>
                      <a:pt x="100" y="111"/>
                      <a:pt x="100" y="111"/>
                    </a:cubicBezTo>
                    <a:cubicBezTo>
                      <a:pt x="118" y="83"/>
                      <a:pt x="118" y="83"/>
                      <a:pt x="118" y="83"/>
                    </a:cubicBezTo>
                    <a:cubicBezTo>
                      <a:pt x="118" y="83"/>
                      <a:pt x="118" y="83"/>
                      <a:pt x="118" y="83"/>
                    </a:cubicBezTo>
                    <a:cubicBezTo>
                      <a:pt x="151" y="49"/>
                      <a:pt x="174" y="27"/>
                      <a:pt x="174" y="27"/>
                    </a:cubicBezTo>
                    <a:cubicBezTo>
                      <a:pt x="174" y="27"/>
                      <a:pt x="183" y="38"/>
                      <a:pt x="190" y="40"/>
                    </a:cubicBezTo>
                    <a:cubicBezTo>
                      <a:pt x="199" y="35"/>
                      <a:pt x="222" y="20"/>
                      <a:pt x="222" y="20"/>
                    </a:cubicBezTo>
                    <a:cubicBezTo>
                      <a:pt x="250" y="49"/>
                      <a:pt x="250" y="49"/>
                      <a:pt x="250" y="49"/>
                    </a:cubicBezTo>
                    <a:cubicBezTo>
                      <a:pt x="240" y="21"/>
                      <a:pt x="240" y="21"/>
                      <a:pt x="240" y="21"/>
                    </a:cubicBezTo>
                    <a:cubicBezTo>
                      <a:pt x="282" y="64"/>
                      <a:pt x="282" y="64"/>
                      <a:pt x="282" y="64"/>
                    </a:cubicBezTo>
                    <a:cubicBezTo>
                      <a:pt x="274" y="43"/>
                      <a:pt x="274" y="43"/>
                      <a:pt x="274" y="43"/>
                    </a:cubicBezTo>
                    <a:cubicBezTo>
                      <a:pt x="303" y="65"/>
                      <a:pt x="303" y="65"/>
                      <a:pt x="303" y="65"/>
                    </a:cubicBezTo>
                    <a:cubicBezTo>
                      <a:pt x="296" y="47"/>
                      <a:pt x="296" y="47"/>
                      <a:pt x="296" y="47"/>
                    </a:cubicBezTo>
                    <a:cubicBezTo>
                      <a:pt x="308" y="39"/>
                      <a:pt x="308" y="39"/>
                      <a:pt x="308" y="39"/>
                    </a:cubicBezTo>
                    <a:cubicBezTo>
                      <a:pt x="353" y="89"/>
                      <a:pt x="353" y="89"/>
                      <a:pt x="353" y="89"/>
                    </a:cubicBezTo>
                    <a:cubicBezTo>
                      <a:pt x="348" y="67"/>
                      <a:pt x="348" y="67"/>
                      <a:pt x="348" y="67"/>
                    </a:cubicBezTo>
                    <a:cubicBezTo>
                      <a:pt x="415" y="155"/>
                      <a:pt x="415" y="155"/>
                      <a:pt x="415" y="155"/>
                    </a:cubicBezTo>
                    <a:cubicBezTo>
                      <a:pt x="408" y="132"/>
                      <a:pt x="408" y="132"/>
                      <a:pt x="408" y="132"/>
                    </a:cubicBezTo>
                    <a:cubicBezTo>
                      <a:pt x="457" y="167"/>
                      <a:pt x="457" y="167"/>
                      <a:pt x="457" y="167"/>
                    </a:cubicBezTo>
                    <a:cubicBezTo>
                      <a:pt x="456" y="162"/>
                      <a:pt x="442" y="139"/>
                      <a:pt x="442" y="139"/>
                    </a:cubicBezTo>
                    <a:cubicBezTo>
                      <a:pt x="489" y="169"/>
                      <a:pt x="489" y="169"/>
                      <a:pt x="489" y="169"/>
                    </a:cubicBezTo>
                    <a:cubicBezTo>
                      <a:pt x="463" y="132"/>
                      <a:pt x="463" y="132"/>
                      <a:pt x="463" y="132"/>
                    </a:cubicBezTo>
                    <a:cubicBezTo>
                      <a:pt x="545" y="167"/>
                      <a:pt x="545" y="167"/>
                      <a:pt x="545" y="167"/>
                    </a:cubicBezTo>
                    <a:cubicBezTo>
                      <a:pt x="540" y="164"/>
                      <a:pt x="530" y="157"/>
                      <a:pt x="519" y="150"/>
                    </a:cubicBezTo>
                    <a:cubicBezTo>
                      <a:pt x="543" y="163"/>
                      <a:pt x="562" y="170"/>
                      <a:pt x="569" y="174"/>
                    </a:cubicBezTo>
                    <a:cubicBezTo>
                      <a:pt x="600" y="197"/>
                      <a:pt x="510" y="211"/>
                      <a:pt x="376" y="185"/>
                    </a:cubicBezTo>
                    <a:cubicBezTo>
                      <a:pt x="300" y="170"/>
                      <a:pt x="133" y="134"/>
                      <a:pt x="43" y="172"/>
                    </a:cubicBezTo>
                    <a:cubicBezTo>
                      <a:pt x="1" y="191"/>
                      <a:pt x="0" y="239"/>
                      <a:pt x="81" y="268"/>
                    </a:cubicBezTo>
                    <a:cubicBezTo>
                      <a:pt x="86" y="268"/>
                      <a:pt x="169" y="268"/>
                      <a:pt x="172" y="268"/>
                    </a:cubicBezTo>
                    <a:cubicBezTo>
                      <a:pt x="150" y="256"/>
                      <a:pt x="125" y="239"/>
                      <a:pt x="108" y="217"/>
                    </a:cubicBezTo>
                    <a:cubicBezTo>
                      <a:pt x="82" y="183"/>
                      <a:pt x="143" y="169"/>
                      <a:pt x="243" y="177"/>
                    </a:cubicBezTo>
                    <a:cubicBezTo>
                      <a:pt x="179" y="174"/>
                      <a:pt x="115" y="182"/>
                      <a:pt x="163" y="219"/>
                    </a:cubicBezTo>
                    <a:cubicBezTo>
                      <a:pt x="189" y="240"/>
                      <a:pt x="230" y="256"/>
                      <a:pt x="273" y="268"/>
                    </a:cubicBezTo>
                    <a:cubicBezTo>
                      <a:pt x="282" y="268"/>
                      <a:pt x="388" y="268"/>
                      <a:pt x="390" y="268"/>
                    </a:cubicBezTo>
                    <a:cubicBezTo>
                      <a:pt x="298" y="251"/>
                      <a:pt x="195" y="227"/>
                      <a:pt x="209" y="206"/>
                    </a:cubicBezTo>
                    <a:cubicBezTo>
                      <a:pt x="238" y="159"/>
                      <a:pt x="572" y="263"/>
                      <a:pt x="613" y="212"/>
                    </a:cubicBezTo>
                    <a:cubicBezTo>
                      <a:pt x="629" y="191"/>
                      <a:pt x="584" y="174"/>
                      <a:pt x="559" y="166"/>
                    </a:cubicBezTo>
                    <a:close/>
                    <a:moveTo>
                      <a:pt x="41" y="205"/>
                    </a:moveTo>
                    <a:cubicBezTo>
                      <a:pt x="44" y="221"/>
                      <a:pt x="61" y="233"/>
                      <a:pt x="61" y="233"/>
                    </a:cubicBezTo>
                    <a:cubicBezTo>
                      <a:pt x="61" y="233"/>
                      <a:pt x="33" y="221"/>
                      <a:pt x="34" y="202"/>
                    </a:cubicBezTo>
                    <a:cubicBezTo>
                      <a:pt x="35" y="181"/>
                      <a:pt x="71" y="176"/>
                      <a:pt x="71" y="176"/>
                    </a:cubicBezTo>
                    <a:cubicBezTo>
                      <a:pt x="62" y="178"/>
                      <a:pt x="38" y="183"/>
                      <a:pt x="41" y="205"/>
                    </a:cubicBezTo>
                    <a:close/>
                    <a:moveTo>
                      <a:pt x="603" y="197"/>
                    </a:moveTo>
                    <a:cubicBezTo>
                      <a:pt x="597" y="217"/>
                      <a:pt x="539" y="214"/>
                      <a:pt x="521" y="212"/>
                    </a:cubicBezTo>
                    <a:cubicBezTo>
                      <a:pt x="529" y="212"/>
                      <a:pt x="591" y="213"/>
                      <a:pt x="597" y="197"/>
                    </a:cubicBezTo>
                    <a:cubicBezTo>
                      <a:pt x="602" y="186"/>
                      <a:pt x="585" y="179"/>
                      <a:pt x="581" y="177"/>
                    </a:cubicBezTo>
                    <a:cubicBezTo>
                      <a:pt x="585" y="178"/>
                      <a:pt x="605" y="189"/>
                      <a:pt x="603"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grpSp>
      <p:sp>
        <p:nvSpPr>
          <p:cNvPr id="10" name="Picture Placeholder 9"/>
          <p:cNvSpPr>
            <a:spLocks noGrp="1"/>
          </p:cNvSpPr>
          <p:nvPr>
            <p:ph type="pic" sz="quarter" idx="12" hasCustomPrompt="1"/>
          </p:nvPr>
        </p:nvSpPr>
        <p:spPr>
          <a:xfrm>
            <a:off x="611720" y="1736704"/>
            <a:ext cx="2671233" cy="1690688"/>
          </a:xfrm>
          <a:ln>
            <a:solidFill>
              <a:schemeClr val="tx1"/>
            </a:solidFill>
          </a:ln>
        </p:spPr>
        <p:txBody>
          <a:bodyPr tIns="1280160" rIns="109728" bIns="274320" anchor="b" anchorCtr="0"/>
          <a:lstStyle>
            <a:lvl1pPr marL="0" indent="0" algn="ctr">
              <a:buNone/>
              <a:defRPr sz="1600" baseline="0"/>
            </a:lvl1pPr>
          </a:lstStyle>
          <a:p>
            <a:r>
              <a:rPr lang="en-US" dirty="0"/>
              <a:t>CLICK ▲ ICON                   to add photo</a:t>
            </a:r>
          </a:p>
        </p:txBody>
      </p:sp>
      <p:sp>
        <p:nvSpPr>
          <p:cNvPr id="11" name="Picture Placeholder 9"/>
          <p:cNvSpPr>
            <a:spLocks noGrp="1"/>
          </p:cNvSpPr>
          <p:nvPr>
            <p:ph type="pic" sz="quarter" idx="13" hasCustomPrompt="1"/>
          </p:nvPr>
        </p:nvSpPr>
        <p:spPr>
          <a:xfrm>
            <a:off x="611720" y="4302635"/>
            <a:ext cx="2671233" cy="1690688"/>
          </a:xfrm>
          <a:ln>
            <a:solidFill>
              <a:schemeClr val="tx1"/>
            </a:solidFill>
          </a:ln>
        </p:spPr>
        <p:txBody>
          <a:bodyPr tIns="1280160" rIns="109728" bIns="274320" anchor="b" anchorCtr="0"/>
          <a:lstStyle>
            <a:lvl1pPr marL="0" indent="0" algn="ctr" defTabSz="1219170" rtl="0" eaLnBrk="1" latinLnBrk="0" hangingPunct="1">
              <a:lnSpc>
                <a:spcPct val="90000"/>
              </a:lnSpc>
              <a:spcBef>
                <a:spcPts val="2400"/>
              </a:spcBef>
              <a:buClr>
                <a:srgbClr val="00A9E0"/>
              </a:buClr>
              <a:buSzPct val="100000"/>
              <a:buFont typeface="Arial" panose="020B0604020202020204" pitchFamily="34" charset="0"/>
              <a:buNone/>
              <a:defRPr lang="en-US" sz="1600" b="0" kern="1200" baseline="0" dirty="0">
                <a:solidFill>
                  <a:srgbClr val="000000"/>
                </a:solidFill>
                <a:latin typeface="Arial" panose="020B0604020202020204" pitchFamily="34" charset="0"/>
                <a:ea typeface="+mn-ea"/>
                <a:cs typeface="Arial" panose="020B0604020202020204" pitchFamily="34" charset="0"/>
              </a:defRPr>
            </a:lvl1pPr>
          </a:lstStyle>
          <a:p>
            <a:r>
              <a:rPr lang="en-US" dirty="0"/>
              <a:t>CLICK ▲ ICON                   to add photo</a:t>
            </a:r>
          </a:p>
        </p:txBody>
      </p:sp>
      <p:sp>
        <p:nvSpPr>
          <p:cNvPr id="2" name="Title 1"/>
          <p:cNvSpPr>
            <a:spLocks noGrp="1"/>
          </p:cNvSpPr>
          <p:nvPr userDrawn="1">
            <p:ph type="title" hasCustomPrompt="1"/>
          </p:nvPr>
        </p:nvSpPr>
        <p:spPr/>
        <p:txBody>
          <a:bodyPr/>
          <a:lstStyle>
            <a:lvl1pPr>
              <a:defRPr sz="3200"/>
            </a:lvl1pPr>
          </a:lstStyle>
          <a:p>
            <a:r>
              <a:rPr lang="en-US" dirty="0"/>
              <a:t>Comparing two items or features</a:t>
            </a:r>
          </a:p>
        </p:txBody>
      </p:sp>
      <p:sp>
        <p:nvSpPr>
          <p:cNvPr id="4" name="Text Placeholder 3"/>
          <p:cNvSpPr>
            <a:spLocks noGrp="1"/>
          </p:cNvSpPr>
          <p:nvPr userDrawn="1">
            <p:ph type="body" sz="quarter" idx="10" hasCustomPrompt="1"/>
          </p:nvPr>
        </p:nvSpPr>
        <p:spPr>
          <a:xfrm>
            <a:off x="3676357" y="1535378"/>
            <a:ext cx="7908160" cy="2103396"/>
          </a:xfrm>
        </p:spPr>
        <p:txBody>
          <a:bodyPr/>
          <a:lstStyle>
            <a:lvl1pPr marL="0" indent="0">
              <a:buNone/>
              <a:defRPr sz="2133" baseline="0"/>
            </a:lvl1pPr>
          </a:lstStyle>
          <a:p>
            <a:pPr lvl="0"/>
            <a:r>
              <a:rPr lang="en-US" dirty="0"/>
              <a:t>Enter your text here</a:t>
            </a:r>
          </a:p>
        </p:txBody>
      </p:sp>
      <p:sp>
        <p:nvSpPr>
          <p:cNvPr id="5" name="Text Placeholder 3"/>
          <p:cNvSpPr>
            <a:spLocks noGrp="1"/>
          </p:cNvSpPr>
          <p:nvPr userDrawn="1">
            <p:ph type="body" sz="quarter" idx="11" hasCustomPrompt="1"/>
          </p:nvPr>
        </p:nvSpPr>
        <p:spPr>
          <a:xfrm>
            <a:off x="3676357" y="4128454"/>
            <a:ext cx="7908160" cy="2058407"/>
          </a:xfrm>
        </p:spPr>
        <p:txBody>
          <a:bodyPr/>
          <a:lstStyle>
            <a:lvl1pPr marL="0" indent="0">
              <a:buNone/>
              <a:defRPr sz="2133"/>
            </a:lvl1pPr>
          </a:lstStyle>
          <a:p>
            <a:pPr lvl="0"/>
            <a:r>
              <a:rPr lang="en-US" dirty="0"/>
              <a:t>Enter your text here</a:t>
            </a:r>
          </a:p>
        </p:txBody>
      </p:sp>
      <p:cxnSp>
        <p:nvCxnSpPr>
          <p:cNvPr id="7" name="Straight Connector 6"/>
          <p:cNvCxnSpPr/>
          <p:nvPr userDrawn="1"/>
        </p:nvCxnSpPr>
        <p:spPr>
          <a:xfrm>
            <a:off x="611717" y="3860359"/>
            <a:ext cx="11580283"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21" name="Text Placeholder 4"/>
          <p:cNvSpPr>
            <a:spLocks noGrp="1"/>
          </p:cNvSpPr>
          <p:nvPr userDrawn="1">
            <p:ph type="body" sz="quarter" idx="14" hasCustomPrompt="1"/>
          </p:nvPr>
        </p:nvSpPr>
        <p:spPr>
          <a:xfrm>
            <a:off x="589139" y="881767"/>
            <a:ext cx="10972800" cy="366932"/>
          </a:xfrm>
        </p:spPr>
        <p:txBody>
          <a:bodyPr/>
          <a:lstStyle>
            <a:lvl1pPr marL="0" indent="0">
              <a:buNone/>
              <a:defRPr sz="2667" baseline="0"/>
            </a:lvl1pPr>
            <a:lvl2pPr marL="302675" indent="0">
              <a:buNone/>
              <a:defRPr/>
            </a:lvl2pPr>
          </a:lstStyle>
          <a:p>
            <a:pPr lvl="0"/>
            <a:r>
              <a:rPr lang="en-US" dirty="0"/>
              <a:t>Sub-header optional—delete if not needed</a:t>
            </a:r>
          </a:p>
        </p:txBody>
      </p:sp>
      <p:sp>
        <p:nvSpPr>
          <p:cNvPr id="22" name="Text Placeholder 5"/>
          <p:cNvSpPr>
            <a:spLocks noGrp="1"/>
          </p:cNvSpPr>
          <p:nvPr userDrawn="1">
            <p:ph type="body" sz="quarter" idx="15" hasCustomPrompt="1"/>
          </p:nvPr>
        </p:nvSpPr>
        <p:spPr>
          <a:xfrm>
            <a:off x="3138793" y="6560363"/>
            <a:ext cx="5927388" cy="214955"/>
          </a:xfrm>
        </p:spPr>
        <p:txBody>
          <a:bodyPr/>
          <a:lstStyle>
            <a:lvl1pPr marL="0" indent="0" algn="ctr">
              <a:buNone/>
              <a:defRPr sz="933" baseline="0"/>
            </a:lvl1pPr>
          </a:lstStyle>
          <a:p>
            <a:pPr lvl="0"/>
            <a:r>
              <a:rPr lang="en-US" dirty="0"/>
              <a:t>For internal use only.</a:t>
            </a:r>
          </a:p>
        </p:txBody>
      </p:sp>
      <p:grpSp>
        <p:nvGrpSpPr>
          <p:cNvPr id="23" name="Group 22"/>
          <p:cNvGrpSpPr/>
          <p:nvPr userDrawn="1"/>
        </p:nvGrpSpPr>
        <p:grpSpPr>
          <a:xfrm>
            <a:off x="-2120087" y="1725355"/>
            <a:ext cx="1879365" cy="2359171"/>
            <a:chOff x="-1663544" y="2872984"/>
            <a:chExt cx="1409524" cy="2359171"/>
          </a:xfrm>
        </p:grpSpPr>
        <p:pic>
          <p:nvPicPr>
            <p:cNvPr id="2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663544" y="4584536"/>
              <a:ext cx="1409524" cy="6476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TextBox 24"/>
            <p:cNvSpPr txBox="1"/>
            <p:nvPr/>
          </p:nvSpPr>
          <p:spPr>
            <a:xfrm>
              <a:off x="-1663544" y="2872984"/>
              <a:ext cx="1386540" cy="1384995"/>
            </a:xfrm>
            <a:prstGeom prst="rect">
              <a:avLst/>
            </a:prstGeom>
            <a:noFill/>
          </p:spPr>
          <p:txBody>
            <a:bodyPr wrap="square" rtlCol="0">
              <a:spAutoFit/>
            </a:bodyPr>
            <a:lstStyle/>
            <a:p>
              <a:r>
                <a:rPr lang="en-US" sz="1400" dirty="0"/>
                <a:t>To crop image or reposition image inside of frame, right click on the image and select the crop tool</a:t>
              </a:r>
            </a:p>
          </p:txBody>
        </p:sp>
      </p:grpSp>
    </p:spTree>
    <p:extLst>
      <p:ext uri="{BB962C8B-B14F-4D97-AF65-F5344CB8AC3E}">
        <p14:creationId xmlns:p14="http://schemas.microsoft.com/office/powerpoint/2010/main" val="199608583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Panoramic image with text">
    <p:spTree>
      <p:nvGrpSpPr>
        <p:cNvPr id="1" name=""/>
        <p:cNvGrpSpPr/>
        <p:nvPr/>
      </p:nvGrpSpPr>
      <p:grpSpPr>
        <a:xfrm>
          <a:off x="0" y="0"/>
          <a:ext cx="0" cy="0"/>
          <a:chOff x="0" y="0"/>
          <a:chExt cx="0" cy="0"/>
        </a:xfrm>
      </p:grpSpPr>
      <p:sp>
        <p:nvSpPr>
          <p:cNvPr id="12" name="Rectangle 11"/>
          <p:cNvSpPr/>
          <p:nvPr userDrawn="1"/>
        </p:nvSpPr>
        <p:spPr>
          <a:xfrm>
            <a:off x="737514" y="4229107"/>
            <a:ext cx="10638060" cy="1836964"/>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0" name="Picture Placeholder 9"/>
          <p:cNvSpPr>
            <a:spLocks noGrp="1"/>
          </p:cNvSpPr>
          <p:nvPr>
            <p:ph type="pic" sz="quarter" idx="12" hasCustomPrompt="1"/>
          </p:nvPr>
        </p:nvSpPr>
        <p:spPr>
          <a:xfrm>
            <a:off x="611717" y="4101880"/>
            <a:ext cx="10972800" cy="2078491"/>
          </a:xfrm>
          <a:ln>
            <a:solidFill>
              <a:schemeClr val="tx1"/>
            </a:solidFill>
          </a:ln>
        </p:spPr>
        <p:txBody>
          <a:bodyPr tIns="1097280" bIns="274320" anchor="b" anchorCtr="0"/>
          <a:lstStyle>
            <a:lvl1pPr marL="0" indent="0" algn="ctr">
              <a:buNone/>
              <a:defRPr sz="1600" baseline="0"/>
            </a:lvl1pPr>
          </a:lstStyle>
          <a:p>
            <a:r>
              <a:rPr lang="en-US" dirty="0"/>
              <a:t>CLICK ▲ ICON                                                                                                                                                                                   to add photo</a:t>
            </a:r>
          </a:p>
        </p:txBody>
      </p:sp>
      <p:grpSp>
        <p:nvGrpSpPr>
          <p:cNvPr id="14" name="Group 13"/>
          <p:cNvGrpSpPr/>
          <p:nvPr userDrawn="1"/>
        </p:nvGrpSpPr>
        <p:grpSpPr>
          <a:xfrm>
            <a:off x="883131" y="4524386"/>
            <a:ext cx="2759955" cy="1386564"/>
            <a:chOff x="1751012" y="1069975"/>
            <a:chExt cx="2359025" cy="1143001"/>
          </a:xfrm>
          <a:solidFill>
            <a:schemeClr val="bg1">
              <a:lumMod val="50000"/>
            </a:schemeClr>
          </a:solidFill>
        </p:grpSpPr>
        <p:sp>
          <p:nvSpPr>
            <p:cNvPr id="15" name="Freeform 30"/>
            <p:cNvSpPr>
              <a:spLocks/>
            </p:cNvSpPr>
            <p:nvPr/>
          </p:nvSpPr>
          <p:spPr bwMode="auto">
            <a:xfrm>
              <a:off x="2827338" y="1069975"/>
              <a:ext cx="1068387" cy="752475"/>
            </a:xfrm>
            <a:custGeom>
              <a:avLst/>
              <a:gdLst>
                <a:gd name="T0" fmla="*/ 19 w 285"/>
                <a:gd name="T1" fmla="*/ 61 h 201"/>
                <a:gd name="T2" fmla="*/ 56 w 285"/>
                <a:gd name="T3" fmla="*/ 92 h 201"/>
                <a:gd name="T4" fmla="*/ 74 w 285"/>
                <a:gd name="T5" fmla="*/ 83 h 201"/>
                <a:gd name="T6" fmla="*/ 130 w 285"/>
                <a:gd name="T7" fmla="*/ 122 h 201"/>
                <a:gd name="T8" fmla="*/ 151 w 285"/>
                <a:gd name="T9" fmla="*/ 110 h 201"/>
                <a:gd name="T10" fmla="*/ 152 w 285"/>
                <a:gd name="T11" fmla="*/ 111 h 201"/>
                <a:gd name="T12" fmla="*/ 253 w 285"/>
                <a:gd name="T13" fmla="*/ 184 h 201"/>
                <a:gd name="T14" fmla="*/ 279 w 285"/>
                <a:gd name="T15" fmla="*/ 201 h 201"/>
                <a:gd name="T16" fmla="*/ 285 w 285"/>
                <a:gd name="T17" fmla="*/ 157 h 201"/>
                <a:gd name="T18" fmla="*/ 128 w 285"/>
                <a:gd name="T19" fmla="*/ 0 h 201"/>
                <a:gd name="T20" fmla="*/ 0 w 285"/>
                <a:gd name="T21" fmla="*/ 66 h 201"/>
                <a:gd name="T22" fmla="*/ 2 w 285"/>
                <a:gd name="T23" fmla="*/ 67 h 201"/>
                <a:gd name="T24" fmla="*/ 19 w 285"/>
                <a:gd name="T25" fmla="*/ 6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5" h="201">
                  <a:moveTo>
                    <a:pt x="19" y="61"/>
                  </a:moveTo>
                  <a:cubicBezTo>
                    <a:pt x="56" y="92"/>
                    <a:pt x="56" y="92"/>
                    <a:pt x="56" y="92"/>
                  </a:cubicBezTo>
                  <a:cubicBezTo>
                    <a:pt x="74" y="83"/>
                    <a:pt x="74" y="83"/>
                    <a:pt x="74" y="83"/>
                  </a:cubicBezTo>
                  <a:cubicBezTo>
                    <a:pt x="130" y="122"/>
                    <a:pt x="130" y="122"/>
                    <a:pt x="130" y="122"/>
                  </a:cubicBezTo>
                  <a:cubicBezTo>
                    <a:pt x="151" y="110"/>
                    <a:pt x="151" y="110"/>
                    <a:pt x="151" y="110"/>
                  </a:cubicBezTo>
                  <a:cubicBezTo>
                    <a:pt x="152" y="111"/>
                    <a:pt x="152" y="111"/>
                    <a:pt x="152" y="111"/>
                  </a:cubicBezTo>
                  <a:cubicBezTo>
                    <a:pt x="187" y="140"/>
                    <a:pt x="227" y="166"/>
                    <a:pt x="253" y="184"/>
                  </a:cubicBezTo>
                  <a:cubicBezTo>
                    <a:pt x="267" y="193"/>
                    <a:pt x="275" y="198"/>
                    <a:pt x="279" y="201"/>
                  </a:cubicBezTo>
                  <a:cubicBezTo>
                    <a:pt x="283" y="187"/>
                    <a:pt x="285" y="173"/>
                    <a:pt x="285" y="157"/>
                  </a:cubicBezTo>
                  <a:cubicBezTo>
                    <a:pt x="285" y="70"/>
                    <a:pt x="215" y="0"/>
                    <a:pt x="128" y="0"/>
                  </a:cubicBezTo>
                  <a:cubicBezTo>
                    <a:pt x="75" y="0"/>
                    <a:pt x="29" y="26"/>
                    <a:pt x="0" y="66"/>
                  </a:cubicBezTo>
                  <a:cubicBezTo>
                    <a:pt x="2" y="67"/>
                    <a:pt x="2" y="67"/>
                    <a:pt x="2" y="67"/>
                  </a:cubicBezTo>
                  <a:lnTo>
                    <a:pt x="19"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6" name="Freeform 31"/>
            <p:cNvSpPr>
              <a:spLocks noEditPoints="1"/>
            </p:cNvSpPr>
            <p:nvPr/>
          </p:nvSpPr>
          <p:spPr bwMode="auto">
            <a:xfrm>
              <a:off x="1751012" y="1208088"/>
              <a:ext cx="2359025" cy="1004888"/>
            </a:xfrm>
            <a:custGeom>
              <a:avLst/>
              <a:gdLst>
                <a:gd name="T0" fmla="*/ 540 w 629"/>
                <a:gd name="T1" fmla="*/ 154 h 268"/>
                <a:gd name="T2" fmla="*/ 438 w 629"/>
                <a:gd name="T3" fmla="*/ 80 h 268"/>
                <a:gd name="T4" fmla="*/ 361 w 629"/>
                <a:gd name="T5" fmla="*/ 54 h 268"/>
                <a:gd name="T6" fmla="*/ 306 w 629"/>
                <a:gd name="T7" fmla="*/ 31 h 268"/>
                <a:gd name="T8" fmla="*/ 233 w 629"/>
                <a:gd name="T9" fmla="*/ 0 h 268"/>
                <a:gd name="T10" fmla="*/ 190 w 629"/>
                <a:gd name="T11" fmla="*/ 29 h 268"/>
                <a:gd name="T12" fmla="*/ 44 w 629"/>
                <a:gd name="T13" fmla="*/ 163 h 268"/>
                <a:gd name="T14" fmla="*/ 92 w 629"/>
                <a:gd name="T15" fmla="*/ 149 h 268"/>
                <a:gd name="T16" fmla="*/ 110 w 629"/>
                <a:gd name="T17" fmla="*/ 116 h 268"/>
                <a:gd name="T18" fmla="*/ 100 w 629"/>
                <a:gd name="T19" fmla="*/ 111 h 268"/>
                <a:gd name="T20" fmla="*/ 118 w 629"/>
                <a:gd name="T21" fmla="*/ 83 h 268"/>
                <a:gd name="T22" fmla="*/ 190 w 629"/>
                <a:gd name="T23" fmla="*/ 40 h 268"/>
                <a:gd name="T24" fmla="*/ 250 w 629"/>
                <a:gd name="T25" fmla="*/ 49 h 268"/>
                <a:gd name="T26" fmla="*/ 282 w 629"/>
                <a:gd name="T27" fmla="*/ 64 h 268"/>
                <a:gd name="T28" fmla="*/ 303 w 629"/>
                <a:gd name="T29" fmla="*/ 65 h 268"/>
                <a:gd name="T30" fmla="*/ 308 w 629"/>
                <a:gd name="T31" fmla="*/ 39 h 268"/>
                <a:gd name="T32" fmla="*/ 348 w 629"/>
                <a:gd name="T33" fmla="*/ 67 h 268"/>
                <a:gd name="T34" fmla="*/ 408 w 629"/>
                <a:gd name="T35" fmla="*/ 132 h 268"/>
                <a:gd name="T36" fmla="*/ 442 w 629"/>
                <a:gd name="T37" fmla="*/ 139 h 268"/>
                <a:gd name="T38" fmla="*/ 463 w 629"/>
                <a:gd name="T39" fmla="*/ 132 h 268"/>
                <a:gd name="T40" fmla="*/ 519 w 629"/>
                <a:gd name="T41" fmla="*/ 150 h 268"/>
                <a:gd name="T42" fmla="*/ 376 w 629"/>
                <a:gd name="T43" fmla="*/ 185 h 268"/>
                <a:gd name="T44" fmla="*/ 81 w 629"/>
                <a:gd name="T45" fmla="*/ 268 h 268"/>
                <a:gd name="T46" fmla="*/ 108 w 629"/>
                <a:gd name="T47" fmla="*/ 217 h 268"/>
                <a:gd name="T48" fmla="*/ 163 w 629"/>
                <a:gd name="T49" fmla="*/ 219 h 268"/>
                <a:gd name="T50" fmla="*/ 390 w 629"/>
                <a:gd name="T51" fmla="*/ 268 h 268"/>
                <a:gd name="T52" fmla="*/ 613 w 629"/>
                <a:gd name="T53" fmla="*/ 212 h 268"/>
                <a:gd name="T54" fmla="*/ 41 w 629"/>
                <a:gd name="T55" fmla="*/ 205 h 268"/>
                <a:gd name="T56" fmla="*/ 34 w 629"/>
                <a:gd name="T57" fmla="*/ 202 h 268"/>
                <a:gd name="T58" fmla="*/ 41 w 629"/>
                <a:gd name="T59" fmla="*/ 205 h 268"/>
                <a:gd name="T60" fmla="*/ 521 w 629"/>
                <a:gd name="T61" fmla="*/ 212 h 268"/>
                <a:gd name="T62" fmla="*/ 581 w 629"/>
                <a:gd name="T63" fmla="*/ 17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29" h="268">
                  <a:moveTo>
                    <a:pt x="559" y="166"/>
                  </a:moveTo>
                  <a:cubicBezTo>
                    <a:pt x="554" y="163"/>
                    <a:pt x="547" y="159"/>
                    <a:pt x="540" y="154"/>
                  </a:cubicBezTo>
                  <a:cubicBezTo>
                    <a:pt x="514" y="137"/>
                    <a:pt x="474" y="110"/>
                    <a:pt x="439" y="81"/>
                  </a:cubicBezTo>
                  <a:cubicBezTo>
                    <a:pt x="438" y="80"/>
                    <a:pt x="438" y="80"/>
                    <a:pt x="438" y="80"/>
                  </a:cubicBezTo>
                  <a:cubicBezTo>
                    <a:pt x="417" y="93"/>
                    <a:pt x="417" y="93"/>
                    <a:pt x="417" y="93"/>
                  </a:cubicBezTo>
                  <a:cubicBezTo>
                    <a:pt x="361" y="54"/>
                    <a:pt x="361" y="54"/>
                    <a:pt x="361" y="54"/>
                  </a:cubicBezTo>
                  <a:cubicBezTo>
                    <a:pt x="343" y="62"/>
                    <a:pt x="343" y="62"/>
                    <a:pt x="343" y="62"/>
                  </a:cubicBezTo>
                  <a:cubicBezTo>
                    <a:pt x="306" y="31"/>
                    <a:pt x="306" y="31"/>
                    <a:pt x="306" y="31"/>
                  </a:cubicBezTo>
                  <a:cubicBezTo>
                    <a:pt x="289" y="38"/>
                    <a:pt x="289" y="38"/>
                    <a:pt x="289" y="38"/>
                  </a:cubicBezTo>
                  <a:cubicBezTo>
                    <a:pt x="233" y="0"/>
                    <a:pt x="233" y="0"/>
                    <a:pt x="233" y="0"/>
                  </a:cubicBezTo>
                  <a:cubicBezTo>
                    <a:pt x="231" y="2"/>
                    <a:pt x="231" y="2"/>
                    <a:pt x="231" y="2"/>
                  </a:cubicBezTo>
                  <a:cubicBezTo>
                    <a:pt x="224" y="9"/>
                    <a:pt x="197" y="29"/>
                    <a:pt x="190" y="29"/>
                  </a:cubicBezTo>
                  <a:cubicBezTo>
                    <a:pt x="184" y="25"/>
                    <a:pt x="174" y="13"/>
                    <a:pt x="174" y="13"/>
                  </a:cubicBezTo>
                  <a:cubicBezTo>
                    <a:pt x="174" y="13"/>
                    <a:pt x="82" y="112"/>
                    <a:pt x="44" y="163"/>
                  </a:cubicBezTo>
                  <a:cubicBezTo>
                    <a:pt x="97" y="121"/>
                    <a:pt x="97" y="121"/>
                    <a:pt x="97" y="121"/>
                  </a:cubicBezTo>
                  <a:cubicBezTo>
                    <a:pt x="92" y="149"/>
                    <a:pt x="92" y="149"/>
                    <a:pt x="92" y="149"/>
                  </a:cubicBezTo>
                  <a:cubicBezTo>
                    <a:pt x="149" y="79"/>
                    <a:pt x="149" y="79"/>
                    <a:pt x="149" y="79"/>
                  </a:cubicBezTo>
                  <a:cubicBezTo>
                    <a:pt x="110" y="116"/>
                    <a:pt x="110" y="116"/>
                    <a:pt x="110" y="116"/>
                  </a:cubicBezTo>
                  <a:cubicBezTo>
                    <a:pt x="156" y="53"/>
                    <a:pt x="156" y="53"/>
                    <a:pt x="156" y="53"/>
                  </a:cubicBezTo>
                  <a:cubicBezTo>
                    <a:pt x="100" y="111"/>
                    <a:pt x="100" y="111"/>
                    <a:pt x="100" y="111"/>
                  </a:cubicBezTo>
                  <a:cubicBezTo>
                    <a:pt x="118" y="83"/>
                    <a:pt x="118" y="83"/>
                    <a:pt x="118" y="83"/>
                  </a:cubicBezTo>
                  <a:cubicBezTo>
                    <a:pt x="118" y="83"/>
                    <a:pt x="118" y="83"/>
                    <a:pt x="118" y="83"/>
                  </a:cubicBezTo>
                  <a:cubicBezTo>
                    <a:pt x="151" y="49"/>
                    <a:pt x="174" y="27"/>
                    <a:pt x="174" y="27"/>
                  </a:cubicBezTo>
                  <a:cubicBezTo>
                    <a:pt x="174" y="27"/>
                    <a:pt x="183" y="38"/>
                    <a:pt x="190" y="40"/>
                  </a:cubicBezTo>
                  <a:cubicBezTo>
                    <a:pt x="199" y="35"/>
                    <a:pt x="222" y="20"/>
                    <a:pt x="222" y="20"/>
                  </a:cubicBezTo>
                  <a:cubicBezTo>
                    <a:pt x="250" y="49"/>
                    <a:pt x="250" y="49"/>
                    <a:pt x="250" y="49"/>
                  </a:cubicBezTo>
                  <a:cubicBezTo>
                    <a:pt x="240" y="21"/>
                    <a:pt x="240" y="21"/>
                    <a:pt x="240" y="21"/>
                  </a:cubicBezTo>
                  <a:cubicBezTo>
                    <a:pt x="282" y="64"/>
                    <a:pt x="282" y="64"/>
                    <a:pt x="282" y="64"/>
                  </a:cubicBezTo>
                  <a:cubicBezTo>
                    <a:pt x="274" y="43"/>
                    <a:pt x="274" y="43"/>
                    <a:pt x="274" y="43"/>
                  </a:cubicBezTo>
                  <a:cubicBezTo>
                    <a:pt x="303" y="65"/>
                    <a:pt x="303" y="65"/>
                    <a:pt x="303" y="65"/>
                  </a:cubicBezTo>
                  <a:cubicBezTo>
                    <a:pt x="296" y="47"/>
                    <a:pt x="296" y="47"/>
                    <a:pt x="296" y="47"/>
                  </a:cubicBezTo>
                  <a:cubicBezTo>
                    <a:pt x="308" y="39"/>
                    <a:pt x="308" y="39"/>
                    <a:pt x="308" y="39"/>
                  </a:cubicBezTo>
                  <a:cubicBezTo>
                    <a:pt x="353" y="89"/>
                    <a:pt x="353" y="89"/>
                    <a:pt x="353" y="89"/>
                  </a:cubicBezTo>
                  <a:cubicBezTo>
                    <a:pt x="348" y="67"/>
                    <a:pt x="348" y="67"/>
                    <a:pt x="348" y="67"/>
                  </a:cubicBezTo>
                  <a:cubicBezTo>
                    <a:pt x="415" y="155"/>
                    <a:pt x="415" y="155"/>
                    <a:pt x="415" y="155"/>
                  </a:cubicBezTo>
                  <a:cubicBezTo>
                    <a:pt x="408" y="132"/>
                    <a:pt x="408" y="132"/>
                    <a:pt x="408" y="132"/>
                  </a:cubicBezTo>
                  <a:cubicBezTo>
                    <a:pt x="457" y="167"/>
                    <a:pt x="457" y="167"/>
                    <a:pt x="457" y="167"/>
                  </a:cubicBezTo>
                  <a:cubicBezTo>
                    <a:pt x="456" y="162"/>
                    <a:pt x="442" y="139"/>
                    <a:pt x="442" y="139"/>
                  </a:cubicBezTo>
                  <a:cubicBezTo>
                    <a:pt x="489" y="169"/>
                    <a:pt x="489" y="169"/>
                    <a:pt x="489" y="169"/>
                  </a:cubicBezTo>
                  <a:cubicBezTo>
                    <a:pt x="463" y="132"/>
                    <a:pt x="463" y="132"/>
                    <a:pt x="463" y="132"/>
                  </a:cubicBezTo>
                  <a:cubicBezTo>
                    <a:pt x="545" y="167"/>
                    <a:pt x="545" y="167"/>
                    <a:pt x="545" y="167"/>
                  </a:cubicBezTo>
                  <a:cubicBezTo>
                    <a:pt x="540" y="164"/>
                    <a:pt x="530" y="157"/>
                    <a:pt x="519" y="150"/>
                  </a:cubicBezTo>
                  <a:cubicBezTo>
                    <a:pt x="543" y="163"/>
                    <a:pt x="562" y="170"/>
                    <a:pt x="569" y="174"/>
                  </a:cubicBezTo>
                  <a:cubicBezTo>
                    <a:pt x="600" y="197"/>
                    <a:pt x="510" y="211"/>
                    <a:pt x="376" y="185"/>
                  </a:cubicBezTo>
                  <a:cubicBezTo>
                    <a:pt x="300" y="170"/>
                    <a:pt x="133" y="134"/>
                    <a:pt x="43" y="172"/>
                  </a:cubicBezTo>
                  <a:cubicBezTo>
                    <a:pt x="1" y="191"/>
                    <a:pt x="0" y="239"/>
                    <a:pt x="81" y="268"/>
                  </a:cubicBezTo>
                  <a:cubicBezTo>
                    <a:pt x="86" y="268"/>
                    <a:pt x="169" y="268"/>
                    <a:pt x="172" y="268"/>
                  </a:cubicBezTo>
                  <a:cubicBezTo>
                    <a:pt x="150" y="256"/>
                    <a:pt x="125" y="239"/>
                    <a:pt x="108" y="217"/>
                  </a:cubicBezTo>
                  <a:cubicBezTo>
                    <a:pt x="82" y="183"/>
                    <a:pt x="143" y="169"/>
                    <a:pt x="243" y="177"/>
                  </a:cubicBezTo>
                  <a:cubicBezTo>
                    <a:pt x="179" y="174"/>
                    <a:pt x="115" y="182"/>
                    <a:pt x="163" y="219"/>
                  </a:cubicBezTo>
                  <a:cubicBezTo>
                    <a:pt x="189" y="240"/>
                    <a:pt x="230" y="256"/>
                    <a:pt x="273" y="268"/>
                  </a:cubicBezTo>
                  <a:cubicBezTo>
                    <a:pt x="282" y="268"/>
                    <a:pt x="388" y="268"/>
                    <a:pt x="390" y="268"/>
                  </a:cubicBezTo>
                  <a:cubicBezTo>
                    <a:pt x="298" y="251"/>
                    <a:pt x="195" y="227"/>
                    <a:pt x="209" y="206"/>
                  </a:cubicBezTo>
                  <a:cubicBezTo>
                    <a:pt x="238" y="159"/>
                    <a:pt x="572" y="263"/>
                    <a:pt x="613" y="212"/>
                  </a:cubicBezTo>
                  <a:cubicBezTo>
                    <a:pt x="629" y="191"/>
                    <a:pt x="584" y="174"/>
                    <a:pt x="559" y="166"/>
                  </a:cubicBezTo>
                  <a:close/>
                  <a:moveTo>
                    <a:pt x="41" y="205"/>
                  </a:moveTo>
                  <a:cubicBezTo>
                    <a:pt x="44" y="221"/>
                    <a:pt x="61" y="233"/>
                    <a:pt x="61" y="233"/>
                  </a:cubicBezTo>
                  <a:cubicBezTo>
                    <a:pt x="61" y="233"/>
                    <a:pt x="33" y="221"/>
                    <a:pt x="34" y="202"/>
                  </a:cubicBezTo>
                  <a:cubicBezTo>
                    <a:pt x="35" y="181"/>
                    <a:pt x="71" y="176"/>
                    <a:pt x="71" y="176"/>
                  </a:cubicBezTo>
                  <a:cubicBezTo>
                    <a:pt x="62" y="178"/>
                    <a:pt x="38" y="183"/>
                    <a:pt x="41" y="205"/>
                  </a:cubicBezTo>
                  <a:close/>
                  <a:moveTo>
                    <a:pt x="603" y="197"/>
                  </a:moveTo>
                  <a:cubicBezTo>
                    <a:pt x="597" y="217"/>
                    <a:pt x="539" y="214"/>
                    <a:pt x="521" y="212"/>
                  </a:cubicBezTo>
                  <a:cubicBezTo>
                    <a:pt x="529" y="212"/>
                    <a:pt x="591" y="213"/>
                    <a:pt x="597" y="197"/>
                  </a:cubicBezTo>
                  <a:cubicBezTo>
                    <a:pt x="602" y="186"/>
                    <a:pt x="585" y="179"/>
                    <a:pt x="581" y="177"/>
                  </a:cubicBezTo>
                  <a:cubicBezTo>
                    <a:pt x="585" y="178"/>
                    <a:pt x="605" y="189"/>
                    <a:pt x="603"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sp>
        <p:nvSpPr>
          <p:cNvPr id="2" name="Title 1"/>
          <p:cNvSpPr>
            <a:spLocks noGrp="1"/>
          </p:cNvSpPr>
          <p:nvPr userDrawn="1">
            <p:ph type="title" hasCustomPrompt="1"/>
          </p:nvPr>
        </p:nvSpPr>
        <p:spPr/>
        <p:txBody>
          <a:bodyPr/>
          <a:lstStyle>
            <a:lvl1pPr>
              <a:defRPr/>
            </a:lvl1pPr>
          </a:lstStyle>
          <a:p>
            <a:r>
              <a:rPr lang="en-US" dirty="0"/>
              <a:t>Panoramic image with text</a:t>
            </a:r>
          </a:p>
        </p:txBody>
      </p:sp>
      <p:sp>
        <p:nvSpPr>
          <p:cNvPr id="5" name="Text Placeholder 3"/>
          <p:cNvSpPr>
            <a:spLocks noGrp="1"/>
          </p:cNvSpPr>
          <p:nvPr userDrawn="1">
            <p:ph type="body" sz="quarter" idx="11" hasCustomPrompt="1"/>
          </p:nvPr>
        </p:nvSpPr>
        <p:spPr>
          <a:xfrm>
            <a:off x="611717" y="1538289"/>
            <a:ext cx="10972800" cy="2058407"/>
          </a:xfrm>
        </p:spPr>
        <p:txBody>
          <a:bodyPr/>
          <a:lstStyle>
            <a:lvl1pPr marL="0" indent="0" algn="l">
              <a:buNone/>
              <a:defRPr sz="2400"/>
            </a:lvl1pPr>
          </a:lstStyle>
          <a:p>
            <a:pPr lvl="0"/>
            <a:r>
              <a:rPr lang="en-US" dirty="0"/>
              <a:t>Enter your text here</a:t>
            </a:r>
          </a:p>
        </p:txBody>
      </p:sp>
      <p:cxnSp>
        <p:nvCxnSpPr>
          <p:cNvPr id="7" name="Straight Connector 6"/>
          <p:cNvCxnSpPr/>
          <p:nvPr userDrawn="1"/>
        </p:nvCxnSpPr>
        <p:spPr>
          <a:xfrm>
            <a:off x="611717" y="3860359"/>
            <a:ext cx="11580283"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21" name="Text Placeholder 4"/>
          <p:cNvSpPr>
            <a:spLocks noGrp="1"/>
          </p:cNvSpPr>
          <p:nvPr userDrawn="1">
            <p:ph type="body" sz="quarter" idx="14" hasCustomPrompt="1"/>
          </p:nvPr>
        </p:nvSpPr>
        <p:spPr>
          <a:xfrm>
            <a:off x="600428" y="881767"/>
            <a:ext cx="10972800" cy="366932"/>
          </a:xfrm>
        </p:spPr>
        <p:txBody>
          <a:bodyPr/>
          <a:lstStyle>
            <a:lvl1pPr marL="0" indent="0">
              <a:buNone/>
              <a:defRPr sz="2667" baseline="0"/>
            </a:lvl1pPr>
            <a:lvl2pPr marL="302675" indent="0">
              <a:buNone/>
              <a:defRPr/>
            </a:lvl2pPr>
          </a:lstStyle>
          <a:p>
            <a:pPr lvl="0"/>
            <a:r>
              <a:rPr lang="en-US" dirty="0"/>
              <a:t>Sub-header optional—delete if not needed</a:t>
            </a:r>
          </a:p>
        </p:txBody>
      </p:sp>
      <p:sp>
        <p:nvSpPr>
          <p:cNvPr id="22" name="Text Placeholder 5"/>
          <p:cNvSpPr>
            <a:spLocks noGrp="1"/>
          </p:cNvSpPr>
          <p:nvPr>
            <p:ph type="body" sz="quarter" idx="15" hasCustomPrompt="1"/>
          </p:nvPr>
        </p:nvSpPr>
        <p:spPr>
          <a:xfrm>
            <a:off x="3138793" y="6560363"/>
            <a:ext cx="5927388" cy="214955"/>
          </a:xfrm>
        </p:spPr>
        <p:txBody>
          <a:bodyPr/>
          <a:lstStyle>
            <a:lvl1pPr marL="0" indent="0" algn="ctr">
              <a:buNone/>
              <a:defRPr sz="933" baseline="0"/>
            </a:lvl1pPr>
          </a:lstStyle>
          <a:p>
            <a:pPr lvl="0"/>
            <a:r>
              <a:rPr lang="en-US" dirty="0"/>
              <a:t>For internal use only.</a:t>
            </a:r>
          </a:p>
        </p:txBody>
      </p:sp>
      <p:grpSp>
        <p:nvGrpSpPr>
          <p:cNvPr id="23" name="Group 22"/>
          <p:cNvGrpSpPr/>
          <p:nvPr userDrawn="1"/>
        </p:nvGrpSpPr>
        <p:grpSpPr>
          <a:xfrm>
            <a:off x="-2218059" y="3785723"/>
            <a:ext cx="1879365" cy="2322331"/>
            <a:chOff x="-1663544" y="2370068"/>
            <a:chExt cx="1409524" cy="2322330"/>
          </a:xfrm>
        </p:grpSpPr>
        <p:pic>
          <p:nvPicPr>
            <p:cNvPr id="2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663544" y="4044779"/>
              <a:ext cx="1409524" cy="6476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TextBox 24"/>
            <p:cNvSpPr txBox="1"/>
            <p:nvPr/>
          </p:nvSpPr>
          <p:spPr>
            <a:xfrm>
              <a:off x="-1663544" y="2370068"/>
              <a:ext cx="1386540" cy="1446934"/>
            </a:xfrm>
            <a:prstGeom prst="rect">
              <a:avLst/>
            </a:prstGeom>
            <a:noFill/>
          </p:spPr>
          <p:txBody>
            <a:bodyPr wrap="square" rtlCol="0">
              <a:spAutoFit/>
            </a:bodyPr>
            <a:lstStyle/>
            <a:p>
              <a:r>
                <a:rPr lang="en-US" sz="1467" dirty="0"/>
                <a:t>To crop image or reposition image inside of frame, right click on the image and select the crop tool</a:t>
              </a:r>
            </a:p>
          </p:txBody>
        </p:sp>
      </p:grpSp>
    </p:spTree>
    <p:extLst>
      <p:ext uri="{BB962C8B-B14F-4D97-AF65-F5344CB8AC3E}">
        <p14:creationId xmlns:p14="http://schemas.microsoft.com/office/powerpoint/2010/main" val="291112363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FULL PAGE IMAGE layout">
    <p:spTree>
      <p:nvGrpSpPr>
        <p:cNvPr id="1" name=""/>
        <p:cNvGrpSpPr/>
        <p:nvPr/>
      </p:nvGrpSpPr>
      <p:grpSpPr>
        <a:xfrm>
          <a:off x="0" y="0"/>
          <a:ext cx="0" cy="0"/>
          <a:chOff x="0" y="0"/>
          <a:chExt cx="0" cy="0"/>
        </a:xfrm>
      </p:grpSpPr>
      <p:grpSp>
        <p:nvGrpSpPr>
          <p:cNvPr id="3" name="Group 2"/>
          <p:cNvGrpSpPr/>
          <p:nvPr userDrawn="1"/>
        </p:nvGrpSpPr>
        <p:grpSpPr>
          <a:xfrm>
            <a:off x="737514" y="1632032"/>
            <a:ext cx="10638060" cy="4434041"/>
            <a:chOff x="553135" y="1224023"/>
            <a:chExt cx="7978545" cy="3325531"/>
          </a:xfrm>
        </p:grpSpPr>
        <p:sp>
          <p:nvSpPr>
            <p:cNvPr id="12" name="Rectangle 11"/>
            <p:cNvSpPr/>
            <p:nvPr userDrawn="1"/>
          </p:nvSpPr>
          <p:spPr>
            <a:xfrm>
              <a:off x="553135" y="1224023"/>
              <a:ext cx="7978545" cy="3325531"/>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nvGrpSpPr>
            <p:cNvPr id="17" name="Group 16"/>
            <p:cNvGrpSpPr/>
            <p:nvPr userDrawn="1"/>
          </p:nvGrpSpPr>
          <p:grpSpPr>
            <a:xfrm>
              <a:off x="2788971" y="1284609"/>
              <a:ext cx="3114995" cy="1564931"/>
              <a:chOff x="1751012" y="1069975"/>
              <a:chExt cx="2359025" cy="1143001"/>
            </a:xfrm>
            <a:solidFill>
              <a:schemeClr val="bg1">
                <a:lumMod val="50000"/>
              </a:schemeClr>
            </a:solidFill>
          </p:grpSpPr>
          <p:sp>
            <p:nvSpPr>
              <p:cNvPr id="18" name="Freeform 30"/>
              <p:cNvSpPr>
                <a:spLocks/>
              </p:cNvSpPr>
              <p:nvPr/>
            </p:nvSpPr>
            <p:spPr bwMode="auto">
              <a:xfrm>
                <a:off x="2827338" y="1069975"/>
                <a:ext cx="1068387" cy="752475"/>
              </a:xfrm>
              <a:custGeom>
                <a:avLst/>
                <a:gdLst>
                  <a:gd name="T0" fmla="*/ 19 w 285"/>
                  <a:gd name="T1" fmla="*/ 61 h 201"/>
                  <a:gd name="T2" fmla="*/ 56 w 285"/>
                  <a:gd name="T3" fmla="*/ 92 h 201"/>
                  <a:gd name="T4" fmla="*/ 74 w 285"/>
                  <a:gd name="T5" fmla="*/ 83 h 201"/>
                  <a:gd name="T6" fmla="*/ 130 w 285"/>
                  <a:gd name="T7" fmla="*/ 122 h 201"/>
                  <a:gd name="T8" fmla="*/ 151 w 285"/>
                  <a:gd name="T9" fmla="*/ 110 h 201"/>
                  <a:gd name="T10" fmla="*/ 152 w 285"/>
                  <a:gd name="T11" fmla="*/ 111 h 201"/>
                  <a:gd name="T12" fmla="*/ 253 w 285"/>
                  <a:gd name="T13" fmla="*/ 184 h 201"/>
                  <a:gd name="T14" fmla="*/ 279 w 285"/>
                  <a:gd name="T15" fmla="*/ 201 h 201"/>
                  <a:gd name="T16" fmla="*/ 285 w 285"/>
                  <a:gd name="T17" fmla="*/ 157 h 201"/>
                  <a:gd name="T18" fmla="*/ 128 w 285"/>
                  <a:gd name="T19" fmla="*/ 0 h 201"/>
                  <a:gd name="T20" fmla="*/ 0 w 285"/>
                  <a:gd name="T21" fmla="*/ 66 h 201"/>
                  <a:gd name="T22" fmla="*/ 2 w 285"/>
                  <a:gd name="T23" fmla="*/ 67 h 201"/>
                  <a:gd name="T24" fmla="*/ 19 w 285"/>
                  <a:gd name="T25" fmla="*/ 6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5" h="201">
                    <a:moveTo>
                      <a:pt x="19" y="61"/>
                    </a:moveTo>
                    <a:cubicBezTo>
                      <a:pt x="56" y="92"/>
                      <a:pt x="56" y="92"/>
                      <a:pt x="56" y="92"/>
                    </a:cubicBezTo>
                    <a:cubicBezTo>
                      <a:pt x="74" y="83"/>
                      <a:pt x="74" y="83"/>
                      <a:pt x="74" y="83"/>
                    </a:cubicBezTo>
                    <a:cubicBezTo>
                      <a:pt x="130" y="122"/>
                      <a:pt x="130" y="122"/>
                      <a:pt x="130" y="122"/>
                    </a:cubicBezTo>
                    <a:cubicBezTo>
                      <a:pt x="151" y="110"/>
                      <a:pt x="151" y="110"/>
                      <a:pt x="151" y="110"/>
                    </a:cubicBezTo>
                    <a:cubicBezTo>
                      <a:pt x="152" y="111"/>
                      <a:pt x="152" y="111"/>
                      <a:pt x="152" y="111"/>
                    </a:cubicBezTo>
                    <a:cubicBezTo>
                      <a:pt x="187" y="140"/>
                      <a:pt x="227" y="166"/>
                      <a:pt x="253" y="184"/>
                    </a:cubicBezTo>
                    <a:cubicBezTo>
                      <a:pt x="267" y="193"/>
                      <a:pt x="275" y="198"/>
                      <a:pt x="279" y="201"/>
                    </a:cubicBezTo>
                    <a:cubicBezTo>
                      <a:pt x="283" y="187"/>
                      <a:pt x="285" y="173"/>
                      <a:pt x="285" y="157"/>
                    </a:cubicBezTo>
                    <a:cubicBezTo>
                      <a:pt x="285" y="70"/>
                      <a:pt x="215" y="0"/>
                      <a:pt x="128" y="0"/>
                    </a:cubicBezTo>
                    <a:cubicBezTo>
                      <a:pt x="75" y="0"/>
                      <a:pt x="29" y="26"/>
                      <a:pt x="0" y="66"/>
                    </a:cubicBezTo>
                    <a:cubicBezTo>
                      <a:pt x="2" y="67"/>
                      <a:pt x="2" y="67"/>
                      <a:pt x="2" y="67"/>
                    </a:cubicBezTo>
                    <a:lnTo>
                      <a:pt x="19"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sp>
            <p:nvSpPr>
              <p:cNvPr id="19" name="Freeform 31"/>
              <p:cNvSpPr>
                <a:spLocks noEditPoints="1"/>
              </p:cNvSpPr>
              <p:nvPr/>
            </p:nvSpPr>
            <p:spPr bwMode="auto">
              <a:xfrm>
                <a:off x="1751012" y="1208088"/>
                <a:ext cx="2359025" cy="1004888"/>
              </a:xfrm>
              <a:custGeom>
                <a:avLst/>
                <a:gdLst>
                  <a:gd name="T0" fmla="*/ 540 w 629"/>
                  <a:gd name="T1" fmla="*/ 154 h 268"/>
                  <a:gd name="T2" fmla="*/ 438 w 629"/>
                  <a:gd name="T3" fmla="*/ 80 h 268"/>
                  <a:gd name="T4" fmla="*/ 361 w 629"/>
                  <a:gd name="T5" fmla="*/ 54 h 268"/>
                  <a:gd name="T6" fmla="*/ 306 w 629"/>
                  <a:gd name="T7" fmla="*/ 31 h 268"/>
                  <a:gd name="T8" fmla="*/ 233 w 629"/>
                  <a:gd name="T9" fmla="*/ 0 h 268"/>
                  <a:gd name="T10" fmla="*/ 190 w 629"/>
                  <a:gd name="T11" fmla="*/ 29 h 268"/>
                  <a:gd name="T12" fmla="*/ 44 w 629"/>
                  <a:gd name="T13" fmla="*/ 163 h 268"/>
                  <a:gd name="T14" fmla="*/ 92 w 629"/>
                  <a:gd name="T15" fmla="*/ 149 h 268"/>
                  <a:gd name="T16" fmla="*/ 110 w 629"/>
                  <a:gd name="T17" fmla="*/ 116 h 268"/>
                  <a:gd name="T18" fmla="*/ 100 w 629"/>
                  <a:gd name="T19" fmla="*/ 111 h 268"/>
                  <a:gd name="T20" fmla="*/ 118 w 629"/>
                  <a:gd name="T21" fmla="*/ 83 h 268"/>
                  <a:gd name="T22" fmla="*/ 190 w 629"/>
                  <a:gd name="T23" fmla="*/ 40 h 268"/>
                  <a:gd name="T24" fmla="*/ 250 w 629"/>
                  <a:gd name="T25" fmla="*/ 49 h 268"/>
                  <a:gd name="T26" fmla="*/ 282 w 629"/>
                  <a:gd name="T27" fmla="*/ 64 h 268"/>
                  <a:gd name="T28" fmla="*/ 303 w 629"/>
                  <a:gd name="T29" fmla="*/ 65 h 268"/>
                  <a:gd name="T30" fmla="*/ 308 w 629"/>
                  <a:gd name="T31" fmla="*/ 39 h 268"/>
                  <a:gd name="T32" fmla="*/ 348 w 629"/>
                  <a:gd name="T33" fmla="*/ 67 h 268"/>
                  <a:gd name="T34" fmla="*/ 408 w 629"/>
                  <a:gd name="T35" fmla="*/ 132 h 268"/>
                  <a:gd name="T36" fmla="*/ 442 w 629"/>
                  <a:gd name="T37" fmla="*/ 139 h 268"/>
                  <a:gd name="T38" fmla="*/ 463 w 629"/>
                  <a:gd name="T39" fmla="*/ 132 h 268"/>
                  <a:gd name="T40" fmla="*/ 519 w 629"/>
                  <a:gd name="T41" fmla="*/ 150 h 268"/>
                  <a:gd name="T42" fmla="*/ 376 w 629"/>
                  <a:gd name="T43" fmla="*/ 185 h 268"/>
                  <a:gd name="T44" fmla="*/ 81 w 629"/>
                  <a:gd name="T45" fmla="*/ 268 h 268"/>
                  <a:gd name="T46" fmla="*/ 108 w 629"/>
                  <a:gd name="T47" fmla="*/ 217 h 268"/>
                  <a:gd name="T48" fmla="*/ 163 w 629"/>
                  <a:gd name="T49" fmla="*/ 219 h 268"/>
                  <a:gd name="T50" fmla="*/ 390 w 629"/>
                  <a:gd name="T51" fmla="*/ 268 h 268"/>
                  <a:gd name="T52" fmla="*/ 613 w 629"/>
                  <a:gd name="T53" fmla="*/ 212 h 268"/>
                  <a:gd name="T54" fmla="*/ 41 w 629"/>
                  <a:gd name="T55" fmla="*/ 205 h 268"/>
                  <a:gd name="T56" fmla="*/ 34 w 629"/>
                  <a:gd name="T57" fmla="*/ 202 h 268"/>
                  <a:gd name="T58" fmla="*/ 41 w 629"/>
                  <a:gd name="T59" fmla="*/ 205 h 268"/>
                  <a:gd name="T60" fmla="*/ 521 w 629"/>
                  <a:gd name="T61" fmla="*/ 212 h 268"/>
                  <a:gd name="T62" fmla="*/ 581 w 629"/>
                  <a:gd name="T63" fmla="*/ 17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29" h="268">
                    <a:moveTo>
                      <a:pt x="559" y="166"/>
                    </a:moveTo>
                    <a:cubicBezTo>
                      <a:pt x="554" y="163"/>
                      <a:pt x="547" y="159"/>
                      <a:pt x="540" y="154"/>
                    </a:cubicBezTo>
                    <a:cubicBezTo>
                      <a:pt x="514" y="137"/>
                      <a:pt x="474" y="110"/>
                      <a:pt x="439" y="81"/>
                    </a:cubicBezTo>
                    <a:cubicBezTo>
                      <a:pt x="438" y="80"/>
                      <a:pt x="438" y="80"/>
                      <a:pt x="438" y="80"/>
                    </a:cubicBezTo>
                    <a:cubicBezTo>
                      <a:pt x="417" y="93"/>
                      <a:pt x="417" y="93"/>
                      <a:pt x="417" y="93"/>
                    </a:cubicBezTo>
                    <a:cubicBezTo>
                      <a:pt x="361" y="54"/>
                      <a:pt x="361" y="54"/>
                      <a:pt x="361" y="54"/>
                    </a:cubicBezTo>
                    <a:cubicBezTo>
                      <a:pt x="343" y="62"/>
                      <a:pt x="343" y="62"/>
                      <a:pt x="343" y="62"/>
                    </a:cubicBezTo>
                    <a:cubicBezTo>
                      <a:pt x="306" y="31"/>
                      <a:pt x="306" y="31"/>
                      <a:pt x="306" y="31"/>
                    </a:cubicBezTo>
                    <a:cubicBezTo>
                      <a:pt x="289" y="38"/>
                      <a:pt x="289" y="38"/>
                      <a:pt x="289" y="38"/>
                    </a:cubicBezTo>
                    <a:cubicBezTo>
                      <a:pt x="233" y="0"/>
                      <a:pt x="233" y="0"/>
                      <a:pt x="233" y="0"/>
                    </a:cubicBezTo>
                    <a:cubicBezTo>
                      <a:pt x="231" y="2"/>
                      <a:pt x="231" y="2"/>
                      <a:pt x="231" y="2"/>
                    </a:cubicBezTo>
                    <a:cubicBezTo>
                      <a:pt x="224" y="9"/>
                      <a:pt x="197" y="29"/>
                      <a:pt x="190" y="29"/>
                    </a:cubicBezTo>
                    <a:cubicBezTo>
                      <a:pt x="184" y="25"/>
                      <a:pt x="174" y="13"/>
                      <a:pt x="174" y="13"/>
                    </a:cubicBezTo>
                    <a:cubicBezTo>
                      <a:pt x="174" y="13"/>
                      <a:pt x="82" y="112"/>
                      <a:pt x="44" y="163"/>
                    </a:cubicBezTo>
                    <a:cubicBezTo>
                      <a:pt x="97" y="121"/>
                      <a:pt x="97" y="121"/>
                      <a:pt x="97" y="121"/>
                    </a:cubicBezTo>
                    <a:cubicBezTo>
                      <a:pt x="92" y="149"/>
                      <a:pt x="92" y="149"/>
                      <a:pt x="92" y="149"/>
                    </a:cubicBezTo>
                    <a:cubicBezTo>
                      <a:pt x="149" y="79"/>
                      <a:pt x="149" y="79"/>
                      <a:pt x="149" y="79"/>
                    </a:cubicBezTo>
                    <a:cubicBezTo>
                      <a:pt x="110" y="116"/>
                      <a:pt x="110" y="116"/>
                      <a:pt x="110" y="116"/>
                    </a:cubicBezTo>
                    <a:cubicBezTo>
                      <a:pt x="156" y="53"/>
                      <a:pt x="156" y="53"/>
                      <a:pt x="156" y="53"/>
                    </a:cubicBezTo>
                    <a:cubicBezTo>
                      <a:pt x="100" y="111"/>
                      <a:pt x="100" y="111"/>
                      <a:pt x="100" y="111"/>
                    </a:cubicBezTo>
                    <a:cubicBezTo>
                      <a:pt x="118" y="83"/>
                      <a:pt x="118" y="83"/>
                      <a:pt x="118" y="83"/>
                    </a:cubicBezTo>
                    <a:cubicBezTo>
                      <a:pt x="118" y="83"/>
                      <a:pt x="118" y="83"/>
                      <a:pt x="118" y="83"/>
                    </a:cubicBezTo>
                    <a:cubicBezTo>
                      <a:pt x="151" y="49"/>
                      <a:pt x="174" y="27"/>
                      <a:pt x="174" y="27"/>
                    </a:cubicBezTo>
                    <a:cubicBezTo>
                      <a:pt x="174" y="27"/>
                      <a:pt x="183" y="38"/>
                      <a:pt x="190" y="40"/>
                    </a:cubicBezTo>
                    <a:cubicBezTo>
                      <a:pt x="199" y="35"/>
                      <a:pt x="222" y="20"/>
                      <a:pt x="222" y="20"/>
                    </a:cubicBezTo>
                    <a:cubicBezTo>
                      <a:pt x="250" y="49"/>
                      <a:pt x="250" y="49"/>
                      <a:pt x="250" y="49"/>
                    </a:cubicBezTo>
                    <a:cubicBezTo>
                      <a:pt x="240" y="21"/>
                      <a:pt x="240" y="21"/>
                      <a:pt x="240" y="21"/>
                    </a:cubicBezTo>
                    <a:cubicBezTo>
                      <a:pt x="282" y="64"/>
                      <a:pt x="282" y="64"/>
                      <a:pt x="282" y="64"/>
                    </a:cubicBezTo>
                    <a:cubicBezTo>
                      <a:pt x="274" y="43"/>
                      <a:pt x="274" y="43"/>
                      <a:pt x="274" y="43"/>
                    </a:cubicBezTo>
                    <a:cubicBezTo>
                      <a:pt x="303" y="65"/>
                      <a:pt x="303" y="65"/>
                      <a:pt x="303" y="65"/>
                    </a:cubicBezTo>
                    <a:cubicBezTo>
                      <a:pt x="296" y="47"/>
                      <a:pt x="296" y="47"/>
                      <a:pt x="296" y="47"/>
                    </a:cubicBezTo>
                    <a:cubicBezTo>
                      <a:pt x="308" y="39"/>
                      <a:pt x="308" y="39"/>
                      <a:pt x="308" y="39"/>
                    </a:cubicBezTo>
                    <a:cubicBezTo>
                      <a:pt x="353" y="89"/>
                      <a:pt x="353" y="89"/>
                      <a:pt x="353" y="89"/>
                    </a:cubicBezTo>
                    <a:cubicBezTo>
                      <a:pt x="348" y="67"/>
                      <a:pt x="348" y="67"/>
                      <a:pt x="348" y="67"/>
                    </a:cubicBezTo>
                    <a:cubicBezTo>
                      <a:pt x="415" y="155"/>
                      <a:pt x="415" y="155"/>
                      <a:pt x="415" y="155"/>
                    </a:cubicBezTo>
                    <a:cubicBezTo>
                      <a:pt x="408" y="132"/>
                      <a:pt x="408" y="132"/>
                      <a:pt x="408" y="132"/>
                    </a:cubicBezTo>
                    <a:cubicBezTo>
                      <a:pt x="457" y="167"/>
                      <a:pt x="457" y="167"/>
                      <a:pt x="457" y="167"/>
                    </a:cubicBezTo>
                    <a:cubicBezTo>
                      <a:pt x="456" y="162"/>
                      <a:pt x="442" y="139"/>
                      <a:pt x="442" y="139"/>
                    </a:cubicBezTo>
                    <a:cubicBezTo>
                      <a:pt x="489" y="169"/>
                      <a:pt x="489" y="169"/>
                      <a:pt x="489" y="169"/>
                    </a:cubicBezTo>
                    <a:cubicBezTo>
                      <a:pt x="463" y="132"/>
                      <a:pt x="463" y="132"/>
                      <a:pt x="463" y="132"/>
                    </a:cubicBezTo>
                    <a:cubicBezTo>
                      <a:pt x="545" y="167"/>
                      <a:pt x="545" y="167"/>
                      <a:pt x="545" y="167"/>
                    </a:cubicBezTo>
                    <a:cubicBezTo>
                      <a:pt x="540" y="164"/>
                      <a:pt x="530" y="157"/>
                      <a:pt x="519" y="150"/>
                    </a:cubicBezTo>
                    <a:cubicBezTo>
                      <a:pt x="543" y="163"/>
                      <a:pt x="562" y="170"/>
                      <a:pt x="569" y="174"/>
                    </a:cubicBezTo>
                    <a:cubicBezTo>
                      <a:pt x="600" y="197"/>
                      <a:pt x="510" y="211"/>
                      <a:pt x="376" y="185"/>
                    </a:cubicBezTo>
                    <a:cubicBezTo>
                      <a:pt x="300" y="170"/>
                      <a:pt x="133" y="134"/>
                      <a:pt x="43" y="172"/>
                    </a:cubicBezTo>
                    <a:cubicBezTo>
                      <a:pt x="1" y="191"/>
                      <a:pt x="0" y="239"/>
                      <a:pt x="81" y="268"/>
                    </a:cubicBezTo>
                    <a:cubicBezTo>
                      <a:pt x="86" y="268"/>
                      <a:pt x="169" y="268"/>
                      <a:pt x="172" y="268"/>
                    </a:cubicBezTo>
                    <a:cubicBezTo>
                      <a:pt x="150" y="256"/>
                      <a:pt x="125" y="239"/>
                      <a:pt x="108" y="217"/>
                    </a:cubicBezTo>
                    <a:cubicBezTo>
                      <a:pt x="82" y="183"/>
                      <a:pt x="143" y="169"/>
                      <a:pt x="243" y="177"/>
                    </a:cubicBezTo>
                    <a:cubicBezTo>
                      <a:pt x="179" y="174"/>
                      <a:pt x="115" y="182"/>
                      <a:pt x="163" y="219"/>
                    </a:cubicBezTo>
                    <a:cubicBezTo>
                      <a:pt x="189" y="240"/>
                      <a:pt x="230" y="256"/>
                      <a:pt x="273" y="268"/>
                    </a:cubicBezTo>
                    <a:cubicBezTo>
                      <a:pt x="282" y="268"/>
                      <a:pt x="388" y="268"/>
                      <a:pt x="390" y="268"/>
                    </a:cubicBezTo>
                    <a:cubicBezTo>
                      <a:pt x="298" y="251"/>
                      <a:pt x="195" y="227"/>
                      <a:pt x="209" y="206"/>
                    </a:cubicBezTo>
                    <a:cubicBezTo>
                      <a:pt x="238" y="159"/>
                      <a:pt x="572" y="263"/>
                      <a:pt x="613" y="212"/>
                    </a:cubicBezTo>
                    <a:cubicBezTo>
                      <a:pt x="629" y="191"/>
                      <a:pt x="584" y="174"/>
                      <a:pt x="559" y="166"/>
                    </a:cubicBezTo>
                    <a:close/>
                    <a:moveTo>
                      <a:pt x="41" y="205"/>
                    </a:moveTo>
                    <a:cubicBezTo>
                      <a:pt x="44" y="221"/>
                      <a:pt x="61" y="233"/>
                      <a:pt x="61" y="233"/>
                    </a:cubicBezTo>
                    <a:cubicBezTo>
                      <a:pt x="61" y="233"/>
                      <a:pt x="33" y="221"/>
                      <a:pt x="34" y="202"/>
                    </a:cubicBezTo>
                    <a:cubicBezTo>
                      <a:pt x="35" y="181"/>
                      <a:pt x="71" y="176"/>
                      <a:pt x="71" y="176"/>
                    </a:cubicBezTo>
                    <a:cubicBezTo>
                      <a:pt x="62" y="178"/>
                      <a:pt x="38" y="183"/>
                      <a:pt x="41" y="205"/>
                    </a:cubicBezTo>
                    <a:close/>
                    <a:moveTo>
                      <a:pt x="603" y="197"/>
                    </a:moveTo>
                    <a:cubicBezTo>
                      <a:pt x="597" y="217"/>
                      <a:pt x="539" y="214"/>
                      <a:pt x="521" y="212"/>
                    </a:cubicBezTo>
                    <a:cubicBezTo>
                      <a:pt x="529" y="212"/>
                      <a:pt x="591" y="213"/>
                      <a:pt x="597" y="197"/>
                    </a:cubicBezTo>
                    <a:cubicBezTo>
                      <a:pt x="602" y="186"/>
                      <a:pt x="585" y="179"/>
                      <a:pt x="581" y="177"/>
                    </a:cubicBezTo>
                    <a:cubicBezTo>
                      <a:pt x="585" y="178"/>
                      <a:pt x="605" y="189"/>
                      <a:pt x="603"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p>
            </p:txBody>
          </p:sp>
        </p:grpSp>
      </p:grpSp>
      <p:sp>
        <p:nvSpPr>
          <p:cNvPr id="10" name="Picture Placeholder 9"/>
          <p:cNvSpPr>
            <a:spLocks noGrp="1"/>
          </p:cNvSpPr>
          <p:nvPr>
            <p:ph type="pic" sz="quarter" idx="12" hasCustomPrompt="1"/>
          </p:nvPr>
        </p:nvSpPr>
        <p:spPr>
          <a:xfrm>
            <a:off x="611717" y="1538288"/>
            <a:ext cx="10972800" cy="4642083"/>
          </a:xfrm>
          <a:ln>
            <a:solidFill>
              <a:schemeClr val="tx1"/>
            </a:solidFill>
          </a:ln>
        </p:spPr>
        <p:txBody>
          <a:bodyPr tIns="731520" bIns="1188720" anchor="b" anchorCtr="0"/>
          <a:lstStyle>
            <a:lvl1pPr marL="0" indent="0" algn="ctr">
              <a:buNone/>
              <a:defRPr sz="1867" baseline="0"/>
            </a:lvl1pPr>
          </a:lstStyle>
          <a:p>
            <a:r>
              <a:rPr lang="en-US" dirty="0"/>
              <a:t>CLICK ▲ ICON                                                                                                                                                        to add photo</a:t>
            </a:r>
          </a:p>
        </p:txBody>
      </p:sp>
      <p:sp>
        <p:nvSpPr>
          <p:cNvPr id="2" name="Title 1"/>
          <p:cNvSpPr>
            <a:spLocks noGrp="1"/>
          </p:cNvSpPr>
          <p:nvPr userDrawn="1">
            <p:ph type="title" hasCustomPrompt="1"/>
          </p:nvPr>
        </p:nvSpPr>
        <p:spPr>
          <a:xfrm>
            <a:off x="598311" y="227013"/>
            <a:ext cx="10962219" cy="498475"/>
          </a:xfrm>
        </p:spPr>
        <p:txBody>
          <a:bodyPr/>
          <a:lstStyle>
            <a:lvl1pPr>
              <a:defRPr/>
            </a:lvl1pPr>
          </a:lstStyle>
          <a:p>
            <a:r>
              <a:rPr lang="en-US" dirty="0"/>
              <a:t>Comparing two items or features</a:t>
            </a:r>
          </a:p>
        </p:txBody>
      </p:sp>
      <p:sp>
        <p:nvSpPr>
          <p:cNvPr id="21" name="Text Placeholder 4"/>
          <p:cNvSpPr>
            <a:spLocks noGrp="1"/>
          </p:cNvSpPr>
          <p:nvPr userDrawn="1">
            <p:ph type="body" sz="quarter" idx="14" hasCustomPrompt="1"/>
          </p:nvPr>
        </p:nvSpPr>
        <p:spPr>
          <a:xfrm>
            <a:off x="600428" y="881767"/>
            <a:ext cx="10972800" cy="366932"/>
          </a:xfrm>
        </p:spPr>
        <p:txBody>
          <a:bodyPr/>
          <a:lstStyle>
            <a:lvl1pPr marL="0" indent="0">
              <a:buNone/>
              <a:defRPr sz="2667" baseline="0"/>
            </a:lvl1pPr>
            <a:lvl2pPr marL="302675" indent="0">
              <a:buNone/>
              <a:defRPr/>
            </a:lvl2pPr>
          </a:lstStyle>
          <a:p>
            <a:pPr lvl="0"/>
            <a:r>
              <a:rPr lang="en-US" dirty="0"/>
              <a:t>Sub-header optional—delete if not needed</a:t>
            </a:r>
          </a:p>
        </p:txBody>
      </p:sp>
      <p:sp>
        <p:nvSpPr>
          <p:cNvPr id="22" name="Text Placeholder 5"/>
          <p:cNvSpPr>
            <a:spLocks noGrp="1"/>
          </p:cNvSpPr>
          <p:nvPr>
            <p:ph type="body" sz="quarter" idx="15" hasCustomPrompt="1"/>
          </p:nvPr>
        </p:nvSpPr>
        <p:spPr>
          <a:xfrm>
            <a:off x="3138793" y="6560363"/>
            <a:ext cx="5927388" cy="214955"/>
          </a:xfrm>
        </p:spPr>
        <p:txBody>
          <a:bodyPr/>
          <a:lstStyle>
            <a:lvl1pPr marL="0" indent="0" algn="ctr">
              <a:buNone/>
              <a:defRPr sz="933" baseline="0"/>
            </a:lvl1pPr>
          </a:lstStyle>
          <a:p>
            <a:pPr lvl="0"/>
            <a:r>
              <a:rPr lang="en-US" dirty="0"/>
              <a:t>For internal use only.</a:t>
            </a:r>
          </a:p>
        </p:txBody>
      </p:sp>
      <p:grpSp>
        <p:nvGrpSpPr>
          <p:cNvPr id="23" name="Group 22"/>
          <p:cNvGrpSpPr/>
          <p:nvPr userDrawn="1"/>
        </p:nvGrpSpPr>
        <p:grpSpPr>
          <a:xfrm>
            <a:off x="-2218059" y="2387706"/>
            <a:ext cx="1879365" cy="2545668"/>
            <a:chOff x="-1663544" y="2146731"/>
            <a:chExt cx="1409524" cy="2545667"/>
          </a:xfrm>
        </p:grpSpPr>
        <p:pic>
          <p:nvPicPr>
            <p:cNvPr id="24"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663544" y="4044779"/>
              <a:ext cx="1409524" cy="6476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TextBox 24"/>
            <p:cNvSpPr txBox="1"/>
            <p:nvPr/>
          </p:nvSpPr>
          <p:spPr>
            <a:xfrm>
              <a:off x="-1663544" y="2146731"/>
              <a:ext cx="1386540" cy="1446934"/>
            </a:xfrm>
            <a:prstGeom prst="rect">
              <a:avLst/>
            </a:prstGeom>
            <a:noFill/>
          </p:spPr>
          <p:txBody>
            <a:bodyPr wrap="square" rtlCol="0">
              <a:spAutoFit/>
            </a:bodyPr>
            <a:lstStyle/>
            <a:p>
              <a:r>
                <a:rPr lang="en-US" sz="1467" dirty="0"/>
                <a:t>To crop image or reposition image inside of frame, right click on the image and select the crop tool</a:t>
              </a:r>
            </a:p>
          </p:txBody>
        </p:sp>
      </p:grpSp>
    </p:spTree>
    <p:extLst>
      <p:ext uri="{BB962C8B-B14F-4D97-AF65-F5344CB8AC3E}">
        <p14:creationId xmlns:p14="http://schemas.microsoft.com/office/powerpoint/2010/main" val="383204033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Table layout </a:t>
            </a:r>
          </a:p>
        </p:txBody>
      </p:sp>
      <p:sp>
        <p:nvSpPr>
          <p:cNvPr id="4" name="Table Placeholder 3"/>
          <p:cNvSpPr>
            <a:spLocks noGrp="1"/>
          </p:cNvSpPr>
          <p:nvPr>
            <p:ph type="tbl" sz="quarter" idx="10" hasCustomPrompt="1"/>
          </p:nvPr>
        </p:nvSpPr>
        <p:spPr>
          <a:xfrm>
            <a:off x="618067" y="1530351"/>
            <a:ext cx="10966451" cy="4660900"/>
          </a:xfrm>
        </p:spPr>
        <p:txBody>
          <a:bodyPr tIns="1280160"/>
          <a:lstStyle>
            <a:lvl1pPr marL="0" marR="0" indent="0" algn="ctr" defTabSz="1219170" rtl="0" eaLnBrk="1" fontAlgn="auto" latinLnBrk="0" hangingPunct="1">
              <a:lnSpc>
                <a:spcPct val="90000"/>
              </a:lnSpc>
              <a:spcBef>
                <a:spcPts val="0"/>
              </a:spcBef>
              <a:spcAft>
                <a:spcPts val="0"/>
              </a:spcAft>
              <a:buClr>
                <a:srgbClr val="00A9E0"/>
              </a:buClr>
              <a:buSzPct val="100000"/>
              <a:buFont typeface="Arial" panose="020B0604020202020204" pitchFamily="34" charset="0"/>
              <a:buNone/>
              <a:tabLst/>
              <a:defRPr/>
            </a:lvl1pPr>
          </a:lstStyle>
          <a:p>
            <a:r>
              <a:rPr lang="en-US" dirty="0"/>
              <a:t>CLICK ▲ ICON              </a:t>
            </a:r>
          </a:p>
          <a:p>
            <a:r>
              <a:rPr lang="en-US" dirty="0"/>
              <a:t>  to add table</a:t>
            </a:r>
          </a:p>
          <a:p>
            <a:endParaRPr lang="en-US" dirty="0"/>
          </a:p>
        </p:txBody>
      </p:sp>
      <p:sp>
        <p:nvSpPr>
          <p:cNvPr id="6" name="Text Placeholder 4"/>
          <p:cNvSpPr>
            <a:spLocks noGrp="1"/>
          </p:cNvSpPr>
          <p:nvPr>
            <p:ph type="body" sz="quarter" idx="11" hasCustomPrompt="1"/>
          </p:nvPr>
        </p:nvSpPr>
        <p:spPr>
          <a:xfrm>
            <a:off x="600428" y="881767"/>
            <a:ext cx="10972800" cy="366932"/>
          </a:xfrm>
        </p:spPr>
        <p:txBody>
          <a:bodyPr/>
          <a:lstStyle>
            <a:lvl1pPr marL="0" indent="0">
              <a:buNone/>
              <a:defRPr sz="2667" baseline="0"/>
            </a:lvl1pPr>
            <a:lvl2pPr marL="302675" indent="0">
              <a:buNone/>
              <a:defRPr/>
            </a:lvl2pPr>
          </a:lstStyle>
          <a:p>
            <a:pPr lvl="0"/>
            <a:r>
              <a:rPr lang="en-US" dirty="0"/>
              <a:t>Sub-header optional—delete if not needed</a:t>
            </a:r>
          </a:p>
        </p:txBody>
      </p:sp>
      <p:sp>
        <p:nvSpPr>
          <p:cNvPr id="7" name="Text Placeholder 5"/>
          <p:cNvSpPr>
            <a:spLocks noGrp="1"/>
          </p:cNvSpPr>
          <p:nvPr>
            <p:ph type="body" sz="quarter" idx="14" hasCustomPrompt="1"/>
          </p:nvPr>
        </p:nvSpPr>
        <p:spPr>
          <a:xfrm>
            <a:off x="3138793" y="6560363"/>
            <a:ext cx="5927388" cy="214955"/>
          </a:xfrm>
        </p:spPr>
        <p:txBody>
          <a:bodyPr/>
          <a:lstStyle>
            <a:lvl1pPr marL="0" indent="0" algn="ctr">
              <a:buNone/>
              <a:defRPr sz="933" baseline="0"/>
            </a:lvl1pPr>
          </a:lstStyle>
          <a:p>
            <a:pPr lvl="0"/>
            <a:r>
              <a:rPr lang="en-US" dirty="0"/>
              <a:t>For internal use only.</a:t>
            </a:r>
          </a:p>
        </p:txBody>
      </p:sp>
    </p:spTree>
    <p:extLst>
      <p:ext uri="{BB962C8B-B14F-4D97-AF65-F5344CB8AC3E}">
        <p14:creationId xmlns:p14="http://schemas.microsoft.com/office/powerpoint/2010/main" val="376162123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42389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3.sv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vmlDrawing" Target="../drawings/vmlDrawing1.v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9" Type="http://schemas.openxmlformats.org/officeDocument/2006/relationships/image" Target="../media/image1.emf"/><Relationship Id="rId21" Type="http://schemas.openxmlformats.org/officeDocument/2006/relationships/slideLayout" Target="../slideLayouts/slideLayout56.xml"/><Relationship Id="rId34" Type="http://schemas.openxmlformats.org/officeDocument/2006/relationships/slideLayout" Target="../slideLayouts/slideLayout69.xml"/><Relationship Id="rId7" Type="http://schemas.openxmlformats.org/officeDocument/2006/relationships/slideLayout" Target="../slideLayouts/slideLayout4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slideLayout" Target="../slideLayouts/slideLayout64.xml"/><Relationship Id="rId41" Type="http://schemas.openxmlformats.org/officeDocument/2006/relationships/image" Target="../media/image3.svg"/><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slideLayout" Target="../slideLayouts/slideLayout67.xml"/><Relationship Id="rId37" Type="http://schemas.openxmlformats.org/officeDocument/2006/relationships/tags" Target="../tags/tag16.xml"/><Relationship Id="rId40" Type="http://schemas.openxmlformats.org/officeDocument/2006/relationships/image" Target="../media/image2.png"/><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vmlDrawing" Target="../drawings/vmlDrawing16.v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slideLayout" Target="../slideLayouts/slideLayout66.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theme" Target="../theme/theme2.xml"/><Relationship Id="rId8" Type="http://schemas.openxmlformats.org/officeDocument/2006/relationships/slideLayout" Target="../slideLayouts/slideLayout43.xml"/><Relationship Id="rId3" Type="http://schemas.openxmlformats.org/officeDocument/2006/relationships/slideLayout" Target="../slideLayouts/slideLayout38.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38"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2.xml"/><Relationship Id="rId18" Type="http://schemas.openxmlformats.org/officeDocument/2006/relationships/slideLayout" Target="../slideLayouts/slideLayout87.xml"/><Relationship Id="rId26" Type="http://schemas.openxmlformats.org/officeDocument/2006/relationships/slideLayout" Target="../slideLayouts/slideLayout95.xml"/><Relationship Id="rId39" Type="http://schemas.openxmlformats.org/officeDocument/2006/relationships/oleObject" Target="../embeddings/oleObject1.bin"/><Relationship Id="rId21" Type="http://schemas.openxmlformats.org/officeDocument/2006/relationships/slideLayout" Target="../slideLayouts/slideLayout90.xml"/><Relationship Id="rId34" Type="http://schemas.openxmlformats.org/officeDocument/2006/relationships/slideLayout" Target="../slideLayouts/slideLayout103.xml"/><Relationship Id="rId42" Type="http://schemas.openxmlformats.org/officeDocument/2006/relationships/image" Target="../media/image3.svg"/><Relationship Id="rId7" Type="http://schemas.openxmlformats.org/officeDocument/2006/relationships/slideLayout" Target="../slideLayouts/slideLayout76.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slideLayout" Target="../slideLayouts/slideLayout89.xml"/><Relationship Id="rId29" Type="http://schemas.openxmlformats.org/officeDocument/2006/relationships/slideLayout" Target="../slideLayouts/slideLayout98.xml"/><Relationship Id="rId41" Type="http://schemas.openxmlformats.org/officeDocument/2006/relationships/image" Target="../media/image2.png"/><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24" Type="http://schemas.openxmlformats.org/officeDocument/2006/relationships/slideLayout" Target="../slideLayouts/slideLayout93.xml"/><Relationship Id="rId32" Type="http://schemas.openxmlformats.org/officeDocument/2006/relationships/slideLayout" Target="../slideLayouts/slideLayout101.xml"/><Relationship Id="rId37" Type="http://schemas.openxmlformats.org/officeDocument/2006/relationships/vmlDrawing" Target="../drawings/vmlDrawing31.vml"/><Relationship Id="rId40" Type="http://schemas.openxmlformats.org/officeDocument/2006/relationships/image" Target="../media/image1.emf"/><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slideLayout" Target="../slideLayouts/slideLayout92.xml"/><Relationship Id="rId28" Type="http://schemas.openxmlformats.org/officeDocument/2006/relationships/slideLayout" Target="../slideLayouts/slideLayout97.xml"/><Relationship Id="rId36" Type="http://schemas.openxmlformats.org/officeDocument/2006/relationships/theme" Target="../theme/theme3.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31" Type="http://schemas.openxmlformats.org/officeDocument/2006/relationships/slideLayout" Target="../slideLayouts/slideLayout100.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slideLayout" Target="../slideLayouts/slideLayout91.xml"/><Relationship Id="rId27" Type="http://schemas.openxmlformats.org/officeDocument/2006/relationships/slideLayout" Target="../slideLayouts/slideLayout96.xml"/><Relationship Id="rId30" Type="http://schemas.openxmlformats.org/officeDocument/2006/relationships/slideLayout" Target="../slideLayouts/slideLayout99.xml"/><Relationship Id="rId35" Type="http://schemas.openxmlformats.org/officeDocument/2006/relationships/slideLayout" Target="../slideLayouts/slideLayout104.xml"/><Relationship Id="rId8" Type="http://schemas.openxmlformats.org/officeDocument/2006/relationships/slideLayout" Target="../slideLayouts/slideLayout77.xml"/><Relationship Id="rId3" Type="http://schemas.openxmlformats.org/officeDocument/2006/relationships/slideLayout" Target="../slideLayouts/slideLayout72.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slideLayout" Target="../slideLayouts/slideLayout94.xml"/><Relationship Id="rId33" Type="http://schemas.openxmlformats.org/officeDocument/2006/relationships/slideLayout" Target="../slideLayouts/slideLayout102.xml"/><Relationship Id="rId38" Type="http://schemas.openxmlformats.org/officeDocument/2006/relationships/tags" Target="../tags/tag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3D91C1-BC0F-F94D-A0AD-559730FD5B62}"/>
              </a:ext>
            </a:extLst>
          </p:cNvPr>
          <p:cNvGraphicFramePr>
            <a:graphicFrameLocks noChangeAspect="1"/>
          </p:cNvGraphicFramePr>
          <p:nvPr>
            <p:custDataLst>
              <p:tags r:id="rId38"/>
            </p:custDataLst>
            <p:extLst>
              <p:ext uri="{D42A27DB-BD31-4B8C-83A1-F6EECF244321}">
                <p14:modId xmlns:p14="http://schemas.microsoft.com/office/powerpoint/2010/main" val="39793611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409" name="think-cell Slide" r:id="rId39" imgW="7772400" imgH="10058400" progId="TCLayout.ActiveDocument.1">
                  <p:embed/>
                </p:oleObj>
              </mc:Choice>
              <mc:Fallback>
                <p:oleObj name="think-cell Slide" r:id="rId39" imgW="7772400" imgH="10058400" progId="TCLayout.ActiveDocument.1">
                  <p:embed/>
                  <p:pic>
                    <p:nvPicPr>
                      <p:cNvPr id="8" name="Object 7" hidden="1">
                        <a:extLst>
                          <a:ext uri="{FF2B5EF4-FFF2-40B4-BE49-F238E27FC236}">
                            <a16:creationId xmlns:a16="http://schemas.microsoft.com/office/drawing/2014/main" id="{3A3D91C1-BC0F-F94D-A0AD-559730FD5B62}"/>
                          </a:ext>
                        </a:extLst>
                      </p:cNvPr>
                      <p:cNvPicPr/>
                      <p:nvPr/>
                    </p:nvPicPr>
                    <p:blipFill>
                      <a:blip r:embed="rId40"/>
                      <a:stretch>
                        <a:fillRect/>
                      </a:stretch>
                    </p:blipFill>
                    <p:spPr>
                      <a:xfrm>
                        <a:off x="1588" y="1588"/>
                        <a:ext cx="1227" cy="1588"/>
                      </a:xfrm>
                      <a:prstGeom prst="rect">
                        <a:avLst/>
                      </a:prstGeom>
                    </p:spPr>
                  </p:pic>
                </p:oleObj>
              </mc:Fallback>
            </mc:AlternateContent>
          </a:graphicData>
        </a:graphic>
      </p:graphicFrame>
      <p:pic>
        <p:nvPicPr>
          <p:cNvPr id="16" name="Graphic 15">
            <a:extLst>
              <a:ext uri="{FF2B5EF4-FFF2-40B4-BE49-F238E27FC236}">
                <a16:creationId xmlns:a16="http://schemas.microsoft.com/office/drawing/2014/main" id="{8889045D-4C00-BD47-8F8A-06557194B6EE}"/>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685800" y="6345528"/>
            <a:ext cx="1377950" cy="294075"/>
          </a:xfrm>
          <a:prstGeom prst="rect">
            <a:avLst/>
          </a:prstGeom>
        </p:spPr>
      </p:pic>
      <p:sp>
        <p:nvSpPr>
          <p:cNvPr id="17" name="TextBox 16">
            <a:extLst>
              <a:ext uri="{FF2B5EF4-FFF2-40B4-BE49-F238E27FC236}">
                <a16:creationId xmlns:a16="http://schemas.microsoft.com/office/drawing/2014/main" id="{F21DC572-2D21-0647-B6E2-78D47D0B24A7}"/>
              </a:ext>
            </a:extLst>
          </p:cNvPr>
          <p:cNvSpPr txBox="1"/>
          <p:nvPr/>
        </p:nvSpPr>
        <p:spPr>
          <a:xfrm>
            <a:off x="8601075" y="6368176"/>
            <a:ext cx="2223686" cy="246221"/>
          </a:xfrm>
          <a:prstGeom prst="rect">
            <a:avLst/>
          </a:prstGeom>
          <a:noFill/>
        </p:spPr>
        <p:txBody>
          <a:bodyPr wrap="none" lIns="0" tIns="0" rIns="0" bIns="0" rtlCol="0" anchor="b">
            <a:noAutofit/>
          </a:bodyPr>
          <a:lstStyle/>
          <a:p>
            <a:pPr algn="r"/>
            <a:r>
              <a:rPr lang="en-US" sz="1000" dirty="0">
                <a:solidFill>
                  <a:schemeClr val="tx1"/>
                </a:solidFill>
              </a:rPr>
              <a:t>Confidential—do not copy or distribute</a:t>
            </a:r>
          </a:p>
        </p:txBody>
      </p:sp>
      <p:sp>
        <p:nvSpPr>
          <p:cNvPr id="18" name="TextBox 17">
            <a:extLst>
              <a:ext uri="{FF2B5EF4-FFF2-40B4-BE49-F238E27FC236}">
                <a16:creationId xmlns:a16="http://schemas.microsoft.com/office/drawing/2014/main" id="{D2C8CC35-4A81-614F-AB4D-C5DC4673FCA2}"/>
              </a:ext>
            </a:extLst>
          </p:cNvPr>
          <p:cNvSpPr txBox="1"/>
          <p:nvPr/>
        </p:nvSpPr>
        <p:spPr>
          <a:xfrm>
            <a:off x="11162512" y="6368176"/>
            <a:ext cx="335349" cy="246221"/>
          </a:xfrm>
          <a:prstGeom prst="rect">
            <a:avLst/>
          </a:prstGeom>
          <a:noFill/>
        </p:spPr>
        <p:txBody>
          <a:bodyPr wrap="none" lIns="0" tIns="0" rIns="0" bIns="0" rtlCol="0" anchor="b">
            <a:noAutofit/>
          </a:bodyPr>
          <a:lstStyle/>
          <a:p>
            <a:pPr algn="r"/>
            <a:fld id="{25DB8DF5-C232-BC4C-8CE4-28A3F4FC6C77}" type="slidenum">
              <a:rPr lang="en-US" sz="1000" smtClean="0">
                <a:solidFill>
                  <a:schemeClr val="tx1"/>
                </a:solidFill>
              </a:rPr>
              <a:t>‹#›</a:t>
            </a:fld>
            <a:endParaRPr lang="en-US" sz="1000" dirty="0">
              <a:solidFill>
                <a:schemeClr val="tx1"/>
              </a:solidFill>
            </a:endParaRPr>
          </a:p>
        </p:txBody>
      </p:sp>
      <p:sp>
        <p:nvSpPr>
          <p:cNvPr id="2" name="Title Placeholder 1"/>
          <p:cNvSpPr>
            <a:spLocks noGrp="1"/>
          </p:cNvSpPr>
          <p:nvPr>
            <p:ph type="title"/>
          </p:nvPr>
        </p:nvSpPr>
        <p:spPr>
          <a:xfrm>
            <a:off x="685800" y="419100"/>
            <a:ext cx="10820400" cy="960438"/>
          </a:xfrm>
          <a:prstGeom prst="rect">
            <a:avLst/>
          </a:prstGeom>
        </p:spPr>
        <p:txBody>
          <a:bodyPr vert="horz" lIns="0" tIns="0" rIns="0" bIns="0" rtlCol="0" anchor="t">
            <a:noAutofit/>
          </a:bodyPr>
          <a:lstStyle/>
          <a:p>
            <a:r>
              <a:rPr lang="en-US"/>
              <a:t>Title Click to edit Master title style</a:t>
            </a:r>
          </a:p>
        </p:txBody>
      </p:sp>
      <p:sp>
        <p:nvSpPr>
          <p:cNvPr id="3" name="Text Placeholder 2"/>
          <p:cNvSpPr>
            <a:spLocks noGrp="1"/>
          </p:cNvSpPr>
          <p:nvPr>
            <p:ph type="body" idx="1"/>
          </p:nvPr>
        </p:nvSpPr>
        <p:spPr>
          <a:xfrm>
            <a:off x="685800" y="1542985"/>
            <a:ext cx="10812061" cy="4124324"/>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168281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801" r:id="rId35"/>
  </p:sldLayoutIdLst>
  <p:txStyles>
    <p:titleStyle>
      <a:lvl1pPr algn="l" defTabSz="457200" rtl="0" eaLnBrk="1" latinLnBrk="0" hangingPunct="1">
        <a:lnSpc>
          <a:spcPct val="90000"/>
        </a:lnSpc>
        <a:spcBef>
          <a:spcPct val="0"/>
        </a:spcBef>
        <a:buNone/>
        <a:defRPr sz="3200" b="1" kern="1200">
          <a:solidFill>
            <a:schemeClr val="tx2"/>
          </a:solidFill>
          <a:latin typeface="+mj-lt"/>
          <a:ea typeface="+mj-ea"/>
          <a:cs typeface="+mj-cs"/>
        </a:defRPr>
      </a:lvl1pPr>
    </p:titleStyle>
    <p:bodyStyle>
      <a:lvl1pPr marL="0" indent="0" algn="l" defTabSz="457200" rtl="0" eaLnBrk="1" latinLnBrk="0" hangingPunct="1">
        <a:spcBef>
          <a:spcPts val="0"/>
        </a:spcBef>
        <a:buFont typeface="Arial"/>
        <a:buNone/>
        <a:defRPr sz="2000" kern="1200">
          <a:solidFill>
            <a:schemeClr val="tx1"/>
          </a:solidFill>
          <a:latin typeface="+mn-lt"/>
          <a:ea typeface="+mn-ea"/>
          <a:cs typeface="+mn-cs"/>
        </a:defRPr>
      </a:lvl1pPr>
      <a:lvl2pPr marL="293688" indent="-293688" algn="l" defTabSz="457200" rtl="0" eaLnBrk="1" latinLnBrk="0" hangingPunct="1">
        <a:spcBef>
          <a:spcPts val="0"/>
        </a:spcBef>
        <a:buFont typeface="Arial" panose="020B0604020202020204" pitchFamily="34" charset="0"/>
        <a:buChar char="•"/>
        <a:tabLst/>
        <a:defRPr sz="2000" kern="1200">
          <a:solidFill>
            <a:schemeClr val="tx1"/>
          </a:solidFill>
          <a:latin typeface="+mn-lt"/>
          <a:ea typeface="+mn-ea"/>
          <a:cs typeface="+mn-cs"/>
        </a:defRPr>
      </a:lvl2pPr>
      <a:lvl3pPr marL="573088" indent="-279400" algn="l" defTabSz="457200" rtl="0" eaLnBrk="1" latinLnBrk="0" hangingPunct="1">
        <a:spcBef>
          <a:spcPts val="0"/>
        </a:spcBef>
        <a:buSzPct val="100000"/>
        <a:buFont typeface="System Font Regular"/>
        <a:buChar char="◦"/>
        <a:tabLst/>
        <a:defRPr sz="2000" kern="1200">
          <a:solidFill>
            <a:schemeClr val="tx1"/>
          </a:solidFill>
          <a:latin typeface="+mn-lt"/>
          <a:ea typeface="+mn-ea"/>
          <a:cs typeface="+mn-cs"/>
        </a:defRPr>
      </a:lvl3pPr>
      <a:lvl4pPr marL="857250" indent="-284163" algn="l" defTabSz="457200" rtl="0" eaLnBrk="1" latinLnBrk="0" hangingPunct="1">
        <a:spcBef>
          <a:spcPts val="0"/>
        </a:spcBef>
        <a:buSzPct val="90000"/>
        <a:buFont typeface="Wingdings" pitchFamily="2" charset="2"/>
        <a:buChar char="§"/>
        <a:tabLst/>
        <a:defRPr sz="2000" kern="1200">
          <a:solidFill>
            <a:schemeClr val="tx1"/>
          </a:solidFill>
          <a:latin typeface="+mn-lt"/>
          <a:ea typeface="+mn-ea"/>
          <a:cs typeface="+mn-cs"/>
        </a:defRPr>
      </a:lvl4pPr>
      <a:lvl5pPr marL="1144588" indent="-287338" algn="l" defTabSz="457200" rtl="0" eaLnBrk="1" latinLnBrk="0" hangingPunct="1">
        <a:spcBef>
          <a:spcPts val="0"/>
        </a:spcBef>
        <a:buFont typeface="Arial" panose="020B0604020202020204" pitchFamily="34" charset="0"/>
        <a:buChar char="•"/>
        <a:tabLst/>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90">
          <p15:clr>
            <a:srgbClr val="F26B43"/>
          </p15:clr>
        </p15:guide>
        <p15:guide id="2" pos="432">
          <p15:clr>
            <a:srgbClr val="F26B43"/>
          </p15:clr>
        </p15:guide>
        <p15:guide id="3" pos="7248">
          <p15:clr>
            <a:srgbClr val="F26B43"/>
          </p15:clr>
        </p15:guide>
        <p15:guide id="4" orient="horz" pos="288">
          <p15:clr>
            <a:srgbClr val="F26B43"/>
          </p15:clr>
        </p15:guide>
        <p15:guide id="5" orient="horz" pos="1008">
          <p15:clr>
            <a:srgbClr val="F26B43"/>
          </p15:clr>
        </p15:guide>
        <p15:guide id="6" orient="horz" pos="414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3D91C1-BC0F-F94D-A0AD-559730FD5B62}"/>
              </a:ext>
            </a:extLst>
          </p:cNvPr>
          <p:cNvGraphicFramePr>
            <a:graphicFrameLocks noChangeAspect="1"/>
          </p:cNvGraphicFramePr>
          <p:nvPr>
            <p:custDataLst>
              <p:tags r:id="rId37"/>
            </p:custDataLst>
            <p:extLst>
              <p:ext uri="{D42A27DB-BD31-4B8C-83A1-F6EECF244321}">
                <p14:modId xmlns:p14="http://schemas.microsoft.com/office/powerpoint/2010/main" val="21575130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7129" name="think-cell Slide" r:id="rId38" imgW="7772400" imgH="10058400" progId="TCLayout.ActiveDocument.1">
                  <p:embed/>
                </p:oleObj>
              </mc:Choice>
              <mc:Fallback>
                <p:oleObj name="think-cell Slide" r:id="rId38" imgW="7772400" imgH="10058400" progId="TCLayout.ActiveDocument.1">
                  <p:embed/>
                  <p:pic>
                    <p:nvPicPr>
                      <p:cNvPr id="8" name="Object 7" hidden="1">
                        <a:extLst>
                          <a:ext uri="{FF2B5EF4-FFF2-40B4-BE49-F238E27FC236}">
                            <a16:creationId xmlns:a16="http://schemas.microsoft.com/office/drawing/2014/main" id="{3A3D91C1-BC0F-F94D-A0AD-559730FD5B62}"/>
                          </a:ext>
                        </a:extLst>
                      </p:cNvPr>
                      <p:cNvPicPr/>
                      <p:nvPr/>
                    </p:nvPicPr>
                    <p:blipFill>
                      <a:blip r:embed="rId39"/>
                      <a:stretch>
                        <a:fillRect/>
                      </a:stretch>
                    </p:blipFill>
                    <p:spPr>
                      <a:xfrm>
                        <a:off x="1588" y="1588"/>
                        <a:ext cx="1227" cy="1588"/>
                      </a:xfrm>
                      <a:prstGeom prst="rect">
                        <a:avLst/>
                      </a:prstGeom>
                    </p:spPr>
                  </p:pic>
                </p:oleObj>
              </mc:Fallback>
            </mc:AlternateContent>
          </a:graphicData>
        </a:graphic>
      </p:graphicFrame>
      <p:pic>
        <p:nvPicPr>
          <p:cNvPr id="16" name="Graphic 15">
            <a:extLst>
              <a:ext uri="{FF2B5EF4-FFF2-40B4-BE49-F238E27FC236}">
                <a16:creationId xmlns:a16="http://schemas.microsoft.com/office/drawing/2014/main" id="{8889045D-4C00-BD47-8F8A-06557194B6EE}"/>
              </a:ext>
            </a:extLst>
          </p:cNvPr>
          <p:cNvPicPr>
            <a:picLocks noChangeAspect="1"/>
          </p:cNvPicPr>
          <p:nvPr/>
        </p:nvPicPr>
        <p:blipFill>
          <a:blip r:embed="rId40">
            <a:extLst>
              <a:ext uri="{96DAC541-7B7A-43D3-8B79-37D633B846F1}">
                <asvg:svgBlip xmlns:asvg="http://schemas.microsoft.com/office/drawing/2016/SVG/main" r:embed="rId41"/>
              </a:ext>
            </a:extLst>
          </a:blip>
          <a:stretch>
            <a:fillRect/>
          </a:stretch>
        </p:blipFill>
        <p:spPr>
          <a:xfrm>
            <a:off x="685800" y="6345528"/>
            <a:ext cx="1377950" cy="294075"/>
          </a:xfrm>
          <a:prstGeom prst="rect">
            <a:avLst/>
          </a:prstGeom>
        </p:spPr>
      </p:pic>
      <p:sp>
        <p:nvSpPr>
          <p:cNvPr id="17" name="TextBox 16">
            <a:extLst>
              <a:ext uri="{FF2B5EF4-FFF2-40B4-BE49-F238E27FC236}">
                <a16:creationId xmlns:a16="http://schemas.microsoft.com/office/drawing/2014/main" id="{F21DC572-2D21-0647-B6E2-78D47D0B24A7}"/>
              </a:ext>
            </a:extLst>
          </p:cNvPr>
          <p:cNvSpPr txBox="1"/>
          <p:nvPr/>
        </p:nvSpPr>
        <p:spPr>
          <a:xfrm>
            <a:off x="8601075" y="6368176"/>
            <a:ext cx="2223686" cy="246221"/>
          </a:xfrm>
          <a:prstGeom prst="rect">
            <a:avLst/>
          </a:prstGeom>
          <a:noFill/>
        </p:spPr>
        <p:txBody>
          <a:bodyPr wrap="none" lIns="0" tIns="0" rIns="0" bIns="0" rtlCol="0" anchor="b">
            <a:noAutofit/>
          </a:bodyPr>
          <a:lstStyle/>
          <a:p>
            <a:pPr algn="r"/>
            <a:r>
              <a:rPr lang="en-US" sz="1000" dirty="0">
                <a:solidFill>
                  <a:schemeClr val="tx1"/>
                </a:solidFill>
              </a:rPr>
              <a:t>Confidential—do not copy or distribute</a:t>
            </a:r>
          </a:p>
        </p:txBody>
      </p:sp>
      <p:sp>
        <p:nvSpPr>
          <p:cNvPr id="18" name="TextBox 17">
            <a:extLst>
              <a:ext uri="{FF2B5EF4-FFF2-40B4-BE49-F238E27FC236}">
                <a16:creationId xmlns:a16="http://schemas.microsoft.com/office/drawing/2014/main" id="{D2C8CC35-4A81-614F-AB4D-C5DC4673FCA2}"/>
              </a:ext>
            </a:extLst>
          </p:cNvPr>
          <p:cNvSpPr txBox="1"/>
          <p:nvPr/>
        </p:nvSpPr>
        <p:spPr>
          <a:xfrm>
            <a:off x="11162512" y="6368176"/>
            <a:ext cx="335349" cy="246221"/>
          </a:xfrm>
          <a:prstGeom prst="rect">
            <a:avLst/>
          </a:prstGeom>
          <a:noFill/>
        </p:spPr>
        <p:txBody>
          <a:bodyPr wrap="none" lIns="0" tIns="0" rIns="0" bIns="0" rtlCol="0" anchor="b">
            <a:noAutofit/>
          </a:bodyPr>
          <a:lstStyle/>
          <a:p>
            <a:pPr algn="r"/>
            <a:fld id="{25DB8DF5-C232-BC4C-8CE4-28A3F4FC6C77}" type="slidenum">
              <a:rPr lang="en-US" sz="1000" smtClean="0">
                <a:solidFill>
                  <a:schemeClr val="tx1"/>
                </a:solidFill>
              </a:rPr>
              <a:t>‹#›</a:t>
            </a:fld>
            <a:endParaRPr lang="en-US" sz="1000" dirty="0">
              <a:solidFill>
                <a:schemeClr val="tx1"/>
              </a:solidFill>
            </a:endParaRPr>
          </a:p>
        </p:txBody>
      </p:sp>
      <p:sp>
        <p:nvSpPr>
          <p:cNvPr id="2" name="Title Placeholder 1"/>
          <p:cNvSpPr>
            <a:spLocks noGrp="1"/>
          </p:cNvSpPr>
          <p:nvPr>
            <p:ph type="title"/>
          </p:nvPr>
        </p:nvSpPr>
        <p:spPr>
          <a:xfrm>
            <a:off x="685800" y="419100"/>
            <a:ext cx="10820400" cy="960438"/>
          </a:xfrm>
          <a:prstGeom prst="rect">
            <a:avLst/>
          </a:prstGeom>
        </p:spPr>
        <p:txBody>
          <a:bodyPr vert="horz" lIns="0" tIns="0" rIns="0" bIns="0" rtlCol="0" anchor="t">
            <a:noAutofit/>
          </a:bodyPr>
          <a:lstStyle/>
          <a:p>
            <a:r>
              <a:rPr lang="en-US"/>
              <a:t>Title Click to edit Master title style</a:t>
            </a:r>
          </a:p>
        </p:txBody>
      </p:sp>
      <p:sp>
        <p:nvSpPr>
          <p:cNvPr id="3" name="Text Placeholder 2"/>
          <p:cNvSpPr>
            <a:spLocks noGrp="1"/>
          </p:cNvSpPr>
          <p:nvPr>
            <p:ph type="body" idx="1"/>
          </p:nvPr>
        </p:nvSpPr>
        <p:spPr>
          <a:xfrm>
            <a:off x="685800" y="1542985"/>
            <a:ext cx="10812061" cy="4124324"/>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5176573"/>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49" r:id="rId19"/>
    <p:sldLayoutId id="2147483750" r:id="rId20"/>
    <p:sldLayoutId id="2147483751" r:id="rId21"/>
    <p:sldLayoutId id="2147483752" r:id="rId22"/>
    <p:sldLayoutId id="2147483753" r:id="rId23"/>
    <p:sldLayoutId id="2147483754" r:id="rId24"/>
    <p:sldLayoutId id="2147483755" r:id="rId25"/>
    <p:sldLayoutId id="2147483756" r:id="rId26"/>
    <p:sldLayoutId id="2147483757" r:id="rId27"/>
    <p:sldLayoutId id="2147483758" r:id="rId28"/>
    <p:sldLayoutId id="2147483759" r:id="rId29"/>
    <p:sldLayoutId id="2147483760" r:id="rId30"/>
    <p:sldLayoutId id="2147483761" r:id="rId31"/>
    <p:sldLayoutId id="2147483762" r:id="rId32"/>
    <p:sldLayoutId id="2147483763" r:id="rId33"/>
    <p:sldLayoutId id="2147483764" r:id="rId34"/>
  </p:sldLayoutIdLst>
  <p:txStyles>
    <p:titleStyle>
      <a:lvl1pPr algn="l" defTabSz="457200" rtl="0" eaLnBrk="1" latinLnBrk="0" hangingPunct="1">
        <a:lnSpc>
          <a:spcPct val="90000"/>
        </a:lnSpc>
        <a:spcBef>
          <a:spcPct val="0"/>
        </a:spcBef>
        <a:buNone/>
        <a:defRPr sz="3200" b="1" kern="1200">
          <a:solidFill>
            <a:schemeClr val="tx2"/>
          </a:solidFill>
          <a:latin typeface="+mj-lt"/>
          <a:ea typeface="+mj-ea"/>
          <a:cs typeface="+mj-cs"/>
        </a:defRPr>
      </a:lvl1pPr>
    </p:titleStyle>
    <p:bodyStyle>
      <a:lvl1pPr marL="0" indent="0" algn="l" defTabSz="457200" rtl="0" eaLnBrk="1" latinLnBrk="0" hangingPunct="1">
        <a:spcBef>
          <a:spcPts val="0"/>
        </a:spcBef>
        <a:buFont typeface="Arial"/>
        <a:buNone/>
        <a:defRPr sz="2000" kern="1200">
          <a:solidFill>
            <a:schemeClr val="tx1"/>
          </a:solidFill>
          <a:latin typeface="+mn-lt"/>
          <a:ea typeface="+mn-ea"/>
          <a:cs typeface="+mn-cs"/>
        </a:defRPr>
      </a:lvl1pPr>
      <a:lvl2pPr marL="293688" indent="-293688" algn="l" defTabSz="457200" rtl="0" eaLnBrk="1" latinLnBrk="0" hangingPunct="1">
        <a:spcBef>
          <a:spcPts val="0"/>
        </a:spcBef>
        <a:buFont typeface="Arial" panose="020B0604020202020204" pitchFamily="34" charset="0"/>
        <a:buChar char="•"/>
        <a:tabLst/>
        <a:defRPr sz="2000" kern="1200">
          <a:solidFill>
            <a:schemeClr val="tx1"/>
          </a:solidFill>
          <a:latin typeface="+mn-lt"/>
          <a:ea typeface="+mn-ea"/>
          <a:cs typeface="+mn-cs"/>
        </a:defRPr>
      </a:lvl2pPr>
      <a:lvl3pPr marL="573088" indent="-279400" algn="l" defTabSz="457200" rtl="0" eaLnBrk="1" latinLnBrk="0" hangingPunct="1">
        <a:spcBef>
          <a:spcPts val="0"/>
        </a:spcBef>
        <a:buSzPct val="100000"/>
        <a:buFont typeface="System Font Regular"/>
        <a:buChar char="◦"/>
        <a:tabLst/>
        <a:defRPr sz="2000" kern="1200">
          <a:solidFill>
            <a:schemeClr val="tx1"/>
          </a:solidFill>
          <a:latin typeface="+mn-lt"/>
          <a:ea typeface="+mn-ea"/>
          <a:cs typeface="+mn-cs"/>
        </a:defRPr>
      </a:lvl3pPr>
      <a:lvl4pPr marL="857250" indent="-284163" algn="l" defTabSz="457200" rtl="0" eaLnBrk="1" latinLnBrk="0" hangingPunct="1">
        <a:spcBef>
          <a:spcPts val="0"/>
        </a:spcBef>
        <a:buSzPct val="90000"/>
        <a:buFont typeface="Wingdings" pitchFamily="2" charset="2"/>
        <a:buChar char="§"/>
        <a:tabLst/>
        <a:defRPr sz="2000" kern="1200">
          <a:solidFill>
            <a:schemeClr val="tx1"/>
          </a:solidFill>
          <a:latin typeface="+mn-lt"/>
          <a:ea typeface="+mn-ea"/>
          <a:cs typeface="+mn-cs"/>
        </a:defRPr>
      </a:lvl4pPr>
      <a:lvl5pPr marL="1144588" indent="-287338" algn="l" defTabSz="457200" rtl="0" eaLnBrk="1" latinLnBrk="0" hangingPunct="1">
        <a:spcBef>
          <a:spcPts val="0"/>
        </a:spcBef>
        <a:buFont typeface="Arial" panose="020B0604020202020204" pitchFamily="34" charset="0"/>
        <a:buChar char="•"/>
        <a:tabLst/>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90">
          <p15:clr>
            <a:srgbClr val="F26B43"/>
          </p15:clr>
        </p15:guide>
        <p15:guide id="2" pos="432">
          <p15:clr>
            <a:srgbClr val="F26B43"/>
          </p15:clr>
        </p15:guide>
        <p15:guide id="3" pos="7248">
          <p15:clr>
            <a:srgbClr val="F26B43"/>
          </p15:clr>
        </p15:guide>
        <p15:guide id="4" orient="horz" pos="288">
          <p15:clr>
            <a:srgbClr val="F26B43"/>
          </p15:clr>
        </p15:guide>
        <p15:guide id="5" orient="horz" pos="1008">
          <p15:clr>
            <a:srgbClr val="F26B43"/>
          </p15:clr>
        </p15:guide>
        <p15:guide id="6" orient="horz" pos="414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3D91C1-BC0F-F94D-A0AD-559730FD5B62}"/>
              </a:ext>
            </a:extLst>
          </p:cNvPr>
          <p:cNvGraphicFramePr>
            <a:graphicFrameLocks noChangeAspect="1"/>
          </p:cNvGraphicFramePr>
          <p:nvPr>
            <p:custDataLst>
              <p:tags r:id="rId38"/>
            </p:custDataLst>
            <p:extLst>
              <p:ext uri="{D42A27DB-BD31-4B8C-83A1-F6EECF244321}">
                <p14:modId xmlns:p14="http://schemas.microsoft.com/office/powerpoint/2010/main" val="30369879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2489" name="think-cell Slide" r:id="rId39" imgW="7772400" imgH="10058400" progId="TCLayout.ActiveDocument.1">
                  <p:embed/>
                </p:oleObj>
              </mc:Choice>
              <mc:Fallback>
                <p:oleObj name="think-cell Slide" r:id="rId39" imgW="7772400" imgH="10058400" progId="TCLayout.ActiveDocument.1">
                  <p:embed/>
                  <p:pic>
                    <p:nvPicPr>
                      <p:cNvPr id="8" name="Object 7" hidden="1">
                        <a:extLst>
                          <a:ext uri="{FF2B5EF4-FFF2-40B4-BE49-F238E27FC236}">
                            <a16:creationId xmlns:a16="http://schemas.microsoft.com/office/drawing/2014/main" id="{3A3D91C1-BC0F-F94D-A0AD-559730FD5B62}"/>
                          </a:ext>
                        </a:extLst>
                      </p:cNvPr>
                      <p:cNvPicPr/>
                      <p:nvPr/>
                    </p:nvPicPr>
                    <p:blipFill>
                      <a:blip r:embed="rId40"/>
                      <a:stretch>
                        <a:fillRect/>
                      </a:stretch>
                    </p:blipFill>
                    <p:spPr>
                      <a:xfrm>
                        <a:off x="1588" y="1588"/>
                        <a:ext cx="1227" cy="1588"/>
                      </a:xfrm>
                      <a:prstGeom prst="rect">
                        <a:avLst/>
                      </a:prstGeom>
                    </p:spPr>
                  </p:pic>
                </p:oleObj>
              </mc:Fallback>
            </mc:AlternateContent>
          </a:graphicData>
        </a:graphic>
      </p:graphicFrame>
      <p:pic>
        <p:nvPicPr>
          <p:cNvPr id="16" name="Graphic 15">
            <a:extLst>
              <a:ext uri="{FF2B5EF4-FFF2-40B4-BE49-F238E27FC236}">
                <a16:creationId xmlns:a16="http://schemas.microsoft.com/office/drawing/2014/main" id="{8889045D-4C00-BD47-8F8A-06557194B6EE}"/>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685800" y="6345528"/>
            <a:ext cx="1377950" cy="294075"/>
          </a:xfrm>
          <a:prstGeom prst="rect">
            <a:avLst/>
          </a:prstGeom>
        </p:spPr>
      </p:pic>
      <p:sp>
        <p:nvSpPr>
          <p:cNvPr id="17" name="TextBox 16">
            <a:extLst>
              <a:ext uri="{FF2B5EF4-FFF2-40B4-BE49-F238E27FC236}">
                <a16:creationId xmlns:a16="http://schemas.microsoft.com/office/drawing/2014/main" id="{F21DC572-2D21-0647-B6E2-78D47D0B24A7}"/>
              </a:ext>
            </a:extLst>
          </p:cNvPr>
          <p:cNvSpPr txBox="1"/>
          <p:nvPr/>
        </p:nvSpPr>
        <p:spPr>
          <a:xfrm>
            <a:off x="8601075" y="6368176"/>
            <a:ext cx="2223686" cy="246221"/>
          </a:xfrm>
          <a:prstGeom prst="rect">
            <a:avLst/>
          </a:prstGeom>
          <a:noFill/>
        </p:spPr>
        <p:txBody>
          <a:bodyPr wrap="none" lIns="0" tIns="0" rIns="0" bIns="0" rtlCol="0" anchor="b">
            <a:noAutofit/>
          </a:bodyPr>
          <a:lstStyle/>
          <a:p>
            <a:pPr algn="r"/>
            <a:r>
              <a:rPr lang="en-US" sz="1000" dirty="0">
                <a:solidFill>
                  <a:schemeClr val="tx1"/>
                </a:solidFill>
              </a:rPr>
              <a:t>Confidential—do not copy or distribute</a:t>
            </a:r>
          </a:p>
        </p:txBody>
      </p:sp>
      <p:sp>
        <p:nvSpPr>
          <p:cNvPr id="18" name="TextBox 17">
            <a:extLst>
              <a:ext uri="{FF2B5EF4-FFF2-40B4-BE49-F238E27FC236}">
                <a16:creationId xmlns:a16="http://schemas.microsoft.com/office/drawing/2014/main" id="{D2C8CC35-4A81-614F-AB4D-C5DC4673FCA2}"/>
              </a:ext>
            </a:extLst>
          </p:cNvPr>
          <p:cNvSpPr txBox="1"/>
          <p:nvPr/>
        </p:nvSpPr>
        <p:spPr>
          <a:xfrm>
            <a:off x="11162512" y="6368176"/>
            <a:ext cx="335349" cy="246221"/>
          </a:xfrm>
          <a:prstGeom prst="rect">
            <a:avLst/>
          </a:prstGeom>
          <a:noFill/>
        </p:spPr>
        <p:txBody>
          <a:bodyPr wrap="none" lIns="0" tIns="0" rIns="0" bIns="0" rtlCol="0" anchor="b">
            <a:noAutofit/>
          </a:bodyPr>
          <a:lstStyle/>
          <a:p>
            <a:pPr algn="r"/>
            <a:fld id="{25DB8DF5-C232-BC4C-8CE4-28A3F4FC6C77}" type="slidenum">
              <a:rPr lang="en-US" sz="1000" smtClean="0">
                <a:solidFill>
                  <a:schemeClr val="tx1"/>
                </a:solidFill>
              </a:rPr>
              <a:t>‹#›</a:t>
            </a:fld>
            <a:endParaRPr lang="en-US" sz="1000" dirty="0">
              <a:solidFill>
                <a:schemeClr val="tx1"/>
              </a:solidFill>
            </a:endParaRPr>
          </a:p>
        </p:txBody>
      </p:sp>
      <p:sp>
        <p:nvSpPr>
          <p:cNvPr id="2" name="Title Placeholder 1"/>
          <p:cNvSpPr>
            <a:spLocks noGrp="1"/>
          </p:cNvSpPr>
          <p:nvPr>
            <p:ph type="title"/>
          </p:nvPr>
        </p:nvSpPr>
        <p:spPr>
          <a:xfrm>
            <a:off x="685800" y="419100"/>
            <a:ext cx="10820400" cy="960438"/>
          </a:xfrm>
          <a:prstGeom prst="rect">
            <a:avLst/>
          </a:prstGeom>
        </p:spPr>
        <p:txBody>
          <a:bodyPr vert="horz" lIns="0" tIns="0" rIns="0" bIns="0" rtlCol="0" anchor="t">
            <a:noAutofit/>
          </a:bodyPr>
          <a:lstStyle/>
          <a:p>
            <a:r>
              <a:rPr lang="en-US"/>
              <a:t>Title Click to edit Master title style</a:t>
            </a:r>
          </a:p>
        </p:txBody>
      </p:sp>
      <p:sp>
        <p:nvSpPr>
          <p:cNvPr id="3" name="Text Placeholder 2"/>
          <p:cNvSpPr>
            <a:spLocks noGrp="1"/>
          </p:cNvSpPr>
          <p:nvPr>
            <p:ph type="body" idx="1"/>
          </p:nvPr>
        </p:nvSpPr>
        <p:spPr>
          <a:xfrm>
            <a:off x="685800" y="1542985"/>
            <a:ext cx="10812061" cy="4124324"/>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4546347"/>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 id="2147483778" r:id="rId13"/>
    <p:sldLayoutId id="2147483779" r:id="rId14"/>
    <p:sldLayoutId id="2147483780" r:id="rId15"/>
    <p:sldLayoutId id="2147483781" r:id="rId16"/>
    <p:sldLayoutId id="2147483782" r:id="rId17"/>
    <p:sldLayoutId id="2147483783" r:id="rId18"/>
    <p:sldLayoutId id="2147483784" r:id="rId19"/>
    <p:sldLayoutId id="2147483785" r:id="rId20"/>
    <p:sldLayoutId id="2147483786" r:id="rId21"/>
    <p:sldLayoutId id="2147483787" r:id="rId22"/>
    <p:sldLayoutId id="2147483788" r:id="rId23"/>
    <p:sldLayoutId id="2147483789" r:id="rId24"/>
    <p:sldLayoutId id="2147483790" r:id="rId25"/>
    <p:sldLayoutId id="2147483791" r:id="rId26"/>
    <p:sldLayoutId id="2147483792" r:id="rId27"/>
    <p:sldLayoutId id="2147483793" r:id="rId28"/>
    <p:sldLayoutId id="2147483794" r:id="rId29"/>
    <p:sldLayoutId id="2147483795" r:id="rId30"/>
    <p:sldLayoutId id="2147483796" r:id="rId31"/>
    <p:sldLayoutId id="2147483797" r:id="rId32"/>
    <p:sldLayoutId id="2147483798" r:id="rId33"/>
    <p:sldLayoutId id="2147483799" r:id="rId34"/>
    <p:sldLayoutId id="2147483815" r:id="rId35"/>
  </p:sldLayoutIdLst>
  <p:txStyles>
    <p:titleStyle>
      <a:lvl1pPr algn="l" defTabSz="457200" rtl="0" eaLnBrk="1" latinLnBrk="0" hangingPunct="1">
        <a:lnSpc>
          <a:spcPct val="90000"/>
        </a:lnSpc>
        <a:spcBef>
          <a:spcPct val="0"/>
        </a:spcBef>
        <a:buNone/>
        <a:defRPr sz="3200" b="1" kern="1200">
          <a:solidFill>
            <a:schemeClr val="tx2"/>
          </a:solidFill>
          <a:latin typeface="+mj-lt"/>
          <a:ea typeface="+mj-ea"/>
          <a:cs typeface="+mj-cs"/>
        </a:defRPr>
      </a:lvl1pPr>
    </p:titleStyle>
    <p:bodyStyle>
      <a:lvl1pPr marL="0" indent="0" algn="l" defTabSz="457200" rtl="0" eaLnBrk="1" latinLnBrk="0" hangingPunct="1">
        <a:spcBef>
          <a:spcPts val="0"/>
        </a:spcBef>
        <a:buFont typeface="Arial"/>
        <a:buNone/>
        <a:defRPr sz="2000" kern="1200">
          <a:solidFill>
            <a:schemeClr val="tx1"/>
          </a:solidFill>
          <a:latin typeface="+mn-lt"/>
          <a:ea typeface="+mn-ea"/>
          <a:cs typeface="+mn-cs"/>
        </a:defRPr>
      </a:lvl1pPr>
      <a:lvl2pPr marL="293688" indent="-293688" algn="l" defTabSz="457200" rtl="0" eaLnBrk="1" latinLnBrk="0" hangingPunct="1">
        <a:spcBef>
          <a:spcPts val="0"/>
        </a:spcBef>
        <a:buFont typeface="Arial" panose="020B0604020202020204" pitchFamily="34" charset="0"/>
        <a:buChar char="•"/>
        <a:tabLst/>
        <a:defRPr sz="2000" kern="1200">
          <a:solidFill>
            <a:schemeClr val="tx1"/>
          </a:solidFill>
          <a:latin typeface="+mn-lt"/>
          <a:ea typeface="+mn-ea"/>
          <a:cs typeface="+mn-cs"/>
        </a:defRPr>
      </a:lvl2pPr>
      <a:lvl3pPr marL="573088" indent="-279400" algn="l" defTabSz="457200" rtl="0" eaLnBrk="1" latinLnBrk="0" hangingPunct="1">
        <a:spcBef>
          <a:spcPts val="0"/>
        </a:spcBef>
        <a:buSzPct val="100000"/>
        <a:buFont typeface="System Font Regular"/>
        <a:buChar char="◦"/>
        <a:tabLst/>
        <a:defRPr sz="2000" kern="1200">
          <a:solidFill>
            <a:schemeClr val="tx1"/>
          </a:solidFill>
          <a:latin typeface="+mn-lt"/>
          <a:ea typeface="+mn-ea"/>
          <a:cs typeface="+mn-cs"/>
        </a:defRPr>
      </a:lvl3pPr>
      <a:lvl4pPr marL="857250" indent="-284163" algn="l" defTabSz="457200" rtl="0" eaLnBrk="1" latinLnBrk="0" hangingPunct="1">
        <a:spcBef>
          <a:spcPts val="0"/>
        </a:spcBef>
        <a:buSzPct val="90000"/>
        <a:buFont typeface="Wingdings" pitchFamily="2" charset="2"/>
        <a:buChar char="§"/>
        <a:tabLst/>
        <a:defRPr sz="2000" kern="1200">
          <a:solidFill>
            <a:schemeClr val="tx1"/>
          </a:solidFill>
          <a:latin typeface="+mn-lt"/>
          <a:ea typeface="+mn-ea"/>
          <a:cs typeface="+mn-cs"/>
        </a:defRPr>
      </a:lvl4pPr>
      <a:lvl5pPr marL="1144588" indent="-287338" algn="l" defTabSz="457200" rtl="0" eaLnBrk="1" latinLnBrk="0" hangingPunct="1">
        <a:spcBef>
          <a:spcPts val="0"/>
        </a:spcBef>
        <a:buFont typeface="Arial" panose="020B0604020202020204" pitchFamily="34" charset="0"/>
        <a:buChar char="•"/>
        <a:tabLst/>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90">
          <p15:clr>
            <a:srgbClr val="F26B43"/>
          </p15:clr>
        </p15:guide>
        <p15:guide id="2" pos="432">
          <p15:clr>
            <a:srgbClr val="F26B43"/>
          </p15:clr>
        </p15:guide>
        <p15:guide id="3" pos="7248">
          <p15:clr>
            <a:srgbClr val="F26B43"/>
          </p15:clr>
        </p15:guide>
        <p15:guide id="4" orient="horz" pos="288">
          <p15:clr>
            <a:srgbClr val="F26B43"/>
          </p15:clr>
        </p15:guide>
        <p15:guide id="5" orient="horz" pos="1008">
          <p15:clr>
            <a:srgbClr val="F26B43"/>
          </p15:clr>
        </p15:guide>
        <p15:guide id="6" orient="horz" pos="414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tags" Target="../tags/tag46.xml"/><Relationship Id="rId1" Type="http://schemas.openxmlformats.org/officeDocument/2006/relationships/vmlDrawing" Target="../drawings/vmlDrawing46.vml"/><Relationship Id="rId6" Type="http://schemas.openxmlformats.org/officeDocument/2006/relationships/image" Target="../media/image20.emf"/><Relationship Id="rId5" Type="http://schemas.openxmlformats.org/officeDocument/2006/relationships/oleObject" Target="../embeddings/oleObject16.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hyperlink" Target="https://www.goodfreephotos.com/other-photos/rooms/staircase.jpg.php" TargetMode="External"/><Relationship Id="rId2" Type="http://schemas.openxmlformats.org/officeDocument/2006/relationships/image" Target="../media/image23.jpg"/><Relationship Id="rId1" Type="http://schemas.openxmlformats.org/officeDocument/2006/relationships/slideLayout" Target="../slideLayouts/slideLayout92.xml"/></Relationships>
</file>

<file path=ppt/slides/_rels/slide1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79.xml"/></Relationships>
</file>

<file path=ppt/slides/_rels/slide1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79.xml"/></Relationships>
</file>

<file path=ppt/slides/_rels/slide1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79.xml"/></Relationships>
</file>

<file path=ppt/slides/_rels/slide1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86.xml"/></Relationships>
</file>

<file path=ppt/slides/_rels/slide15.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Layout" Target="../slideLayouts/slideLayout8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3.xml"/></Relationships>
</file>

<file path=ppt/slides/_rels/slide1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0.xml"/><Relationship Id="rId1" Type="http://schemas.openxmlformats.org/officeDocument/2006/relationships/slideLayout" Target="../slideLayouts/slideLayout87.xml"/><Relationship Id="rId5" Type="http://schemas.openxmlformats.org/officeDocument/2006/relationships/image" Target="../media/image31.png"/><Relationship Id="rId4" Type="http://schemas.openxmlformats.org/officeDocument/2006/relationships/image" Target="../media/image30.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8.xml"/></Relationships>
</file>

<file path=ppt/slides/_rels/slide2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7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2.xml"/></Relationships>
</file>

<file path=ppt/slides/_rels/slide27.xml.rels><?xml version="1.0" encoding="UTF-8" standalone="yes"?>
<Relationships xmlns="http://schemas.openxmlformats.org/package/2006/relationships"><Relationship Id="rId3" Type="http://schemas.openxmlformats.org/officeDocument/2006/relationships/hyperlink" Target="https://www.naic.org/documents/cipr_current_study_160519_ltc_insurance.pdf" TargetMode="External"/><Relationship Id="rId7" Type="http://schemas.openxmlformats.org/officeDocument/2006/relationships/image" Target="../media/image35.png"/><Relationship Id="rId2" Type="http://schemas.openxmlformats.org/officeDocument/2006/relationships/notesSlide" Target="../notesSlides/notesSlide15.xml"/><Relationship Id="rId1" Type="http://schemas.openxmlformats.org/officeDocument/2006/relationships/slideLayout" Target="../slideLayouts/slideLayout99.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hyperlink" Target="https://www.alz.org/documents_custom/2017-facts-and-figures.pdf" TargetMode="External"/></Relationships>
</file>

<file path=ppt/slides/_rels/slide2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7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0.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Layout" Target="../slideLayouts/slideLayout104.xml"/></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Layout" Target="../slideLayouts/slideLayout5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4DE94C8-7F12-7C46-A6C2-B3AB68F03E34}"/>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77849"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B4DE94C8-7F12-7C46-A6C2-B3AB68F03E34}"/>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FE46B6D7-3454-6C4F-A6CD-D81198306A1B}"/>
              </a:ext>
            </a:extLst>
          </p:cNvPr>
          <p:cNvSpPr>
            <a:spLocks noGrp="1"/>
          </p:cNvSpPr>
          <p:nvPr>
            <p:ph type="subTitle" idx="1"/>
          </p:nvPr>
        </p:nvSpPr>
        <p:spPr>
          <a:xfrm>
            <a:off x="914399" y="5021632"/>
            <a:ext cx="9448800" cy="1147393"/>
          </a:xfrm>
        </p:spPr>
        <p:txBody>
          <a:bodyPr/>
          <a:lstStyle/>
          <a:p>
            <a:r>
              <a:rPr lang="en-US" sz="2400" dirty="0">
                <a:solidFill>
                  <a:srgbClr val="4C12A1"/>
                </a:solidFill>
              </a:rPr>
              <a:t>Chris Salamon, </a:t>
            </a:r>
          </a:p>
          <a:p>
            <a:r>
              <a:rPr lang="en-US" sz="2400" dirty="0">
                <a:solidFill>
                  <a:srgbClr val="4C12A1"/>
                </a:solidFill>
              </a:rPr>
              <a:t>Regional Vice President</a:t>
            </a:r>
          </a:p>
          <a:p>
            <a:endParaRPr lang="en-US" dirty="0"/>
          </a:p>
        </p:txBody>
      </p:sp>
      <p:sp>
        <p:nvSpPr>
          <p:cNvPr id="8" name="Title 1">
            <a:extLst>
              <a:ext uri="{FF2B5EF4-FFF2-40B4-BE49-F238E27FC236}">
                <a16:creationId xmlns:a16="http://schemas.microsoft.com/office/drawing/2014/main" id="{CA4F157A-E53D-495D-8509-E3CA606EF6A1}"/>
              </a:ext>
            </a:extLst>
          </p:cNvPr>
          <p:cNvSpPr>
            <a:spLocks noGrp="1"/>
          </p:cNvSpPr>
          <p:nvPr>
            <p:ph type="ctrTitle"/>
          </p:nvPr>
        </p:nvSpPr>
        <p:spPr>
          <a:xfrm>
            <a:off x="914399" y="3817472"/>
            <a:ext cx="10302241" cy="1014614"/>
          </a:xfrm>
        </p:spPr>
        <p:txBody>
          <a:bodyPr>
            <a:noAutofit/>
          </a:bodyPr>
          <a:lstStyle/>
          <a:p>
            <a:r>
              <a:rPr lang="en-US" sz="3600" dirty="0">
                <a:solidFill>
                  <a:schemeClr val="bg1"/>
                </a:solidFill>
                <a:latin typeface="+mj-lt"/>
              </a:rPr>
              <a:t>Protective Life:</a:t>
            </a:r>
            <a:br>
              <a:rPr lang="en-US" sz="3600" dirty="0">
                <a:solidFill>
                  <a:schemeClr val="bg1"/>
                </a:solidFill>
                <a:latin typeface="+mj-lt"/>
              </a:rPr>
            </a:br>
            <a:r>
              <a:rPr lang="en-US" sz="3600" dirty="0">
                <a:solidFill>
                  <a:srgbClr val="4C12A1"/>
                </a:solidFill>
                <a:latin typeface="+mj-lt"/>
              </a:rPr>
              <a:t>Protective Life and Levinson and Associates</a:t>
            </a:r>
          </a:p>
        </p:txBody>
      </p:sp>
      <p:sp>
        <p:nvSpPr>
          <p:cNvPr id="7" name="Text Placeholder 6">
            <a:extLst>
              <a:ext uri="{FF2B5EF4-FFF2-40B4-BE49-F238E27FC236}">
                <a16:creationId xmlns:a16="http://schemas.microsoft.com/office/drawing/2014/main" id="{EC6679F6-C5E1-B847-ACEC-5748EB59FE16}"/>
              </a:ext>
            </a:extLst>
          </p:cNvPr>
          <p:cNvSpPr>
            <a:spLocks noGrp="1"/>
          </p:cNvSpPr>
          <p:nvPr>
            <p:ph type="body" sz="half" idx="2"/>
          </p:nvPr>
        </p:nvSpPr>
        <p:spPr/>
        <p:txBody>
          <a:bodyPr/>
          <a:lstStyle/>
          <a:p>
            <a:r>
              <a:rPr lang="en-US" dirty="0">
                <a:solidFill>
                  <a:srgbClr val="4C12A1"/>
                </a:solidFill>
              </a:rPr>
              <a:t>April 8,, 2022</a:t>
            </a:r>
          </a:p>
        </p:txBody>
      </p:sp>
    </p:spTree>
    <p:extLst>
      <p:ext uri="{BB962C8B-B14F-4D97-AF65-F5344CB8AC3E}">
        <p14:creationId xmlns:p14="http://schemas.microsoft.com/office/powerpoint/2010/main" val="22566037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F4E85A-D2E9-48BD-B71C-B956DC45C0EF}"/>
              </a:ext>
            </a:extLst>
          </p:cNvPr>
          <p:cNvSpPr>
            <a:spLocks noGrp="1"/>
          </p:cNvSpPr>
          <p:nvPr>
            <p:ph type="title"/>
          </p:nvPr>
        </p:nvSpPr>
        <p:spPr/>
        <p:txBody>
          <a:bodyPr/>
          <a:lstStyle/>
          <a:p>
            <a:r>
              <a:rPr lang="en-US" dirty="0"/>
              <a:t>Foundation of Protection: Custom Choice Term UL</a:t>
            </a:r>
          </a:p>
        </p:txBody>
      </p:sp>
      <p:sp>
        <p:nvSpPr>
          <p:cNvPr id="3" name="Text Placeholder 2">
            <a:extLst>
              <a:ext uri="{FF2B5EF4-FFF2-40B4-BE49-F238E27FC236}">
                <a16:creationId xmlns:a16="http://schemas.microsoft.com/office/drawing/2014/main" id="{F1CF923B-8495-450B-A7BA-BF53228A6680}"/>
              </a:ext>
            </a:extLst>
          </p:cNvPr>
          <p:cNvSpPr>
            <a:spLocks noGrp="1"/>
          </p:cNvSpPr>
          <p:nvPr>
            <p:ph type="body" sz="quarter" idx="10"/>
          </p:nvPr>
        </p:nvSpPr>
        <p:spPr>
          <a:xfrm>
            <a:off x="609600" y="958590"/>
            <a:ext cx="10962217" cy="4660900"/>
          </a:xfrm>
        </p:spPr>
        <p:txBody>
          <a:bodyPr/>
          <a:lstStyle/>
          <a:p>
            <a:pPr marL="0" indent="0">
              <a:spcBef>
                <a:spcPts val="600"/>
              </a:spcBef>
              <a:buNone/>
            </a:pPr>
            <a:r>
              <a:rPr lang="en-US" b="1" u="sng" dirty="0"/>
              <a:t>Custom Choice Term UL:  </a:t>
            </a:r>
            <a:r>
              <a:rPr lang="en-US" dirty="0"/>
              <a:t>Term-like UL, offering 10, 15, 20, 25 and 30 year durations</a:t>
            </a:r>
          </a:p>
          <a:p>
            <a:pPr>
              <a:spcBef>
                <a:spcPts val="600"/>
              </a:spcBef>
              <a:buFont typeface="Wingdings" panose="05000000000000000000" pitchFamily="2" charset="2"/>
              <a:buChar char="Ø"/>
            </a:pPr>
            <a:endParaRPr lang="en-US" sz="800" dirty="0"/>
          </a:p>
          <a:p>
            <a:pPr>
              <a:spcBef>
                <a:spcPts val="600"/>
              </a:spcBef>
              <a:buFont typeface="Wingdings" panose="05000000000000000000" pitchFamily="2" charset="2"/>
              <a:buChar char="Ø"/>
            </a:pPr>
            <a:r>
              <a:rPr lang="en-US" dirty="0"/>
              <a:t>UL core design, available only in term durations</a:t>
            </a:r>
          </a:p>
          <a:p>
            <a:pPr>
              <a:spcBef>
                <a:spcPts val="600"/>
              </a:spcBef>
              <a:buFont typeface="Wingdings" panose="05000000000000000000" pitchFamily="2" charset="2"/>
              <a:buChar char="Ø"/>
            </a:pPr>
            <a:r>
              <a:rPr lang="en-US" dirty="0"/>
              <a:t>Top 5 Term Pricing vs Peers</a:t>
            </a:r>
          </a:p>
          <a:p>
            <a:pPr>
              <a:spcBef>
                <a:spcPts val="600"/>
              </a:spcBef>
              <a:buFont typeface="Wingdings" panose="05000000000000000000" pitchFamily="2" charset="2"/>
              <a:buChar char="Ø"/>
            </a:pPr>
            <a:r>
              <a:rPr lang="en-US" dirty="0"/>
              <a:t>Premium doesn’t increase at the end of Level period.</a:t>
            </a:r>
          </a:p>
          <a:p>
            <a:pPr>
              <a:spcBef>
                <a:spcPts val="600"/>
              </a:spcBef>
              <a:buFont typeface="Wingdings" panose="05000000000000000000" pitchFamily="2" charset="2"/>
              <a:buChar char="Ø"/>
            </a:pPr>
            <a:r>
              <a:rPr lang="en-US" dirty="0"/>
              <a:t>Can accept a 1035 Exchange</a:t>
            </a:r>
          </a:p>
          <a:p>
            <a:pPr>
              <a:spcBef>
                <a:spcPts val="600"/>
              </a:spcBef>
              <a:buFont typeface="Wingdings" panose="05000000000000000000" pitchFamily="2" charset="2"/>
              <a:buChar char="Ø"/>
            </a:pPr>
            <a:r>
              <a:rPr lang="en-US" dirty="0"/>
              <a:t>Single-pay, Short-Pay and Stair-Step Premium Scenarios</a:t>
            </a:r>
          </a:p>
          <a:p>
            <a:pPr>
              <a:spcBef>
                <a:spcPts val="600"/>
              </a:spcBef>
              <a:buFont typeface="Wingdings" panose="05000000000000000000" pitchFamily="2" charset="2"/>
              <a:buChar char="Ø"/>
            </a:pPr>
            <a:r>
              <a:rPr lang="en-US" dirty="0"/>
              <a:t>Convertible for 20 years or to Age 70</a:t>
            </a:r>
          </a:p>
          <a:p>
            <a:pPr marL="0" indent="0">
              <a:spcBef>
                <a:spcPts val="600"/>
              </a:spcBef>
              <a:buNone/>
            </a:pPr>
            <a:endParaRPr lang="en-US" sz="1800" b="1" dirty="0"/>
          </a:p>
          <a:p>
            <a:endParaRPr lang="en-US" dirty="0"/>
          </a:p>
        </p:txBody>
      </p:sp>
      <p:pic>
        <p:nvPicPr>
          <p:cNvPr id="10" name="Picture 9" descr="A picture containing indoor, stair, step, wooden&#10;&#10;Description automatically generated">
            <a:extLst>
              <a:ext uri="{FF2B5EF4-FFF2-40B4-BE49-F238E27FC236}">
                <a16:creationId xmlns:a16="http://schemas.microsoft.com/office/drawing/2014/main" id="{7062A782-0F48-4AF2-A041-243C172233CA}"/>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8691694" y="4186051"/>
            <a:ext cx="3021222" cy="1994209"/>
          </a:xfrm>
          <a:prstGeom prst="rect">
            <a:avLst/>
          </a:prstGeom>
        </p:spPr>
      </p:pic>
    </p:spTree>
    <p:extLst>
      <p:ext uri="{BB962C8B-B14F-4D97-AF65-F5344CB8AC3E}">
        <p14:creationId xmlns:p14="http://schemas.microsoft.com/office/powerpoint/2010/main" val="4059987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1865" y="73058"/>
            <a:ext cx="10820400" cy="960438"/>
          </a:xfrm>
        </p:spPr>
        <p:txBody>
          <a:bodyPr/>
          <a:lstStyle/>
          <a:p>
            <a:r>
              <a:rPr lang="en-US" dirty="0">
                <a:solidFill>
                  <a:schemeClr val="accent1"/>
                </a:solidFill>
              </a:rPr>
              <a:t>Level Pay Term</a:t>
            </a:r>
          </a:p>
        </p:txBody>
      </p:sp>
      <p:sp>
        <p:nvSpPr>
          <p:cNvPr id="3" name="Slide Number Placeholder 2"/>
          <p:cNvSpPr>
            <a:spLocks noGrp="1"/>
          </p:cNvSpPr>
          <p:nvPr>
            <p:ph type="sldNum" sz="quarter" idx="12"/>
          </p:nvPr>
        </p:nvSpPr>
        <p:spPr>
          <a:xfrm>
            <a:off x="6781800" y="6356350"/>
            <a:ext cx="2133600" cy="365125"/>
          </a:xfrm>
          <a:prstGeom prst="rect">
            <a:avLst/>
          </a:prstGeom>
          <a:noFill/>
        </p:spPr>
        <p:txBody>
          <a:bodyPr vert="horz" lIns="91440" tIns="45720" rIns="91440" bIns="45720" rtlCol="0" anchor="ctr"/>
          <a:lstStyle>
            <a:defPPr>
              <a:defRPr lang="en-US"/>
            </a:defPPr>
            <a:lvl1pPr marL="0" algn="r" defTabSz="914400" rtl="0" eaLnBrk="1" latinLnBrk="0" hangingPunct="1">
              <a:defRPr sz="1200" b="1" kern="1200">
                <a:solidFill>
                  <a:schemeClr val="bg1"/>
                </a:solidFill>
                <a:latin typeface="Arial"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latinLnBrk="0" hangingPunct="1"/>
            <a:fld id="{69E29E33-B620-47F9-BB04-8846C2A5AFCC}" type="slidenum">
              <a:rPr lang="en-US" smtClean="0"/>
              <a:pPr/>
              <a:t>11</a:t>
            </a:fld>
            <a:endParaRPr kumimoji="0" lang="en-US"/>
          </a:p>
        </p:txBody>
      </p:sp>
      <p:pic>
        <p:nvPicPr>
          <p:cNvPr id="9" name="Picture 8">
            <a:extLst>
              <a:ext uri="{FF2B5EF4-FFF2-40B4-BE49-F238E27FC236}">
                <a16:creationId xmlns:a16="http://schemas.microsoft.com/office/drawing/2014/main" id="{AEC9AB94-6B49-4249-AB19-C2F90F916637}"/>
              </a:ext>
            </a:extLst>
          </p:cNvPr>
          <p:cNvPicPr>
            <a:picLocks noChangeAspect="1"/>
          </p:cNvPicPr>
          <p:nvPr/>
        </p:nvPicPr>
        <p:blipFill>
          <a:blip r:embed="rId2"/>
          <a:stretch>
            <a:fillRect/>
          </a:stretch>
        </p:blipFill>
        <p:spPr>
          <a:xfrm>
            <a:off x="279918" y="453855"/>
            <a:ext cx="11625943" cy="6267620"/>
          </a:xfrm>
          <a:prstGeom prst="rect">
            <a:avLst/>
          </a:prstGeom>
        </p:spPr>
      </p:pic>
      <p:sp>
        <p:nvSpPr>
          <p:cNvPr id="10" name="Oval 9">
            <a:extLst>
              <a:ext uri="{FF2B5EF4-FFF2-40B4-BE49-F238E27FC236}">
                <a16:creationId xmlns:a16="http://schemas.microsoft.com/office/drawing/2014/main" id="{BE213CB0-E6EB-414C-A495-3B6EE0F81624}"/>
              </a:ext>
            </a:extLst>
          </p:cNvPr>
          <p:cNvSpPr/>
          <p:nvPr/>
        </p:nvSpPr>
        <p:spPr>
          <a:xfrm>
            <a:off x="2883159" y="5505061"/>
            <a:ext cx="5561045" cy="1115271"/>
          </a:xfrm>
          <a:prstGeom prst="ellipse">
            <a:avLst/>
          </a:prstGeom>
          <a:noFill/>
          <a:ln w="190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893109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1061" y="114430"/>
            <a:ext cx="8229600" cy="613358"/>
          </a:xfrm>
        </p:spPr>
        <p:txBody>
          <a:bodyPr/>
          <a:lstStyle/>
          <a:p>
            <a:r>
              <a:rPr lang="en-US" dirty="0">
                <a:solidFill>
                  <a:schemeClr val="accent1"/>
                </a:solidFill>
              </a:rPr>
              <a:t>Stepped Premium</a:t>
            </a:r>
          </a:p>
        </p:txBody>
      </p:sp>
      <p:sp>
        <p:nvSpPr>
          <p:cNvPr id="3" name="Slide Number Placeholder 2"/>
          <p:cNvSpPr>
            <a:spLocks noGrp="1"/>
          </p:cNvSpPr>
          <p:nvPr>
            <p:ph type="sldNum" sz="quarter" idx="12"/>
          </p:nvPr>
        </p:nvSpPr>
        <p:spPr>
          <a:xfrm>
            <a:off x="6781800" y="6356350"/>
            <a:ext cx="2133600" cy="365125"/>
          </a:xfrm>
          <a:prstGeom prst="rect">
            <a:avLst/>
          </a:prstGeom>
          <a:noFill/>
        </p:spPr>
        <p:txBody>
          <a:bodyPr vert="horz" lIns="91440" tIns="45720" rIns="91440" bIns="45720" rtlCol="0" anchor="ctr"/>
          <a:lstStyle>
            <a:defPPr>
              <a:defRPr lang="en-US"/>
            </a:defPPr>
            <a:lvl1pPr marL="0" algn="r" defTabSz="914400" rtl="0" eaLnBrk="1" latinLnBrk="0" hangingPunct="1">
              <a:defRPr sz="1200" b="1" kern="1200">
                <a:solidFill>
                  <a:schemeClr val="bg1"/>
                </a:solidFill>
                <a:latin typeface="Arial"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latinLnBrk="0" hangingPunct="1"/>
            <a:fld id="{69E29E33-B620-47F9-BB04-8846C2A5AFCC}" type="slidenum">
              <a:rPr lang="en-US" smtClean="0"/>
              <a:pPr/>
              <a:t>12</a:t>
            </a:fld>
            <a:endParaRPr kumimoji="0" lang="en-US"/>
          </a:p>
        </p:txBody>
      </p:sp>
      <p:pic>
        <p:nvPicPr>
          <p:cNvPr id="5" name="Picture 4">
            <a:extLst>
              <a:ext uri="{FF2B5EF4-FFF2-40B4-BE49-F238E27FC236}">
                <a16:creationId xmlns:a16="http://schemas.microsoft.com/office/drawing/2014/main" id="{C74D9679-84CF-4D4A-AA06-31773821A52E}"/>
              </a:ext>
            </a:extLst>
          </p:cNvPr>
          <p:cNvPicPr>
            <a:picLocks noChangeAspect="1"/>
          </p:cNvPicPr>
          <p:nvPr/>
        </p:nvPicPr>
        <p:blipFill>
          <a:blip r:embed="rId2"/>
          <a:stretch>
            <a:fillRect/>
          </a:stretch>
        </p:blipFill>
        <p:spPr>
          <a:xfrm>
            <a:off x="171060" y="467761"/>
            <a:ext cx="11688147" cy="6253714"/>
          </a:xfrm>
          <a:prstGeom prst="rect">
            <a:avLst/>
          </a:prstGeom>
        </p:spPr>
      </p:pic>
      <p:sp>
        <p:nvSpPr>
          <p:cNvPr id="6" name="Left Brace 5">
            <a:extLst>
              <a:ext uri="{FF2B5EF4-FFF2-40B4-BE49-F238E27FC236}">
                <a16:creationId xmlns:a16="http://schemas.microsoft.com/office/drawing/2014/main" id="{3D9076B9-6E27-43EA-A2A5-0CFD23ABD7E6}"/>
              </a:ext>
            </a:extLst>
          </p:cNvPr>
          <p:cNvSpPr/>
          <p:nvPr/>
        </p:nvSpPr>
        <p:spPr>
          <a:xfrm>
            <a:off x="5346441" y="2980467"/>
            <a:ext cx="155448" cy="914400"/>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8" name="Left Brace 7">
            <a:extLst>
              <a:ext uri="{FF2B5EF4-FFF2-40B4-BE49-F238E27FC236}">
                <a16:creationId xmlns:a16="http://schemas.microsoft.com/office/drawing/2014/main" id="{6E799765-D6C5-4138-BB4B-457A3CD5BBA4}"/>
              </a:ext>
            </a:extLst>
          </p:cNvPr>
          <p:cNvSpPr/>
          <p:nvPr/>
        </p:nvSpPr>
        <p:spPr>
          <a:xfrm>
            <a:off x="5346441" y="4106806"/>
            <a:ext cx="155448" cy="914400"/>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9" name="Left Brace 8">
            <a:extLst>
              <a:ext uri="{FF2B5EF4-FFF2-40B4-BE49-F238E27FC236}">
                <a16:creationId xmlns:a16="http://schemas.microsoft.com/office/drawing/2014/main" id="{D2587C37-1BDB-4C2C-B77C-687D5934C0C3}"/>
              </a:ext>
            </a:extLst>
          </p:cNvPr>
          <p:cNvSpPr/>
          <p:nvPr/>
        </p:nvSpPr>
        <p:spPr>
          <a:xfrm>
            <a:off x="5346441" y="5127176"/>
            <a:ext cx="155448" cy="914400"/>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7" name="TextBox 6">
            <a:extLst>
              <a:ext uri="{FF2B5EF4-FFF2-40B4-BE49-F238E27FC236}">
                <a16:creationId xmlns:a16="http://schemas.microsoft.com/office/drawing/2014/main" id="{0B91BF7B-80AA-41FE-B401-17D861357EE1}"/>
              </a:ext>
            </a:extLst>
          </p:cNvPr>
          <p:cNvSpPr txBox="1"/>
          <p:nvPr/>
        </p:nvSpPr>
        <p:spPr>
          <a:xfrm>
            <a:off x="8915400" y="3307653"/>
            <a:ext cx="2506455" cy="646331"/>
          </a:xfrm>
          <a:prstGeom prst="rect">
            <a:avLst/>
          </a:prstGeom>
          <a:noFill/>
        </p:spPr>
        <p:txBody>
          <a:bodyPr wrap="none" rtlCol="0">
            <a:spAutoFit/>
          </a:bodyPr>
          <a:lstStyle/>
          <a:p>
            <a:r>
              <a:rPr lang="en-US" b="1" dirty="0">
                <a:solidFill>
                  <a:schemeClr val="accent1"/>
                </a:solidFill>
              </a:rPr>
              <a:t>An almost 20% Cheaper </a:t>
            </a:r>
          </a:p>
          <a:p>
            <a:pPr algn="ctr"/>
            <a:r>
              <a:rPr lang="en-US" b="1" dirty="0">
                <a:solidFill>
                  <a:schemeClr val="accent1"/>
                </a:solidFill>
              </a:rPr>
              <a:t>Entry Point</a:t>
            </a:r>
          </a:p>
        </p:txBody>
      </p:sp>
      <p:cxnSp>
        <p:nvCxnSpPr>
          <p:cNvPr id="11" name="Straight Arrow Connector 10">
            <a:extLst>
              <a:ext uri="{FF2B5EF4-FFF2-40B4-BE49-F238E27FC236}">
                <a16:creationId xmlns:a16="http://schemas.microsoft.com/office/drawing/2014/main" id="{059E3489-245D-4267-8CF7-E9C2501CFC13}"/>
              </a:ext>
            </a:extLst>
          </p:cNvPr>
          <p:cNvCxnSpPr>
            <a:cxnSpLocks/>
          </p:cNvCxnSpPr>
          <p:nvPr/>
        </p:nvCxnSpPr>
        <p:spPr>
          <a:xfrm flipH="1">
            <a:off x="6596742" y="3636894"/>
            <a:ext cx="2318658"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052386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9" grpId="0" animBg="1"/>
      <p:bldP spid="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690" y="65562"/>
            <a:ext cx="8229600" cy="503605"/>
          </a:xfrm>
        </p:spPr>
        <p:txBody>
          <a:bodyPr/>
          <a:lstStyle/>
          <a:p>
            <a:r>
              <a:rPr lang="en-US" dirty="0">
                <a:solidFill>
                  <a:schemeClr val="accent1"/>
                </a:solidFill>
              </a:rPr>
              <a:t>1035 Exchange to “Term”</a:t>
            </a:r>
          </a:p>
        </p:txBody>
      </p:sp>
      <p:sp>
        <p:nvSpPr>
          <p:cNvPr id="3" name="Slide Number Placeholder 2"/>
          <p:cNvSpPr>
            <a:spLocks noGrp="1"/>
          </p:cNvSpPr>
          <p:nvPr>
            <p:ph type="sldNum" sz="quarter" idx="12"/>
          </p:nvPr>
        </p:nvSpPr>
        <p:spPr>
          <a:xfrm>
            <a:off x="6781800" y="6356350"/>
            <a:ext cx="2133600" cy="365125"/>
          </a:xfrm>
          <a:prstGeom prst="rect">
            <a:avLst/>
          </a:prstGeom>
          <a:noFill/>
        </p:spPr>
        <p:txBody>
          <a:bodyPr vert="horz" lIns="91440" tIns="45720" rIns="91440" bIns="45720" rtlCol="0" anchor="ctr"/>
          <a:lstStyle>
            <a:defPPr>
              <a:defRPr lang="en-US"/>
            </a:defPPr>
            <a:lvl1pPr marL="0" algn="r" defTabSz="914400" rtl="0" eaLnBrk="1" latinLnBrk="0" hangingPunct="1">
              <a:defRPr sz="1200" b="1" kern="1200">
                <a:solidFill>
                  <a:schemeClr val="bg1"/>
                </a:solidFill>
                <a:latin typeface="Arial"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latinLnBrk="0" hangingPunct="1"/>
            <a:fld id="{69E29E33-B620-47F9-BB04-8846C2A5AFCC}" type="slidenum">
              <a:rPr lang="en-US" smtClean="0"/>
              <a:pPr eaLnBrk="1" latinLnBrk="0" hangingPunct="1"/>
              <a:t>13</a:t>
            </a:fld>
            <a:endParaRPr kumimoji="0" lang="en-US"/>
          </a:p>
        </p:txBody>
      </p:sp>
      <p:pic>
        <p:nvPicPr>
          <p:cNvPr id="5" name="Picture 4">
            <a:extLst>
              <a:ext uri="{FF2B5EF4-FFF2-40B4-BE49-F238E27FC236}">
                <a16:creationId xmlns:a16="http://schemas.microsoft.com/office/drawing/2014/main" id="{F3379327-F9A9-4094-8B23-5D1B5F92A858}"/>
              </a:ext>
            </a:extLst>
          </p:cNvPr>
          <p:cNvPicPr>
            <a:picLocks noChangeAspect="1"/>
          </p:cNvPicPr>
          <p:nvPr/>
        </p:nvPicPr>
        <p:blipFill>
          <a:blip r:embed="rId2"/>
          <a:stretch>
            <a:fillRect/>
          </a:stretch>
        </p:blipFill>
        <p:spPr>
          <a:xfrm>
            <a:off x="-65314" y="483841"/>
            <a:ext cx="11685037" cy="6149977"/>
          </a:xfrm>
          <a:prstGeom prst="rect">
            <a:avLst/>
          </a:prstGeom>
        </p:spPr>
      </p:pic>
    </p:spTree>
    <p:extLst>
      <p:ext uri="{BB962C8B-B14F-4D97-AF65-F5344CB8AC3E}">
        <p14:creationId xmlns:p14="http://schemas.microsoft.com/office/powerpoint/2010/main" val="34491814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17BA4-3491-4EA6-A829-FA0C2B48EA41}"/>
              </a:ext>
            </a:extLst>
          </p:cNvPr>
          <p:cNvSpPr>
            <a:spLocks noGrp="1"/>
          </p:cNvSpPr>
          <p:nvPr>
            <p:ph type="title"/>
          </p:nvPr>
        </p:nvSpPr>
        <p:spPr/>
        <p:txBody>
          <a:bodyPr/>
          <a:lstStyle/>
          <a:p>
            <a:r>
              <a:rPr lang="en-US" dirty="0"/>
              <a:t>Foundation of Protection: </a:t>
            </a:r>
            <a:r>
              <a:rPr lang="en-US" i="1" u="sng" dirty="0"/>
              <a:t>Classic Choice Term</a:t>
            </a:r>
          </a:p>
        </p:txBody>
      </p:sp>
      <p:sp>
        <p:nvSpPr>
          <p:cNvPr id="3" name="Text Placeholder 2">
            <a:extLst>
              <a:ext uri="{FF2B5EF4-FFF2-40B4-BE49-F238E27FC236}">
                <a16:creationId xmlns:a16="http://schemas.microsoft.com/office/drawing/2014/main" id="{A12D551C-E306-46D1-893C-C5F1A810B92F}"/>
              </a:ext>
            </a:extLst>
          </p:cNvPr>
          <p:cNvSpPr>
            <a:spLocks noGrp="1"/>
          </p:cNvSpPr>
          <p:nvPr>
            <p:ph type="body" sz="quarter" idx="10"/>
          </p:nvPr>
        </p:nvSpPr>
        <p:spPr>
          <a:xfrm>
            <a:off x="609600" y="1147149"/>
            <a:ext cx="10962217" cy="4358827"/>
          </a:xfrm>
        </p:spPr>
        <p:txBody>
          <a:bodyPr/>
          <a:lstStyle/>
          <a:p>
            <a:pPr>
              <a:buFont typeface="Wingdings" panose="05000000000000000000" pitchFamily="2" charset="2"/>
              <a:buChar char="Ø"/>
            </a:pPr>
            <a:r>
              <a:rPr lang="en-US" dirty="0"/>
              <a:t>Consistently Priced and Repriced into Top 3</a:t>
            </a:r>
          </a:p>
          <a:p>
            <a:pPr lvl="1">
              <a:buFont typeface="Wingdings" panose="05000000000000000000" pitchFamily="2" charset="2"/>
              <a:buChar char="Ø"/>
            </a:pPr>
            <a:r>
              <a:rPr lang="en-US" dirty="0"/>
              <a:t>91% in the Top 3 slots</a:t>
            </a:r>
          </a:p>
          <a:p>
            <a:pPr lvl="1">
              <a:spcBef>
                <a:spcPts val="1200"/>
              </a:spcBef>
              <a:buFont typeface="Wingdings" panose="05000000000000000000" pitchFamily="2" charset="2"/>
              <a:buChar char="Ø"/>
            </a:pPr>
            <a:r>
              <a:rPr lang="en-US" dirty="0"/>
              <a:t>96% in the Top 5 slots</a:t>
            </a:r>
          </a:p>
          <a:p>
            <a:pPr>
              <a:spcBef>
                <a:spcPts val="1200"/>
              </a:spcBef>
              <a:buFont typeface="Wingdings" panose="05000000000000000000" pitchFamily="2" charset="2"/>
              <a:buChar char="Ø"/>
            </a:pPr>
            <a:r>
              <a:rPr lang="en-US" dirty="0"/>
              <a:t>Term Durations of 10,15, 20, 25, 30, </a:t>
            </a:r>
            <a:r>
              <a:rPr lang="en-US" b="1" dirty="0"/>
              <a:t>35 and 40 year</a:t>
            </a:r>
          </a:p>
          <a:p>
            <a:pPr>
              <a:spcBef>
                <a:spcPts val="1200"/>
              </a:spcBef>
              <a:buFont typeface="Wingdings" panose="05000000000000000000" pitchFamily="2" charset="2"/>
              <a:buChar char="Ø"/>
            </a:pPr>
            <a:r>
              <a:rPr lang="en-US" dirty="0"/>
              <a:t>New extended issue ages </a:t>
            </a:r>
          </a:p>
          <a:p>
            <a:pPr>
              <a:spcBef>
                <a:spcPts val="1200"/>
              </a:spcBef>
              <a:buFont typeface="Wingdings" panose="05000000000000000000" pitchFamily="2" charset="2"/>
              <a:buChar char="Ø"/>
            </a:pPr>
            <a:r>
              <a:rPr lang="en-US" dirty="0"/>
              <a:t>Convertible to 1 of 3 GUL products at Protective</a:t>
            </a:r>
          </a:p>
          <a:p>
            <a:pPr>
              <a:spcBef>
                <a:spcPts val="1200"/>
              </a:spcBef>
              <a:buFont typeface="Wingdings" panose="05000000000000000000" pitchFamily="2" charset="2"/>
              <a:buChar char="Ø"/>
            </a:pPr>
            <a:r>
              <a:rPr lang="en-US" dirty="0"/>
              <a:t>GREAT Monthly Premiums, sometimes the difference is</a:t>
            </a:r>
          </a:p>
          <a:p>
            <a:pPr marL="0" indent="0">
              <a:spcBef>
                <a:spcPts val="1200"/>
              </a:spcBef>
              <a:buNone/>
            </a:pPr>
            <a:r>
              <a:rPr lang="en-US" dirty="0"/>
              <a:t>   pennies</a:t>
            </a:r>
          </a:p>
          <a:p>
            <a:pPr>
              <a:spcBef>
                <a:spcPts val="1200"/>
              </a:spcBef>
              <a:buFont typeface="Wingdings" panose="05000000000000000000" pitchFamily="2" charset="2"/>
              <a:buChar char="Ø"/>
            </a:pPr>
            <a:r>
              <a:rPr lang="en-US" dirty="0"/>
              <a:t>Available in NY</a:t>
            </a:r>
          </a:p>
        </p:txBody>
      </p:sp>
      <p:pic>
        <p:nvPicPr>
          <p:cNvPr id="7" name="Picture 6">
            <a:extLst>
              <a:ext uri="{FF2B5EF4-FFF2-40B4-BE49-F238E27FC236}">
                <a16:creationId xmlns:a16="http://schemas.microsoft.com/office/drawing/2014/main" id="{CEFEE5F6-0E67-4BD4-9D6E-52E3F9AEFE12}"/>
              </a:ext>
            </a:extLst>
          </p:cNvPr>
          <p:cNvPicPr>
            <a:picLocks noChangeAspect="1"/>
          </p:cNvPicPr>
          <p:nvPr/>
        </p:nvPicPr>
        <p:blipFill>
          <a:blip r:embed="rId2"/>
          <a:stretch>
            <a:fillRect/>
          </a:stretch>
        </p:blipFill>
        <p:spPr>
          <a:xfrm>
            <a:off x="9360825" y="2916452"/>
            <a:ext cx="2143125" cy="2143125"/>
          </a:xfrm>
          <a:prstGeom prst="rect">
            <a:avLst/>
          </a:prstGeom>
        </p:spPr>
      </p:pic>
    </p:spTree>
    <p:extLst>
      <p:ext uri="{BB962C8B-B14F-4D97-AF65-F5344CB8AC3E}">
        <p14:creationId xmlns:p14="http://schemas.microsoft.com/office/powerpoint/2010/main" val="4024893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17BA4-3491-4EA6-A829-FA0C2B48EA41}"/>
              </a:ext>
            </a:extLst>
          </p:cNvPr>
          <p:cNvSpPr>
            <a:spLocks noGrp="1"/>
          </p:cNvSpPr>
          <p:nvPr>
            <p:ph type="title"/>
          </p:nvPr>
        </p:nvSpPr>
        <p:spPr/>
        <p:txBody>
          <a:bodyPr/>
          <a:lstStyle/>
          <a:p>
            <a:r>
              <a:rPr lang="en-US" dirty="0"/>
              <a:t>Foundation: </a:t>
            </a:r>
            <a:r>
              <a:rPr lang="en-US" i="1" u="sng" dirty="0"/>
              <a:t>Classic Choice Term</a:t>
            </a:r>
          </a:p>
        </p:txBody>
      </p:sp>
      <p:pic>
        <p:nvPicPr>
          <p:cNvPr id="6" name="Picture 5">
            <a:extLst>
              <a:ext uri="{FF2B5EF4-FFF2-40B4-BE49-F238E27FC236}">
                <a16:creationId xmlns:a16="http://schemas.microsoft.com/office/drawing/2014/main" id="{2797097B-F112-4B6A-8A32-BEF6FD4AC7A3}"/>
              </a:ext>
            </a:extLst>
          </p:cNvPr>
          <p:cNvPicPr>
            <a:picLocks noChangeAspect="1"/>
          </p:cNvPicPr>
          <p:nvPr/>
        </p:nvPicPr>
        <p:blipFill>
          <a:blip r:embed="rId2"/>
          <a:stretch>
            <a:fillRect/>
          </a:stretch>
        </p:blipFill>
        <p:spPr>
          <a:xfrm>
            <a:off x="609600" y="862704"/>
            <a:ext cx="9557173" cy="5878317"/>
          </a:xfrm>
          <a:prstGeom prst="rect">
            <a:avLst/>
          </a:prstGeom>
          <a:ln w="19050">
            <a:solidFill>
              <a:srgbClr val="C00000"/>
            </a:solidFill>
          </a:ln>
        </p:spPr>
      </p:pic>
      <p:sp>
        <p:nvSpPr>
          <p:cNvPr id="3" name="TextBox 2">
            <a:extLst>
              <a:ext uri="{FF2B5EF4-FFF2-40B4-BE49-F238E27FC236}">
                <a16:creationId xmlns:a16="http://schemas.microsoft.com/office/drawing/2014/main" id="{AE5B7540-F0FB-4C36-A8E0-433367FE322F}"/>
              </a:ext>
            </a:extLst>
          </p:cNvPr>
          <p:cNvSpPr txBox="1"/>
          <p:nvPr/>
        </p:nvSpPr>
        <p:spPr>
          <a:xfrm>
            <a:off x="7010400" y="3617196"/>
            <a:ext cx="1178559" cy="369332"/>
          </a:xfrm>
          <a:prstGeom prst="rect">
            <a:avLst/>
          </a:prstGeom>
          <a:solidFill>
            <a:schemeClr val="bg1"/>
          </a:solidFill>
        </p:spPr>
        <p:txBody>
          <a:bodyPr wrap="square" rtlCol="0">
            <a:spAutoFit/>
          </a:bodyPr>
          <a:lstStyle/>
          <a:p>
            <a:r>
              <a:rPr lang="en-US" dirty="0">
                <a:latin typeface="Times New Roman" panose="02020603050405020304" pitchFamily="18" charset="0"/>
                <a:cs typeface="Times New Roman" panose="02020603050405020304" pitchFamily="18" charset="0"/>
              </a:rPr>
              <a:t>$290.36</a:t>
            </a:r>
          </a:p>
        </p:txBody>
      </p:sp>
      <p:sp>
        <p:nvSpPr>
          <p:cNvPr id="7" name="TextBox 6">
            <a:extLst>
              <a:ext uri="{FF2B5EF4-FFF2-40B4-BE49-F238E27FC236}">
                <a16:creationId xmlns:a16="http://schemas.microsoft.com/office/drawing/2014/main" id="{A9CBF6B6-1134-4566-B193-7F8BE4234510}"/>
              </a:ext>
            </a:extLst>
          </p:cNvPr>
          <p:cNvSpPr txBox="1"/>
          <p:nvPr/>
        </p:nvSpPr>
        <p:spPr>
          <a:xfrm>
            <a:off x="7010400" y="3295314"/>
            <a:ext cx="1178559" cy="369332"/>
          </a:xfrm>
          <a:prstGeom prst="rect">
            <a:avLst/>
          </a:prstGeom>
          <a:solidFill>
            <a:schemeClr val="bg1"/>
          </a:solidFill>
        </p:spPr>
        <p:txBody>
          <a:bodyPr wrap="square" rtlCol="0">
            <a:spAutoFit/>
          </a:bodyPr>
          <a:lstStyle/>
          <a:p>
            <a:r>
              <a:rPr lang="en-US" dirty="0">
                <a:latin typeface="Times New Roman" panose="02020603050405020304" pitchFamily="18" charset="0"/>
                <a:cs typeface="Times New Roman" panose="02020603050405020304" pitchFamily="18" charset="0"/>
              </a:rPr>
              <a:t>$290.35</a:t>
            </a:r>
          </a:p>
        </p:txBody>
      </p:sp>
      <p:sp>
        <p:nvSpPr>
          <p:cNvPr id="8" name="TextBox 7">
            <a:extLst>
              <a:ext uri="{FF2B5EF4-FFF2-40B4-BE49-F238E27FC236}">
                <a16:creationId xmlns:a16="http://schemas.microsoft.com/office/drawing/2014/main" id="{C6263733-4F2F-4A42-A3C9-C1424DFDDAC9}"/>
              </a:ext>
            </a:extLst>
          </p:cNvPr>
          <p:cNvSpPr txBox="1"/>
          <p:nvPr/>
        </p:nvSpPr>
        <p:spPr>
          <a:xfrm>
            <a:off x="4378962" y="3686060"/>
            <a:ext cx="978746" cy="369332"/>
          </a:xfrm>
          <a:prstGeom prst="rect">
            <a:avLst/>
          </a:prstGeom>
          <a:solidFill>
            <a:schemeClr val="bg1"/>
          </a:solidFill>
        </p:spPr>
        <p:txBody>
          <a:bodyPr wrap="square" rtlCol="0">
            <a:spAutoFit/>
          </a:bodyPr>
          <a:lstStyle/>
          <a:p>
            <a:r>
              <a:rPr lang="en-US" dirty="0">
                <a:latin typeface="Times New Roman" panose="02020603050405020304" pitchFamily="18" charset="0"/>
                <a:cs typeface="Times New Roman" panose="02020603050405020304" pitchFamily="18" charset="0"/>
              </a:rPr>
              <a:t>$24.69</a:t>
            </a:r>
          </a:p>
        </p:txBody>
      </p:sp>
      <p:sp>
        <p:nvSpPr>
          <p:cNvPr id="9" name="TextBox 8">
            <a:extLst>
              <a:ext uri="{FF2B5EF4-FFF2-40B4-BE49-F238E27FC236}">
                <a16:creationId xmlns:a16="http://schemas.microsoft.com/office/drawing/2014/main" id="{583FEB24-6828-47C5-8D25-1E35B31550A8}"/>
              </a:ext>
            </a:extLst>
          </p:cNvPr>
          <p:cNvSpPr txBox="1"/>
          <p:nvPr/>
        </p:nvSpPr>
        <p:spPr>
          <a:xfrm>
            <a:off x="4378961" y="3296172"/>
            <a:ext cx="978746" cy="369332"/>
          </a:xfrm>
          <a:prstGeom prst="rect">
            <a:avLst/>
          </a:prstGeom>
          <a:solidFill>
            <a:schemeClr val="bg1"/>
          </a:solidFill>
        </p:spPr>
        <p:txBody>
          <a:bodyPr wrap="square" rtlCol="0">
            <a:spAutoFit/>
          </a:bodyPr>
          <a:lstStyle/>
          <a:p>
            <a:r>
              <a:rPr lang="en-US" dirty="0">
                <a:latin typeface="Times New Roman" panose="02020603050405020304" pitchFamily="18" charset="0"/>
                <a:cs typeface="Times New Roman" panose="02020603050405020304" pitchFamily="18" charset="0"/>
              </a:rPr>
              <a:t>$24.68</a:t>
            </a:r>
          </a:p>
        </p:txBody>
      </p:sp>
      <p:sp>
        <p:nvSpPr>
          <p:cNvPr id="4" name="TextBox 3">
            <a:extLst>
              <a:ext uri="{FF2B5EF4-FFF2-40B4-BE49-F238E27FC236}">
                <a16:creationId xmlns:a16="http://schemas.microsoft.com/office/drawing/2014/main" id="{4167055D-3E6C-4142-9634-CEF1C9BB1AF5}"/>
              </a:ext>
            </a:extLst>
          </p:cNvPr>
          <p:cNvSpPr txBox="1"/>
          <p:nvPr/>
        </p:nvSpPr>
        <p:spPr>
          <a:xfrm>
            <a:off x="674429" y="4055392"/>
            <a:ext cx="6874035" cy="2482769"/>
          </a:xfrm>
          <a:prstGeom prst="rect">
            <a:avLst/>
          </a:prstGeom>
          <a:solidFill>
            <a:schemeClr val="bg1"/>
          </a:solidFill>
        </p:spPr>
        <p:txBody>
          <a:bodyPr wrap="square" rtlCol="0">
            <a:spAutoFit/>
          </a:bodyPr>
          <a:lstStyle/>
          <a:p>
            <a:r>
              <a:rPr lang="en-US" sz="2800" dirty="0">
                <a:solidFill>
                  <a:schemeClr val="accent2">
                    <a:lumMod val="50000"/>
                  </a:schemeClr>
                </a:solidFill>
              </a:rPr>
              <a:t>For a Penny More</a:t>
            </a:r>
          </a:p>
          <a:p>
            <a:pPr marL="285750" indent="-285750">
              <a:buFont typeface="Wingdings" panose="05000000000000000000" pitchFamily="2" charset="2"/>
              <a:buChar char="Ø"/>
            </a:pPr>
            <a:r>
              <a:rPr lang="en-US" dirty="0">
                <a:solidFill>
                  <a:schemeClr val="accent2">
                    <a:lumMod val="50000"/>
                  </a:schemeClr>
                </a:solidFill>
              </a:rPr>
              <a:t>Convert to 1 of 3 GUL Products</a:t>
            </a:r>
          </a:p>
          <a:p>
            <a:pPr marL="285750" indent="-285750">
              <a:buFont typeface="Wingdings" panose="05000000000000000000" pitchFamily="2" charset="2"/>
              <a:buChar char="Ø"/>
            </a:pPr>
            <a:r>
              <a:rPr lang="en-US" dirty="0">
                <a:solidFill>
                  <a:schemeClr val="accent2">
                    <a:lumMod val="50000"/>
                  </a:schemeClr>
                </a:solidFill>
              </a:rPr>
              <a:t>Protective </a:t>
            </a:r>
            <a:r>
              <a:rPr lang="en-US" dirty="0" err="1">
                <a:solidFill>
                  <a:schemeClr val="accent2">
                    <a:lumMod val="50000"/>
                  </a:schemeClr>
                </a:solidFill>
              </a:rPr>
              <a:t>TeleLife</a:t>
            </a:r>
            <a:r>
              <a:rPr lang="en-US" dirty="0">
                <a:solidFill>
                  <a:schemeClr val="accent2">
                    <a:lumMod val="50000"/>
                  </a:schemeClr>
                </a:solidFill>
              </a:rPr>
              <a:t> online submission </a:t>
            </a:r>
          </a:p>
          <a:p>
            <a:pPr marL="742950" lvl="1" indent="-285750">
              <a:buFont typeface="Wingdings" panose="05000000000000000000" pitchFamily="2" charset="2"/>
              <a:buChar char="Ø"/>
            </a:pPr>
            <a:r>
              <a:rPr lang="en-US" dirty="0">
                <a:solidFill>
                  <a:schemeClr val="accent2">
                    <a:lumMod val="50000"/>
                  </a:schemeClr>
                </a:solidFill>
              </a:rPr>
              <a:t>Protective does the work for you</a:t>
            </a:r>
          </a:p>
          <a:p>
            <a:pPr marL="742950" lvl="1" indent="-285750">
              <a:buFont typeface="Wingdings" panose="05000000000000000000" pitchFamily="2" charset="2"/>
              <a:buChar char="Ø"/>
            </a:pPr>
            <a:r>
              <a:rPr lang="en-US" dirty="0">
                <a:solidFill>
                  <a:schemeClr val="accent2">
                    <a:lumMod val="50000"/>
                  </a:schemeClr>
                </a:solidFill>
              </a:rPr>
              <a:t>PLUS Accelerated Underwriting</a:t>
            </a:r>
          </a:p>
          <a:p>
            <a:pPr marL="285750" indent="-285750">
              <a:buFont typeface="Wingdings" panose="05000000000000000000" pitchFamily="2" charset="2"/>
              <a:buChar char="Ø"/>
            </a:pPr>
            <a:r>
              <a:rPr lang="en-US" dirty="0">
                <a:solidFill>
                  <a:schemeClr val="accent2">
                    <a:lumMod val="50000"/>
                  </a:schemeClr>
                </a:solidFill>
              </a:rPr>
              <a:t>Quick Submission</a:t>
            </a:r>
          </a:p>
          <a:p>
            <a:pPr marL="285750" indent="-285750">
              <a:buFont typeface="Wingdings" panose="05000000000000000000" pitchFamily="2" charset="2"/>
              <a:buChar char="Ø"/>
            </a:pPr>
            <a:r>
              <a:rPr lang="en-US" dirty="0">
                <a:solidFill>
                  <a:schemeClr val="accent2">
                    <a:lumMod val="50000"/>
                  </a:schemeClr>
                </a:solidFill>
              </a:rPr>
              <a:t>Competitive Underwriting</a:t>
            </a:r>
          </a:p>
          <a:p>
            <a:pPr marL="285750" indent="-285750">
              <a:buFont typeface="Wingdings" panose="05000000000000000000" pitchFamily="2" charset="2"/>
              <a:buChar char="Ø"/>
            </a:pPr>
            <a:r>
              <a:rPr lang="en-US" dirty="0">
                <a:solidFill>
                  <a:schemeClr val="accent2">
                    <a:lumMod val="50000"/>
                  </a:schemeClr>
                </a:solidFill>
              </a:rPr>
              <a:t>Great Service</a:t>
            </a:r>
          </a:p>
        </p:txBody>
      </p:sp>
      <p:sp>
        <p:nvSpPr>
          <p:cNvPr id="5" name="Oval 4">
            <a:extLst>
              <a:ext uri="{FF2B5EF4-FFF2-40B4-BE49-F238E27FC236}">
                <a16:creationId xmlns:a16="http://schemas.microsoft.com/office/drawing/2014/main" id="{FB37B575-0E9C-4D9A-A834-70E1B329E320}"/>
              </a:ext>
            </a:extLst>
          </p:cNvPr>
          <p:cNvSpPr/>
          <p:nvPr/>
        </p:nvSpPr>
        <p:spPr>
          <a:xfrm>
            <a:off x="4378961" y="3240804"/>
            <a:ext cx="653625" cy="1209898"/>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18CD2666-9D19-483B-B53D-9CB2F95BF903}"/>
              </a:ext>
            </a:extLst>
          </p:cNvPr>
          <p:cNvSpPr/>
          <p:nvPr/>
        </p:nvSpPr>
        <p:spPr>
          <a:xfrm>
            <a:off x="4301413" y="2925556"/>
            <a:ext cx="859870" cy="1282550"/>
          </a:xfrm>
          <a:prstGeom prst="ellipse">
            <a:avLst/>
          </a:prstGeom>
          <a:noFill/>
          <a:ln w="38100">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49152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964D9122-7304-4ACD-A4A0-A55FB9B09894}"/>
              </a:ext>
            </a:extLst>
          </p:cNvPr>
          <p:cNvSpPr>
            <a:spLocks noGrp="1"/>
          </p:cNvSpPr>
          <p:nvPr>
            <p:ph type="pic" sz="quarter" idx="10"/>
          </p:nvPr>
        </p:nvSpPr>
        <p:spPr/>
      </p:sp>
      <p:sp>
        <p:nvSpPr>
          <p:cNvPr id="5" name="Title 4">
            <a:extLst>
              <a:ext uri="{FF2B5EF4-FFF2-40B4-BE49-F238E27FC236}">
                <a16:creationId xmlns:a16="http://schemas.microsoft.com/office/drawing/2014/main" id="{E6621B92-495A-4091-A8EC-412B6DDBF0A1}"/>
              </a:ext>
            </a:extLst>
          </p:cNvPr>
          <p:cNvSpPr>
            <a:spLocks noGrp="1"/>
          </p:cNvSpPr>
          <p:nvPr>
            <p:ph type="ctrTitle"/>
          </p:nvPr>
        </p:nvSpPr>
        <p:spPr>
          <a:xfrm>
            <a:off x="912874" y="4697963"/>
            <a:ext cx="10363200" cy="806939"/>
          </a:xfrm>
        </p:spPr>
        <p:txBody>
          <a:bodyPr/>
          <a:lstStyle/>
          <a:p>
            <a:r>
              <a:rPr lang="en-US" sz="4000" b="0" kern="1200" dirty="0">
                <a:latin typeface="+mn-lt"/>
                <a:ea typeface="+mn-ea"/>
                <a:cs typeface="+mn-cs"/>
              </a:rPr>
              <a:t>We are Protectors: </a:t>
            </a:r>
            <a:br>
              <a:rPr lang="en-US" sz="4000" b="0" kern="1200" dirty="0">
                <a:latin typeface="+mn-lt"/>
                <a:ea typeface="+mn-ea"/>
                <a:cs typeface="+mn-cs"/>
              </a:rPr>
            </a:br>
            <a:r>
              <a:rPr lang="en-US" sz="4000" b="0" kern="1200" dirty="0">
                <a:latin typeface="+mn-lt"/>
                <a:ea typeface="+mn-ea"/>
                <a:cs typeface="+mn-cs"/>
              </a:rPr>
              <a:t>Guaranteed Death Benefit UL</a:t>
            </a:r>
            <a:endParaRPr lang="en-US" sz="4000" dirty="0"/>
          </a:p>
        </p:txBody>
      </p:sp>
    </p:spTree>
    <p:extLst>
      <p:ext uri="{BB962C8B-B14F-4D97-AF65-F5344CB8AC3E}">
        <p14:creationId xmlns:p14="http://schemas.microsoft.com/office/powerpoint/2010/main" val="37432402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0541C-D012-49AC-A451-68BA48BE190C}"/>
              </a:ext>
            </a:extLst>
          </p:cNvPr>
          <p:cNvSpPr>
            <a:spLocks noGrp="1"/>
          </p:cNvSpPr>
          <p:nvPr>
            <p:ph type="title"/>
          </p:nvPr>
        </p:nvSpPr>
        <p:spPr/>
        <p:txBody>
          <a:bodyPr/>
          <a:lstStyle/>
          <a:p>
            <a:r>
              <a:rPr lang="en-US" dirty="0"/>
              <a:t>Diminishing GUL Offerings</a:t>
            </a:r>
          </a:p>
        </p:txBody>
      </p:sp>
      <p:sp>
        <p:nvSpPr>
          <p:cNvPr id="3" name="Content Placeholder 2">
            <a:extLst>
              <a:ext uri="{FF2B5EF4-FFF2-40B4-BE49-F238E27FC236}">
                <a16:creationId xmlns:a16="http://schemas.microsoft.com/office/drawing/2014/main" id="{2D984078-865D-4765-A083-1092949FB978}"/>
              </a:ext>
            </a:extLst>
          </p:cNvPr>
          <p:cNvSpPr>
            <a:spLocks noGrp="1"/>
          </p:cNvSpPr>
          <p:nvPr>
            <p:ph idx="1"/>
          </p:nvPr>
        </p:nvSpPr>
        <p:spPr>
          <a:xfrm>
            <a:off x="685800" y="988358"/>
            <a:ext cx="10812061" cy="5378823"/>
          </a:xfrm>
        </p:spPr>
        <p:txBody>
          <a:bodyPr/>
          <a:lstStyle/>
          <a:p>
            <a:pPr marL="342900" indent="-342900">
              <a:lnSpc>
                <a:spcPct val="150000"/>
              </a:lnSpc>
              <a:buClr>
                <a:schemeClr val="tx2"/>
              </a:buClr>
              <a:buFont typeface="Wingdings" panose="05000000000000000000" pitchFamily="2" charset="2"/>
              <a:buChar char="Ø"/>
            </a:pPr>
            <a:r>
              <a:rPr lang="en-US" sz="2400" dirty="0"/>
              <a:t>December 2019:    17 well-priced GUL’s</a:t>
            </a:r>
          </a:p>
          <a:p>
            <a:pPr marL="342900" indent="-342900">
              <a:lnSpc>
                <a:spcPct val="150000"/>
              </a:lnSpc>
              <a:buClr>
                <a:schemeClr val="tx2"/>
              </a:buClr>
              <a:buFont typeface="Wingdings" panose="05000000000000000000" pitchFamily="2" charset="2"/>
              <a:buChar char="Ø"/>
            </a:pPr>
            <a:r>
              <a:rPr lang="en-US" sz="2400" dirty="0"/>
              <a:t>January 2020, Premium Based Reserving and GUL’s offered drops 23% from 17 to 13</a:t>
            </a:r>
          </a:p>
          <a:p>
            <a:pPr marL="171450" indent="-171450">
              <a:lnSpc>
                <a:spcPct val="150000"/>
              </a:lnSpc>
              <a:buClr>
                <a:schemeClr val="tx2"/>
              </a:buClr>
              <a:buFont typeface="Wingdings" panose="05000000000000000000" pitchFamily="2" charset="2"/>
              <a:buChar char="Ø"/>
            </a:pPr>
            <a:endParaRPr lang="en-US" sz="800" dirty="0"/>
          </a:p>
          <a:p>
            <a:pPr marL="342900" indent="-342900">
              <a:buClr>
                <a:schemeClr val="tx2"/>
              </a:buClr>
              <a:buFont typeface="Wingdings" panose="05000000000000000000" pitchFamily="2" charset="2"/>
              <a:buChar char="Ø"/>
            </a:pPr>
            <a:r>
              <a:rPr lang="en-US" sz="2400" dirty="0"/>
              <a:t>March 2020, Covid-19 – premium limitations, 1035 exchange amount limitations, age limits</a:t>
            </a:r>
          </a:p>
          <a:p>
            <a:pPr marL="171450" indent="-171450">
              <a:buClr>
                <a:schemeClr val="tx2"/>
              </a:buClr>
              <a:buFont typeface="Wingdings" panose="05000000000000000000" pitchFamily="2" charset="2"/>
              <a:buChar char="Ø"/>
            </a:pPr>
            <a:endParaRPr lang="en-US" sz="800" dirty="0"/>
          </a:p>
          <a:p>
            <a:pPr marL="342900" indent="-342900">
              <a:buClr>
                <a:schemeClr val="tx2"/>
              </a:buClr>
              <a:buFont typeface="Wingdings" panose="05000000000000000000" pitchFamily="2" charset="2"/>
              <a:buChar char="Ø"/>
            </a:pPr>
            <a:r>
              <a:rPr lang="en-US" sz="2400" dirty="0"/>
              <a:t>April 2020, The 10 Year Treasury drops to 61 Bps</a:t>
            </a:r>
          </a:p>
          <a:p>
            <a:pPr marL="636588" lvl="1" indent="-342900">
              <a:buClr>
                <a:schemeClr val="tx2"/>
              </a:buClr>
              <a:buFont typeface="Wingdings" panose="05000000000000000000" pitchFamily="2" charset="2"/>
              <a:buChar char="Ø"/>
            </a:pPr>
            <a:r>
              <a:rPr lang="en-US" sz="2400" dirty="0"/>
              <a:t>Many carriers announce price increases</a:t>
            </a:r>
          </a:p>
          <a:p>
            <a:pPr lvl="1" indent="0">
              <a:buClr>
                <a:schemeClr val="tx2"/>
              </a:buClr>
              <a:buNone/>
            </a:pPr>
            <a:endParaRPr lang="en-US" sz="800" dirty="0"/>
          </a:p>
          <a:p>
            <a:pPr marL="342900" indent="-342900">
              <a:buClr>
                <a:schemeClr val="tx2"/>
              </a:buClr>
              <a:buFont typeface="Wingdings" panose="05000000000000000000" pitchFamily="2" charset="2"/>
              <a:buChar char="Ø"/>
            </a:pPr>
            <a:r>
              <a:rPr lang="en-US" sz="2400" dirty="0"/>
              <a:t>By Summer 2021 number of GUL’s drops to 11</a:t>
            </a:r>
          </a:p>
          <a:p>
            <a:pPr marL="342900" indent="-342900">
              <a:buClr>
                <a:schemeClr val="tx2"/>
              </a:buClr>
              <a:buFont typeface="Wingdings" panose="05000000000000000000" pitchFamily="2" charset="2"/>
              <a:buChar char="Ø"/>
            </a:pPr>
            <a:endParaRPr lang="en-US" sz="2400" dirty="0"/>
          </a:p>
          <a:p>
            <a:pPr>
              <a:buClr>
                <a:schemeClr val="tx2"/>
              </a:buClr>
            </a:pPr>
            <a:endParaRPr lang="en-US" sz="800" dirty="0"/>
          </a:p>
          <a:p>
            <a:pPr marL="342900" indent="-342900">
              <a:buClr>
                <a:schemeClr val="tx2"/>
              </a:buClr>
              <a:buFont typeface="Wingdings" panose="05000000000000000000" pitchFamily="2" charset="2"/>
              <a:buChar char="Ø"/>
            </a:pPr>
            <a:r>
              <a:rPr lang="en-US" sz="3600" dirty="0">
                <a:solidFill>
                  <a:schemeClr val="tx2"/>
                </a:solidFill>
              </a:rPr>
              <a:t>April 2020, Protective Launches its 3</a:t>
            </a:r>
            <a:r>
              <a:rPr lang="en-US" sz="3600" baseline="30000" dirty="0">
                <a:solidFill>
                  <a:schemeClr val="tx2"/>
                </a:solidFill>
              </a:rPr>
              <a:t>rd</a:t>
            </a:r>
            <a:r>
              <a:rPr lang="en-US" sz="3600" dirty="0">
                <a:solidFill>
                  <a:schemeClr val="tx2"/>
                </a:solidFill>
              </a:rPr>
              <a:t> GUL Product</a:t>
            </a:r>
          </a:p>
          <a:p>
            <a:pPr marL="342900" indent="-342900">
              <a:buClr>
                <a:schemeClr val="tx2"/>
              </a:buClr>
              <a:buFont typeface="Wingdings" panose="05000000000000000000" pitchFamily="2" charset="2"/>
              <a:buChar char="Ø"/>
            </a:pPr>
            <a:r>
              <a:rPr lang="en-US" sz="3600" b="1" u="sng" dirty="0">
                <a:solidFill>
                  <a:schemeClr val="tx2"/>
                </a:solidFill>
              </a:rPr>
              <a:t>Protective offers 3 of the 11 GUL Products</a:t>
            </a:r>
          </a:p>
        </p:txBody>
      </p:sp>
    </p:spTree>
    <p:extLst>
      <p:ext uri="{BB962C8B-B14F-4D97-AF65-F5344CB8AC3E}">
        <p14:creationId xmlns:p14="http://schemas.microsoft.com/office/powerpoint/2010/main" val="18678781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59430" y="395320"/>
            <a:ext cx="9146855" cy="5205380"/>
          </a:xfrm>
        </p:spPr>
        <p:txBody>
          <a:bodyPr>
            <a:normAutofit/>
          </a:bodyPr>
          <a:lstStyle/>
          <a:p>
            <a:r>
              <a:rPr lang="en-US" sz="3600" dirty="0"/>
              <a:t>Protection from Foundation to Lifetime:</a:t>
            </a:r>
            <a:br>
              <a:rPr lang="en-US" sz="3600" dirty="0"/>
            </a:br>
            <a:br>
              <a:rPr lang="en-US" dirty="0"/>
            </a:br>
            <a:r>
              <a:rPr lang="en-US" sz="3200" dirty="0"/>
              <a:t>Guaranteed Death Benefit UL (GUL)</a:t>
            </a:r>
            <a:br>
              <a:rPr lang="en-US" sz="3200" dirty="0"/>
            </a:br>
            <a:r>
              <a:rPr lang="en-US" sz="3200" dirty="0"/>
              <a:t>     -  Lifetime Assurance GUL</a:t>
            </a:r>
            <a:br>
              <a:rPr lang="en-US" sz="3200" dirty="0"/>
            </a:br>
            <a:r>
              <a:rPr lang="en-US" sz="3200" dirty="0"/>
              <a:t>     -  Advantage Choice GUL</a:t>
            </a:r>
            <a:br>
              <a:rPr lang="en-US" sz="3200" dirty="0"/>
            </a:br>
            <a:r>
              <a:rPr lang="en-US" sz="3200" dirty="0"/>
              <a:t>     -  Index Choice G – IUL</a:t>
            </a:r>
            <a:br>
              <a:rPr lang="en-US" sz="3200" dirty="0"/>
            </a:br>
            <a:br>
              <a:rPr lang="en-US" dirty="0"/>
            </a:br>
            <a:br>
              <a:rPr lang="en-US" dirty="0"/>
            </a:br>
            <a:r>
              <a:rPr lang="en-US" sz="2400" dirty="0"/>
              <a:t>All Designed to be low-priced, and perform as the agent and the customer expected them to perform when they were originally sold – no surprises.</a:t>
            </a:r>
            <a:br>
              <a:rPr lang="en-US" sz="2400" dirty="0"/>
            </a:br>
            <a:r>
              <a:rPr lang="en-US" dirty="0"/>
              <a:t> </a:t>
            </a:r>
          </a:p>
        </p:txBody>
      </p:sp>
      <p:cxnSp>
        <p:nvCxnSpPr>
          <p:cNvPr id="26" name="Straight Connector 25">
            <a:extLst>
              <a:ext uri="{FF2B5EF4-FFF2-40B4-BE49-F238E27FC236}">
                <a16:creationId xmlns:a16="http://schemas.microsoft.com/office/drawing/2014/main" id="{286319A5-6A08-4FD7-8D47-3A6FECABDA2B}"/>
              </a:ext>
            </a:extLst>
          </p:cNvPr>
          <p:cNvCxnSpPr>
            <a:cxnSpLocks/>
          </p:cNvCxnSpPr>
          <p:nvPr/>
        </p:nvCxnSpPr>
        <p:spPr>
          <a:xfrm>
            <a:off x="216385" y="4018782"/>
            <a:ext cx="12664088" cy="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2086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GUL Product Positioning</a:t>
            </a:r>
          </a:p>
        </p:txBody>
      </p:sp>
      <p:sp>
        <p:nvSpPr>
          <p:cNvPr id="5" name="TextBox 4"/>
          <p:cNvSpPr txBox="1"/>
          <p:nvPr/>
        </p:nvSpPr>
        <p:spPr>
          <a:xfrm>
            <a:off x="720429" y="3212564"/>
            <a:ext cx="2555963" cy="2989986"/>
          </a:xfrm>
          <a:prstGeom prst="rect">
            <a:avLst/>
          </a:prstGeom>
          <a:noFill/>
        </p:spPr>
        <p:txBody>
          <a:bodyPr wrap="square" rtlCol="0">
            <a:spAutoFit/>
          </a:bodyPr>
          <a:lstStyle/>
          <a:p>
            <a:pPr algn="ctr">
              <a:lnSpc>
                <a:spcPct val="150000"/>
              </a:lnSpc>
              <a:defRPr/>
            </a:pPr>
            <a:r>
              <a:rPr lang="en-US" sz="2400" b="1" dirty="0">
                <a:solidFill>
                  <a:srgbClr val="3A3A3A"/>
                </a:solidFill>
                <a:latin typeface="Arial"/>
              </a:rPr>
              <a:t>Lifetime Assurance</a:t>
            </a:r>
            <a:r>
              <a:rPr lang="en-US" sz="2400" b="1" baseline="30000" dirty="0">
                <a:solidFill>
                  <a:srgbClr val="3A3A3A"/>
                </a:solidFill>
                <a:latin typeface="Arial"/>
              </a:rPr>
              <a:t>SM</a:t>
            </a:r>
            <a:r>
              <a:rPr lang="en-US" sz="2400" b="1" dirty="0">
                <a:solidFill>
                  <a:srgbClr val="3A3A3A"/>
                </a:solidFill>
                <a:latin typeface="Arial"/>
              </a:rPr>
              <a:t> UL</a:t>
            </a:r>
          </a:p>
          <a:p>
            <a:pPr marL="171450" indent="-171450">
              <a:lnSpc>
                <a:spcPct val="150000"/>
              </a:lnSpc>
              <a:buFont typeface="Arial" panose="020B0604020202020204" pitchFamily="34" charset="0"/>
              <a:buChar char="•"/>
              <a:defRPr/>
            </a:pPr>
            <a:r>
              <a:rPr lang="en-US" sz="2000" dirty="0">
                <a:solidFill>
                  <a:srgbClr val="3A3A3A"/>
                </a:solidFill>
                <a:latin typeface="Arial"/>
              </a:rPr>
              <a:t>Level Pay Only</a:t>
            </a:r>
          </a:p>
          <a:p>
            <a:pPr marL="171450" indent="-171450">
              <a:lnSpc>
                <a:spcPct val="150000"/>
              </a:lnSpc>
              <a:buFont typeface="Arial" panose="020B0604020202020204" pitchFamily="34" charset="0"/>
              <a:buChar char="•"/>
              <a:defRPr/>
            </a:pPr>
            <a:r>
              <a:rPr lang="en-US" sz="2000" dirty="0">
                <a:solidFill>
                  <a:srgbClr val="3A3A3A"/>
                </a:solidFill>
                <a:latin typeface="Arial"/>
              </a:rPr>
              <a:t>Competitive NLG</a:t>
            </a:r>
          </a:p>
          <a:p>
            <a:pPr marL="628650" lvl="1" indent="-171450">
              <a:lnSpc>
                <a:spcPct val="150000"/>
              </a:lnSpc>
              <a:buFont typeface="Arial" panose="020B0604020202020204" pitchFamily="34" charset="0"/>
              <a:buChar char="•"/>
              <a:defRPr/>
            </a:pPr>
            <a:r>
              <a:rPr lang="en-US" sz="2000" dirty="0">
                <a:solidFill>
                  <a:srgbClr val="3A3A3A"/>
                </a:solidFill>
                <a:latin typeface="Arial"/>
              </a:rPr>
              <a:t>Ages 90 – 121</a:t>
            </a:r>
          </a:p>
          <a:p>
            <a:pPr marL="171450" indent="-171450">
              <a:lnSpc>
                <a:spcPct val="150000"/>
              </a:lnSpc>
              <a:buFont typeface="Arial" panose="020B0604020202020204" pitchFamily="34" charset="0"/>
              <a:buChar char="•"/>
              <a:defRPr/>
            </a:pPr>
            <a:r>
              <a:rPr lang="en-US" sz="2000" dirty="0">
                <a:solidFill>
                  <a:srgbClr val="3A3A3A"/>
                </a:solidFill>
                <a:latin typeface="Arial"/>
              </a:rPr>
              <a:t>Limited Flexibility</a:t>
            </a:r>
          </a:p>
        </p:txBody>
      </p:sp>
      <p:sp>
        <p:nvSpPr>
          <p:cNvPr id="6" name="TextBox 5"/>
          <p:cNvSpPr txBox="1"/>
          <p:nvPr/>
        </p:nvSpPr>
        <p:spPr>
          <a:xfrm>
            <a:off x="4538618" y="3212376"/>
            <a:ext cx="3114763" cy="3226524"/>
          </a:xfrm>
          <a:prstGeom prst="rect">
            <a:avLst/>
          </a:prstGeom>
          <a:noFill/>
        </p:spPr>
        <p:txBody>
          <a:bodyPr wrap="square" rtlCol="0">
            <a:spAutoFit/>
          </a:bodyPr>
          <a:lstStyle/>
          <a:p>
            <a:pPr>
              <a:lnSpc>
                <a:spcPct val="150000"/>
              </a:lnSpc>
              <a:defRPr/>
            </a:pPr>
            <a:r>
              <a:rPr lang="en-US" sz="2400" b="1" dirty="0">
                <a:solidFill>
                  <a:srgbClr val="3A3A3A"/>
                </a:solidFill>
                <a:latin typeface="Arial"/>
              </a:rPr>
              <a:t>Advantage Choice</a:t>
            </a:r>
            <a:r>
              <a:rPr lang="en-US" sz="2400" b="1" baseline="30000" dirty="0">
                <a:solidFill>
                  <a:srgbClr val="3A3A3A"/>
                </a:solidFill>
                <a:latin typeface="Arial"/>
              </a:rPr>
              <a:t>SM</a:t>
            </a:r>
            <a:r>
              <a:rPr lang="en-US" sz="2400" b="1" dirty="0">
                <a:solidFill>
                  <a:srgbClr val="3A3A3A"/>
                </a:solidFill>
                <a:latin typeface="Arial"/>
              </a:rPr>
              <a:t> UL</a:t>
            </a:r>
          </a:p>
          <a:p>
            <a:pPr marL="171450" indent="-171450">
              <a:lnSpc>
                <a:spcPct val="150000"/>
              </a:lnSpc>
              <a:buFont typeface="Arial" panose="020B0604020202020204" pitchFamily="34" charset="0"/>
              <a:buChar char="•"/>
              <a:defRPr/>
            </a:pPr>
            <a:r>
              <a:rPr lang="en-US" dirty="0">
                <a:solidFill>
                  <a:srgbClr val="3A3A3A"/>
                </a:solidFill>
                <a:latin typeface="Arial"/>
              </a:rPr>
              <a:t>More Customizable</a:t>
            </a:r>
          </a:p>
          <a:p>
            <a:pPr marL="171450" indent="-171450">
              <a:lnSpc>
                <a:spcPct val="150000"/>
              </a:lnSpc>
              <a:buFont typeface="Arial" panose="020B0604020202020204" pitchFamily="34" charset="0"/>
              <a:buChar char="•"/>
              <a:defRPr/>
            </a:pPr>
            <a:r>
              <a:rPr lang="en-US" dirty="0">
                <a:solidFill>
                  <a:srgbClr val="3A3A3A"/>
                </a:solidFill>
                <a:latin typeface="Arial"/>
              </a:rPr>
              <a:t>Single Pay, Short Pay, Level Pay</a:t>
            </a:r>
          </a:p>
          <a:p>
            <a:pPr marL="171450" indent="-171450">
              <a:lnSpc>
                <a:spcPct val="150000"/>
              </a:lnSpc>
              <a:buFont typeface="Arial" panose="020B0604020202020204" pitchFamily="34" charset="0"/>
              <a:buChar char="•"/>
              <a:defRPr/>
            </a:pPr>
            <a:r>
              <a:rPr lang="en-US" dirty="0">
                <a:solidFill>
                  <a:srgbClr val="3A3A3A"/>
                </a:solidFill>
                <a:latin typeface="Arial"/>
              </a:rPr>
              <a:t>Competitive NLG</a:t>
            </a:r>
          </a:p>
          <a:p>
            <a:pPr marL="171450" indent="-171450">
              <a:lnSpc>
                <a:spcPct val="150000"/>
              </a:lnSpc>
              <a:buFont typeface="Arial" panose="020B0604020202020204" pitchFamily="34" charset="0"/>
              <a:buChar char="•"/>
              <a:defRPr/>
            </a:pPr>
            <a:r>
              <a:rPr lang="en-US" dirty="0">
                <a:solidFill>
                  <a:srgbClr val="3A3A3A"/>
                </a:solidFill>
                <a:latin typeface="Arial"/>
              </a:rPr>
              <a:t>Greater Flexibility</a:t>
            </a:r>
          </a:p>
        </p:txBody>
      </p:sp>
      <p:sp>
        <p:nvSpPr>
          <p:cNvPr id="7" name="TextBox 6"/>
          <p:cNvSpPr txBox="1"/>
          <p:nvPr/>
        </p:nvSpPr>
        <p:spPr>
          <a:xfrm>
            <a:off x="7889969" y="3252202"/>
            <a:ext cx="4302031" cy="3359318"/>
          </a:xfrm>
          <a:prstGeom prst="rect">
            <a:avLst/>
          </a:prstGeom>
          <a:noFill/>
        </p:spPr>
        <p:txBody>
          <a:bodyPr wrap="square" rtlCol="0">
            <a:spAutoFit/>
          </a:bodyPr>
          <a:lstStyle/>
          <a:p>
            <a:pPr>
              <a:lnSpc>
                <a:spcPct val="150000"/>
              </a:lnSpc>
              <a:defRPr/>
            </a:pPr>
            <a:r>
              <a:rPr lang="en-US" sz="1350" dirty="0">
                <a:solidFill>
                  <a:srgbClr val="3A3A3A"/>
                </a:solidFill>
                <a:latin typeface="Arial"/>
              </a:rPr>
              <a:t>   </a:t>
            </a:r>
            <a:r>
              <a:rPr lang="en-US" sz="2400" b="1" dirty="0">
                <a:solidFill>
                  <a:srgbClr val="3A3A3A"/>
                </a:solidFill>
                <a:latin typeface="Arial"/>
              </a:rPr>
              <a:t>Indexed Choice</a:t>
            </a:r>
            <a:r>
              <a:rPr lang="en-US" sz="2400" b="1" baseline="30000" dirty="0">
                <a:solidFill>
                  <a:srgbClr val="3A3A3A"/>
                </a:solidFill>
                <a:latin typeface="Arial"/>
              </a:rPr>
              <a:t>SM</a:t>
            </a:r>
            <a:r>
              <a:rPr lang="en-US" sz="2400" b="1" dirty="0">
                <a:solidFill>
                  <a:srgbClr val="3A3A3A"/>
                </a:solidFill>
                <a:latin typeface="Arial"/>
              </a:rPr>
              <a:t> UL</a:t>
            </a:r>
          </a:p>
          <a:p>
            <a:pPr marL="171450" indent="-171450">
              <a:lnSpc>
                <a:spcPct val="150000"/>
              </a:lnSpc>
              <a:buFont typeface="Arial" panose="020B0604020202020204" pitchFamily="34" charset="0"/>
              <a:buChar char="•"/>
              <a:defRPr/>
            </a:pPr>
            <a:r>
              <a:rPr lang="en-US" sz="2000" dirty="0">
                <a:solidFill>
                  <a:srgbClr val="3A3A3A"/>
                </a:solidFill>
                <a:latin typeface="Arial"/>
              </a:rPr>
              <a:t>Most Customizable</a:t>
            </a:r>
          </a:p>
          <a:p>
            <a:pPr marL="171450" indent="-171450">
              <a:lnSpc>
                <a:spcPct val="150000"/>
              </a:lnSpc>
              <a:buFont typeface="Arial" panose="020B0604020202020204" pitchFamily="34" charset="0"/>
              <a:buChar char="•"/>
              <a:defRPr/>
            </a:pPr>
            <a:r>
              <a:rPr lang="en-US" sz="2000" dirty="0">
                <a:solidFill>
                  <a:srgbClr val="3A3A3A"/>
                </a:solidFill>
                <a:latin typeface="Arial"/>
              </a:rPr>
              <a:t>Level Pay, Short Pay and Single Pay</a:t>
            </a:r>
          </a:p>
          <a:p>
            <a:pPr marL="171450" indent="-171450">
              <a:lnSpc>
                <a:spcPct val="150000"/>
              </a:lnSpc>
              <a:buFont typeface="Arial" panose="020B0604020202020204" pitchFamily="34" charset="0"/>
              <a:buChar char="•"/>
              <a:defRPr/>
            </a:pPr>
            <a:r>
              <a:rPr lang="en-US" sz="2000" dirty="0">
                <a:solidFill>
                  <a:srgbClr val="3A3A3A"/>
                </a:solidFill>
                <a:latin typeface="Arial"/>
              </a:rPr>
              <a:t>Lapse Protection and/or Current Assumption</a:t>
            </a:r>
          </a:p>
          <a:p>
            <a:pPr marL="171450" indent="-171450">
              <a:lnSpc>
                <a:spcPct val="150000"/>
              </a:lnSpc>
              <a:buFont typeface="Arial" panose="020B0604020202020204" pitchFamily="34" charset="0"/>
              <a:buChar char="•"/>
              <a:defRPr/>
            </a:pPr>
            <a:r>
              <a:rPr lang="en-US" sz="2000" dirty="0">
                <a:solidFill>
                  <a:srgbClr val="3A3A3A"/>
                </a:solidFill>
                <a:latin typeface="Arial"/>
              </a:rPr>
              <a:t>Greatest Flexibility</a:t>
            </a:r>
          </a:p>
        </p:txBody>
      </p:sp>
      <p:cxnSp>
        <p:nvCxnSpPr>
          <p:cNvPr id="10" name="Straight Connector 9"/>
          <p:cNvCxnSpPr/>
          <p:nvPr/>
        </p:nvCxnSpPr>
        <p:spPr>
          <a:xfrm>
            <a:off x="3978554" y="2179558"/>
            <a:ext cx="0" cy="2832266"/>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7806342" y="2179558"/>
            <a:ext cx="0" cy="2832266"/>
          </a:xfrm>
          <a:prstGeom prst="line">
            <a:avLst/>
          </a:prstGeom>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38FA4E23-DB34-4E79-86A6-3AB4B7A9465A}"/>
              </a:ext>
            </a:extLst>
          </p:cNvPr>
          <p:cNvPicPr>
            <a:picLocks noChangeAspect="1"/>
          </p:cNvPicPr>
          <p:nvPr/>
        </p:nvPicPr>
        <p:blipFill>
          <a:blip r:embed="rId3"/>
          <a:stretch>
            <a:fillRect/>
          </a:stretch>
        </p:blipFill>
        <p:spPr>
          <a:xfrm>
            <a:off x="301871" y="664855"/>
            <a:ext cx="3508523" cy="1993007"/>
          </a:xfrm>
          <a:prstGeom prst="rect">
            <a:avLst/>
          </a:prstGeom>
        </p:spPr>
      </p:pic>
      <p:pic>
        <p:nvPicPr>
          <p:cNvPr id="8" name="Picture 7">
            <a:extLst>
              <a:ext uri="{FF2B5EF4-FFF2-40B4-BE49-F238E27FC236}">
                <a16:creationId xmlns:a16="http://schemas.microsoft.com/office/drawing/2014/main" id="{12F0F68C-56A8-4CEA-A846-2EC3F6206737}"/>
              </a:ext>
            </a:extLst>
          </p:cNvPr>
          <p:cNvPicPr>
            <a:picLocks noChangeAspect="1"/>
          </p:cNvPicPr>
          <p:nvPr/>
        </p:nvPicPr>
        <p:blipFill>
          <a:blip r:embed="rId4"/>
          <a:stretch>
            <a:fillRect/>
          </a:stretch>
        </p:blipFill>
        <p:spPr>
          <a:xfrm>
            <a:off x="4413891" y="1025086"/>
            <a:ext cx="2809069" cy="1871524"/>
          </a:xfrm>
          <a:prstGeom prst="rect">
            <a:avLst/>
          </a:prstGeom>
        </p:spPr>
      </p:pic>
      <p:pic>
        <p:nvPicPr>
          <p:cNvPr id="12" name="Picture 11">
            <a:extLst>
              <a:ext uri="{FF2B5EF4-FFF2-40B4-BE49-F238E27FC236}">
                <a16:creationId xmlns:a16="http://schemas.microsoft.com/office/drawing/2014/main" id="{7DF9342E-81DD-4190-8952-85A9BA4851B9}"/>
              </a:ext>
            </a:extLst>
          </p:cNvPr>
          <p:cNvPicPr>
            <a:picLocks noChangeAspect="1"/>
          </p:cNvPicPr>
          <p:nvPr/>
        </p:nvPicPr>
        <p:blipFill>
          <a:blip r:embed="rId5"/>
          <a:stretch>
            <a:fillRect/>
          </a:stretch>
        </p:blipFill>
        <p:spPr>
          <a:xfrm>
            <a:off x="8209334" y="606395"/>
            <a:ext cx="3128706" cy="2773937"/>
          </a:xfrm>
          <a:prstGeom prst="rect">
            <a:avLst/>
          </a:prstGeom>
        </p:spPr>
      </p:pic>
    </p:spTree>
    <p:extLst>
      <p:ext uri="{BB962C8B-B14F-4D97-AF65-F5344CB8AC3E}">
        <p14:creationId xmlns:p14="http://schemas.microsoft.com/office/powerpoint/2010/main" val="2248917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5"/>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6"/>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grpId="0" nodeType="clickEffect">
                                  <p:stCondLst>
                                    <p:cond delay="0"/>
                                  </p:stCondLst>
                                  <p:childTnLst>
                                    <p:set>
                                      <p:cBhvr>
                                        <p:cTn id="29"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8B9DD5-18C7-4061-9036-1FB6FE0B5F68}"/>
              </a:ext>
            </a:extLst>
          </p:cNvPr>
          <p:cNvSpPr>
            <a:spLocks noGrp="1"/>
          </p:cNvSpPr>
          <p:nvPr>
            <p:ph type="title"/>
          </p:nvPr>
        </p:nvSpPr>
        <p:spPr/>
        <p:txBody>
          <a:bodyPr/>
          <a:lstStyle/>
          <a:p>
            <a:r>
              <a:rPr lang="en-US" sz="3200" b="1" dirty="0"/>
              <a:t>Agenda</a:t>
            </a:r>
            <a:endParaRPr lang="en-US" dirty="0"/>
          </a:p>
        </p:txBody>
      </p:sp>
      <p:sp>
        <p:nvSpPr>
          <p:cNvPr id="4" name="Text Placeholder 3">
            <a:extLst>
              <a:ext uri="{FF2B5EF4-FFF2-40B4-BE49-F238E27FC236}">
                <a16:creationId xmlns:a16="http://schemas.microsoft.com/office/drawing/2014/main" id="{0E91D7CB-7BEB-40D6-AE6F-57BA509B8BAD}"/>
              </a:ext>
            </a:extLst>
          </p:cNvPr>
          <p:cNvSpPr>
            <a:spLocks noGrp="1"/>
          </p:cNvSpPr>
          <p:nvPr>
            <p:ph type="body" sz="quarter" idx="11"/>
          </p:nvPr>
        </p:nvSpPr>
        <p:spPr/>
        <p:txBody>
          <a:bodyPr/>
          <a:lstStyle/>
          <a:p>
            <a:endParaRPr lang="en-US"/>
          </a:p>
        </p:txBody>
      </p:sp>
      <p:sp>
        <p:nvSpPr>
          <p:cNvPr id="5" name="Content Placeholder 2">
            <a:extLst>
              <a:ext uri="{FF2B5EF4-FFF2-40B4-BE49-F238E27FC236}">
                <a16:creationId xmlns:a16="http://schemas.microsoft.com/office/drawing/2014/main" id="{C2A3342A-B23A-42D0-B434-64CA2E636A27}"/>
              </a:ext>
            </a:extLst>
          </p:cNvPr>
          <p:cNvSpPr txBox="1">
            <a:spLocks/>
          </p:cNvSpPr>
          <p:nvPr/>
        </p:nvSpPr>
        <p:spPr>
          <a:xfrm>
            <a:off x="515470" y="1899583"/>
            <a:ext cx="10515600"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
                <a:srgbClr val="4C12A1"/>
              </a:buClr>
              <a:buSzTx/>
              <a:buFont typeface="Wingdings" panose="05000000000000000000" pitchFamily="2" charset="2"/>
              <a:buChar char="Ø"/>
              <a:tabLst/>
              <a:defRPr/>
            </a:pPr>
            <a:r>
              <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  My Why</a:t>
            </a:r>
          </a:p>
          <a:p>
            <a:pPr marL="228600" marR="0" lvl="0" indent="-228600" algn="l" defTabSz="914400" rtl="0" eaLnBrk="1" fontAlgn="auto" latinLnBrk="0" hangingPunct="1">
              <a:lnSpc>
                <a:spcPct val="90000"/>
              </a:lnSpc>
              <a:spcBef>
                <a:spcPts val="1000"/>
              </a:spcBef>
              <a:spcAft>
                <a:spcPts val="0"/>
              </a:spcAft>
              <a:buClr>
                <a:srgbClr val="4C12A1"/>
              </a:buClr>
              <a:buSzTx/>
              <a:buFont typeface="Wingdings" panose="05000000000000000000" pitchFamily="2" charset="2"/>
              <a:buChar char="Ø"/>
              <a:tabLst/>
              <a:defRPr/>
            </a:pPr>
            <a:r>
              <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  Who Is Protective Life</a:t>
            </a:r>
          </a:p>
          <a:p>
            <a:pPr marL="685800" marR="0" lvl="1" indent="-228600" algn="l" defTabSz="914400" rtl="0" eaLnBrk="1" fontAlgn="auto" latinLnBrk="0" hangingPunct="1">
              <a:lnSpc>
                <a:spcPct val="90000"/>
              </a:lnSpc>
              <a:spcBef>
                <a:spcPts val="500"/>
              </a:spcBef>
              <a:spcAft>
                <a:spcPts val="0"/>
              </a:spcAft>
              <a:buClr>
                <a:srgbClr val="4C12A1"/>
              </a:buClr>
              <a:buSzTx/>
              <a:buFont typeface="Wingdings" panose="05000000000000000000" pitchFamily="2" charset="2"/>
              <a:buChar char="Ø"/>
              <a:tabLst/>
              <a:defRPr/>
            </a:pPr>
            <a:r>
              <a:rPr kumimoji="0" lang="en-US" sz="24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  Strength, Stability and Protection</a:t>
            </a:r>
          </a:p>
          <a:p>
            <a:pPr marL="685800" marR="0" lvl="1" indent="-228600" algn="l" defTabSz="914400" rtl="0" eaLnBrk="1" fontAlgn="auto" latinLnBrk="0" hangingPunct="1">
              <a:lnSpc>
                <a:spcPct val="90000"/>
              </a:lnSpc>
              <a:spcBef>
                <a:spcPts val="500"/>
              </a:spcBef>
              <a:spcAft>
                <a:spcPts val="0"/>
              </a:spcAft>
              <a:buClr>
                <a:srgbClr val="4C12A1"/>
              </a:buClr>
              <a:buSzTx/>
              <a:buFont typeface="Wingdings" panose="05000000000000000000" pitchFamily="2" charset="2"/>
              <a:buChar char="Ø"/>
              <a:tabLst/>
              <a:defRPr/>
            </a:pPr>
            <a:r>
              <a:rPr kumimoji="0" lang="en-US" sz="24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  New Brand</a:t>
            </a:r>
          </a:p>
          <a:p>
            <a:pPr marL="457200" marR="0" lvl="1" indent="0" algn="l" defTabSz="914400" rtl="0" eaLnBrk="1" fontAlgn="auto" latinLnBrk="0" hangingPunct="1">
              <a:lnSpc>
                <a:spcPct val="90000"/>
              </a:lnSpc>
              <a:spcBef>
                <a:spcPts val="500"/>
              </a:spcBef>
              <a:spcAft>
                <a:spcPts val="0"/>
              </a:spcAft>
              <a:buClr>
                <a:srgbClr val="4C12A1"/>
              </a:buClr>
              <a:buSzTx/>
              <a:buNone/>
              <a:tabLst/>
              <a:defRPr/>
            </a:pPr>
            <a:endParaRPr kumimoji="0" lang="en-US" sz="24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4C12A1"/>
              </a:buClr>
              <a:buSzTx/>
              <a:buFont typeface="Wingdings" panose="05000000000000000000" pitchFamily="2" charset="2"/>
              <a:buChar char="Ø"/>
              <a:tabLst/>
              <a:defRPr/>
            </a:pPr>
            <a:r>
              <a:rPr lang="en-US" sz="2800" kern="1200" dirty="0">
                <a:solidFill>
                  <a:schemeClr val="tx1">
                    <a:lumMod val="50000"/>
                  </a:schemeClr>
                </a:solidFill>
                <a:latin typeface="+mn-lt"/>
                <a:ea typeface="+mn-ea"/>
                <a:cs typeface="+mn-cs"/>
              </a:rPr>
              <a:t>  Protection from Foundation thru Lifetime</a:t>
            </a:r>
            <a:endParaRPr kumimoji="0" lang="en-US" sz="24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a:p>
            <a:pPr marL="685800" marR="0" lvl="1" indent="-228600" algn="l" defTabSz="914400" rtl="0" eaLnBrk="1" fontAlgn="auto" latinLnBrk="0" hangingPunct="1">
              <a:lnSpc>
                <a:spcPct val="90000"/>
              </a:lnSpc>
              <a:spcBef>
                <a:spcPts val="500"/>
              </a:spcBef>
              <a:spcAft>
                <a:spcPts val="0"/>
              </a:spcAft>
              <a:buClr>
                <a:srgbClr val="4C12A1"/>
              </a:buClr>
              <a:buSzTx/>
              <a:buFont typeface="Wingdings" panose="05000000000000000000" pitchFamily="2" charset="2"/>
              <a:buChar char="Ø"/>
              <a:tabLst/>
              <a:defRPr/>
            </a:pPr>
            <a:r>
              <a:rPr kumimoji="0" lang="en-US" sz="24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  Term</a:t>
            </a:r>
          </a:p>
          <a:p>
            <a:pPr marL="685800" marR="0" lvl="1" indent="-228600" algn="l" defTabSz="914400" rtl="0" eaLnBrk="1" fontAlgn="auto" latinLnBrk="0" hangingPunct="1">
              <a:lnSpc>
                <a:spcPct val="90000"/>
              </a:lnSpc>
              <a:spcBef>
                <a:spcPts val="500"/>
              </a:spcBef>
              <a:spcAft>
                <a:spcPts val="0"/>
              </a:spcAft>
              <a:buClr>
                <a:srgbClr val="4C12A1"/>
              </a:buClr>
              <a:buSzTx/>
              <a:buFont typeface="Wingdings" panose="05000000000000000000" pitchFamily="2" charset="2"/>
              <a:buChar char="Ø"/>
              <a:tabLst/>
              <a:defRPr/>
            </a:pPr>
            <a:r>
              <a:rPr kumimoji="0" lang="en-US" sz="24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  3 GUL Products</a:t>
            </a:r>
          </a:p>
          <a:p>
            <a:pPr marL="685800" marR="0" lvl="1" indent="-228600" algn="l" defTabSz="914400" rtl="0" eaLnBrk="1" fontAlgn="auto" latinLnBrk="0" hangingPunct="1">
              <a:lnSpc>
                <a:spcPct val="90000"/>
              </a:lnSpc>
              <a:spcBef>
                <a:spcPts val="500"/>
              </a:spcBef>
              <a:spcAft>
                <a:spcPts val="0"/>
              </a:spcAft>
              <a:buClr>
                <a:srgbClr val="4C12A1"/>
              </a:buClr>
              <a:buSzTx/>
              <a:buFont typeface="Wingdings" panose="05000000000000000000" pitchFamily="2" charset="2"/>
              <a:buChar char="Ø"/>
              <a:tabLst/>
              <a:defRPr/>
            </a:pPr>
            <a:r>
              <a:rPr lang="en-US" dirty="0">
                <a:solidFill>
                  <a:sysClr val="windowText" lastClr="000000"/>
                </a:solidFill>
                <a:latin typeface="Calibri" panose="020F0502020204030204"/>
              </a:rPr>
              <a:t>  Riders</a:t>
            </a:r>
            <a:endParaRPr kumimoji="0" lang="en-US" sz="24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367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tective Lifetime Assurance</a:t>
            </a:r>
            <a:r>
              <a:rPr lang="en-US" baseline="30000" dirty="0"/>
              <a:t>SM</a:t>
            </a:r>
            <a:r>
              <a:rPr lang="en-US" dirty="0"/>
              <a:t> UL</a:t>
            </a:r>
          </a:p>
        </p:txBody>
      </p:sp>
      <p:sp>
        <p:nvSpPr>
          <p:cNvPr id="5" name="TextBox 4"/>
          <p:cNvSpPr txBox="1"/>
          <p:nvPr/>
        </p:nvSpPr>
        <p:spPr>
          <a:xfrm>
            <a:off x="1281275" y="3503228"/>
            <a:ext cx="2182764" cy="1143390"/>
          </a:xfrm>
          <a:prstGeom prst="rect">
            <a:avLst/>
          </a:prstGeom>
          <a:noFill/>
        </p:spPr>
        <p:txBody>
          <a:bodyPr wrap="square" rtlCol="0">
            <a:spAutoFit/>
          </a:bodyPr>
          <a:lstStyle/>
          <a:p>
            <a:pPr algn="ctr" defTabSz="1219170">
              <a:lnSpc>
                <a:spcPct val="150000"/>
              </a:lnSpc>
              <a:defRPr/>
            </a:pPr>
            <a:r>
              <a:rPr lang="en-US" dirty="0">
                <a:solidFill>
                  <a:srgbClr val="3A3A3A"/>
                </a:solidFill>
                <a:latin typeface="Arial"/>
              </a:rPr>
              <a:t>Issue Ages</a:t>
            </a:r>
          </a:p>
          <a:p>
            <a:pPr algn="ctr" defTabSz="1219170">
              <a:lnSpc>
                <a:spcPct val="150000"/>
              </a:lnSpc>
              <a:defRPr/>
            </a:pPr>
            <a:r>
              <a:rPr lang="en-US" sz="1467" dirty="0">
                <a:solidFill>
                  <a:srgbClr val="3A3A3A"/>
                </a:solidFill>
                <a:latin typeface="Arial"/>
              </a:rPr>
              <a:t>18 – 85</a:t>
            </a:r>
          </a:p>
          <a:p>
            <a:pPr algn="ctr" defTabSz="1219170">
              <a:lnSpc>
                <a:spcPct val="150000"/>
              </a:lnSpc>
              <a:defRPr/>
            </a:pPr>
            <a:r>
              <a:rPr lang="en-US" sz="1467" dirty="0">
                <a:solidFill>
                  <a:srgbClr val="3A3A3A"/>
                </a:solidFill>
                <a:latin typeface="Arial"/>
              </a:rPr>
              <a:t>75 for Select Preferred</a:t>
            </a:r>
          </a:p>
        </p:txBody>
      </p:sp>
      <p:sp>
        <p:nvSpPr>
          <p:cNvPr id="6" name="TextBox 5"/>
          <p:cNvSpPr txBox="1"/>
          <p:nvPr/>
        </p:nvSpPr>
        <p:spPr>
          <a:xfrm>
            <a:off x="4677040" y="3503227"/>
            <a:ext cx="2298793" cy="804707"/>
          </a:xfrm>
          <a:prstGeom prst="rect">
            <a:avLst/>
          </a:prstGeom>
          <a:noFill/>
        </p:spPr>
        <p:txBody>
          <a:bodyPr wrap="square" rtlCol="0">
            <a:spAutoFit/>
          </a:bodyPr>
          <a:lstStyle/>
          <a:p>
            <a:pPr algn="ctr" defTabSz="1219170">
              <a:lnSpc>
                <a:spcPct val="150000"/>
              </a:lnSpc>
              <a:defRPr/>
            </a:pPr>
            <a:r>
              <a:rPr lang="en-US" dirty="0">
                <a:solidFill>
                  <a:srgbClr val="3A3A3A"/>
                </a:solidFill>
                <a:latin typeface="Arial"/>
              </a:rPr>
              <a:t>Lapse Protection</a:t>
            </a:r>
          </a:p>
          <a:p>
            <a:pPr algn="ctr" defTabSz="1219170">
              <a:lnSpc>
                <a:spcPct val="150000"/>
              </a:lnSpc>
              <a:defRPr/>
            </a:pPr>
            <a:r>
              <a:rPr lang="en-US" sz="1467" dirty="0">
                <a:solidFill>
                  <a:srgbClr val="3A3A3A"/>
                </a:solidFill>
                <a:latin typeface="Arial"/>
              </a:rPr>
              <a:t>Min: Age 90 / 20 Years</a:t>
            </a:r>
          </a:p>
        </p:txBody>
      </p:sp>
      <p:sp>
        <p:nvSpPr>
          <p:cNvPr id="7" name="TextBox 6"/>
          <p:cNvSpPr txBox="1"/>
          <p:nvPr/>
        </p:nvSpPr>
        <p:spPr>
          <a:xfrm>
            <a:off x="7702202" y="3503228"/>
            <a:ext cx="4012172" cy="804707"/>
          </a:xfrm>
          <a:prstGeom prst="rect">
            <a:avLst/>
          </a:prstGeom>
          <a:noFill/>
        </p:spPr>
        <p:txBody>
          <a:bodyPr wrap="square" rtlCol="0">
            <a:spAutoFit/>
          </a:bodyPr>
          <a:lstStyle/>
          <a:p>
            <a:pPr algn="ctr" defTabSz="1219170">
              <a:lnSpc>
                <a:spcPct val="150000"/>
              </a:lnSpc>
              <a:defRPr/>
            </a:pPr>
            <a:r>
              <a:rPr lang="en-US" dirty="0">
                <a:solidFill>
                  <a:srgbClr val="3A3A3A"/>
                </a:solidFill>
                <a:latin typeface="Arial"/>
              </a:rPr>
              <a:t>Target = Annualized Level Premium</a:t>
            </a:r>
          </a:p>
          <a:p>
            <a:pPr algn="ctr" defTabSz="1219170">
              <a:lnSpc>
                <a:spcPct val="150000"/>
              </a:lnSpc>
              <a:defRPr/>
            </a:pPr>
            <a:r>
              <a:rPr lang="en-US" sz="1467" dirty="0">
                <a:solidFill>
                  <a:srgbClr val="3A3A3A"/>
                </a:solidFill>
                <a:latin typeface="Arial"/>
              </a:rPr>
              <a:t>No Rolling Target</a:t>
            </a:r>
          </a:p>
        </p:txBody>
      </p:sp>
      <p:cxnSp>
        <p:nvCxnSpPr>
          <p:cNvPr id="10" name="Straight Connector 9"/>
          <p:cNvCxnSpPr/>
          <p:nvPr/>
        </p:nvCxnSpPr>
        <p:spPr>
          <a:xfrm>
            <a:off x="4126635" y="1911927"/>
            <a:ext cx="0" cy="3776355"/>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7534687" y="1911927"/>
            <a:ext cx="0" cy="3776355"/>
          </a:xfrm>
          <a:prstGeom prst="line">
            <a:avLst/>
          </a:prstGeom>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55790CAC-8DEC-49A5-A795-87C874067299}"/>
              </a:ext>
            </a:extLst>
          </p:cNvPr>
          <p:cNvGrpSpPr>
            <a:grpSpLocks noChangeAspect="1"/>
          </p:cNvGrpSpPr>
          <p:nvPr/>
        </p:nvGrpSpPr>
        <p:grpSpPr>
          <a:xfrm>
            <a:off x="5440541" y="2116835"/>
            <a:ext cx="747305" cy="1012888"/>
            <a:chOff x="4343840" y="1745062"/>
            <a:chExt cx="448383" cy="607733"/>
          </a:xfrm>
        </p:grpSpPr>
        <p:sp>
          <p:nvSpPr>
            <p:cNvPr id="18" name="Freeform 67">
              <a:extLst>
                <a:ext uri="{FF2B5EF4-FFF2-40B4-BE49-F238E27FC236}">
                  <a16:creationId xmlns:a16="http://schemas.microsoft.com/office/drawing/2014/main" id="{9B3CD27C-3776-4395-AD63-078D6122EF2E}"/>
                </a:ext>
              </a:extLst>
            </p:cNvPr>
            <p:cNvSpPr>
              <a:spLocks/>
            </p:cNvSpPr>
            <p:nvPr/>
          </p:nvSpPr>
          <p:spPr bwMode="auto">
            <a:xfrm>
              <a:off x="4493866" y="1745062"/>
              <a:ext cx="131379" cy="112732"/>
            </a:xfrm>
            <a:custGeom>
              <a:avLst/>
              <a:gdLst>
                <a:gd name="T0" fmla="*/ 24 w 364"/>
                <a:gd name="T1" fmla="*/ 212 h 312"/>
                <a:gd name="T2" fmla="*/ 63 w 364"/>
                <a:gd name="T3" fmla="*/ 212 h 312"/>
                <a:gd name="T4" fmla="*/ 63 w 364"/>
                <a:gd name="T5" fmla="*/ 312 h 312"/>
                <a:gd name="T6" fmla="*/ 87 w 364"/>
                <a:gd name="T7" fmla="*/ 308 h 312"/>
                <a:gd name="T8" fmla="*/ 111 w 364"/>
                <a:gd name="T9" fmla="*/ 305 h 312"/>
                <a:gd name="T10" fmla="*/ 182 w 364"/>
                <a:gd name="T11" fmla="*/ 301 h 312"/>
                <a:gd name="T12" fmla="*/ 253 w 364"/>
                <a:gd name="T13" fmla="*/ 305 h 312"/>
                <a:gd name="T14" fmla="*/ 277 w 364"/>
                <a:gd name="T15" fmla="*/ 308 h 312"/>
                <a:gd name="T16" fmla="*/ 301 w 364"/>
                <a:gd name="T17" fmla="*/ 312 h 312"/>
                <a:gd name="T18" fmla="*/ 301 w 364"/>
                <a:gd name="T19" fmla="*/ 212 h 312"/>
                <a:gd name="T20" fmla="*/ 340 w 364"/>
                <a:gd name="T21" fmla="*/ 212 h 312"/>
                <a:gd name="T22" fmla="*/ 364 w 364"/>
                <a:gd name="T23" fmla="*/ 188 h 312"/>
                <a:gd name="T24" fmla="*/ 364 w 364"/>
                <a:gd name="T25" fmla="*/ 24 h 312"/>
                <a:gd name="T26" fmla="*/ 340 w 364"/>
                <a:gd name="T27" fmla="*/ 0 h 312"/>
                <a:gd name="T28" fmla="*/ 24 w 364"/>
                <a:gd name="T29" fmla="*/ 0 h 312"/>
                <a:gd name="T30" fmla="*/ 0 w 364"/>
                <a:gd name="T31" fmla="*/ 24 h 312"/>
                <a:gd name="T32" fmla="*/ 0 w 364"/>
                <a:gd name="T33" fmla="*/ 188 h 312"/>
                <a:gd name="T34" fmla="*/ 24 w 364"/>
                <a:gd name="T35" fmla="*/ 21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312">
                  <a:moveTo>
                    <a:pt x="24" y="212"/>
                  </a:moveTo>
                  <a:cubicBezTo>
                    <a:pt x="63" y="212"/>
                    <a:pt x="63" y="212"/>
                    <a:pt x="63" y="212"/>
                  </a:cubicBezTo>
                  <a:cubicBezTo>
                    <a:pt x="63" y="312"/>
                    <a:pt x="63" y="312"/>
                    <a:pt x="63" y="312"/>
                  </a:cubicBezTo>
                  <a:cubicBezTo>
                    <a:pt x="71" y="310"/>
                    <a:pt x="79" y="309"/>
                    <a:pt x="87" y="308"/>
                  </a:cubicBezTo>
                  <a:cubicBezTo>
                    <a:pt x="95" y="307"/>
                    <a:pt x="103" y="306"/>
                    <a:pt x="111" y="305"/>
                  </a:cubicBezTo>
                  <a:cubicBezTo>
                    <a:pt x="134" y="302"/>
                    <a:pt x="158" y="301"/>
                    <a:pt x="182" y="301"/>
                  </a:cubicBezTo>
                  <a:cubicBezTo>
                    <a:pt x="206" y="301"/>
                    <a:pt x="230" y="302"/>
                    <a:pt x="253" y="305"/>
                  </a:cubicBezTo>
                  <a:cubicBezTo>
                    <a:pt x="261" y="306"/>
                    <a:pt x="269" y="307"/>
                    <a:pt x="277" y="308"/>
                  </a:cubicBezTo>
                  <a:cubicBezTo>
                    <a:pt x="285" y="309"/>
                    <a:pt x="293" y="310"/>
                    <a:pt x="301" y="312"/>
                  </a:cubicBezTo>
                  <a:cubicBezTo>
                    <a:pt x="301" y="212"/>
                    <a:pt x="301" y="212"/>
                    <a:pt x="301" y="212"/>
                  </a:cubicBezTo>
                  <a:cubicBezTo>
                    <a:pt x="340" y="212"/>
                    <a:pt x="340" y="212"/>
                    <a:pt x="340" y="212"/>
                  </a:cubicBezTo>
                  <a:cubicBezTo>
                    <a:pt x="353" y="212"/>
                    <a:pt x="364" y="202"/>
                    <a:pt x="364" y="188"/>
                  </a:cubicBezTo>
                  <a:cubicBezTo>
                    <a:pt x="364" y="24"/>
                    <a:pt x="364" y="24"/>
                    <a:pt x="364" y="24"/>
                  </a:cubicBezTo>
                  <a:cubicBezTo>
                    <a:pt x="364" y="11"/>
                    <a:pt x="353" y="0"/>
                    <a:pt x="340" y="0"/>
                  </a:cubicBezTo>
                  <a:cubicBezTo>
                    <a:pt x="24" y="0"/>
                    <a:pt x="24" y="0"/>
                    <a:pt x="24" y="0"/>
                  </a:cubicBezTo>
                  <a:cubicBezTo>
                    <a:pt x="11" y="0"/>
                    <a:pt x="0" y="11"/>
                    <a:pt x="0" y="24"/>
                  </a:cubicBezTo>
                  <a:cubicBezTo>
                    <a:pt x="0" y="188"/>
                    <a:pt x="0" y="188"/>
                    <a:pt x="0" y="188"/>
                  </a:cubicBezTo>
                  <a:cubicBezTo>
                    <a:pt x="0" y="202"/>
                    <a:pt x="11" y="212"/>
                    <a:pt x="24" y="212"/>
                  </a:cubicBezTo>
                  <a:close/>
                </a:path>
              </a:pathLst>
            </a:custGeom>
            <a:solidFill>
              <a:srgbClr val="00A9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rgbClr val="3A3A3A"/>
                </a:solidFill>
                <a:latin typeface="Arial"/>
              </a:endParaRPr>
            </a:p>
          </p:txBody>
        </p:sp>
        <p:sp>
          <p:nvSpPr>
            <p:cNvPr id="19" name="Freeform 68">
              <a:extLst>
                <a:ext uri="{FF2B5EF4-FFF2-40B4-BE49-F238E27FC236}">
                  <a16:creationId xmlns:a16="http://schemas.microsoft.com/office/drawing/2014/main" id="{7CCB7ECB-0E63-4C70-ADF1-4D4301B73271}"/>
                </a:ext>
              </a:extLst>
            </p:cNvPr>
            <p:cNvSpPr>
              <a:spLocks/>
            </p:cNvSpPr>
            <p:nvPr/>
          </p:nvSpPr>
          <p:spPr bwMode="auto">
            <a:xfrm>
              <a:off x="4699834" y="1860336"/>
              <a:ext cx="92389" cy="91542"/>
            </a:xfrm>
            <a:custGeom>
              <a:avLst/>
              <a:gdLst>
                <a:gd name="T0" fmla="*/ 38 w 256"/>
                <a:gd name="T1" fmla="*/ 135 h 252"/>
                <a:gd name="T2" fmla="*/ 118 w 256"/>
                <a:gd name="T3" fmla="*/ 214 h 252"/>
                <a:gd name="T4" fmla="*/ 133 w 256"/>
                <a:gd name="T5" fmla="*/ 232 h 252"/>
                <a:gd name="T6" fmla="*/ 148 w 256"/>
                <a:gd name="T7" fmla="*/ 252 h 252"/>
                <a:gd name="T8" fmla="*/ 246 w 256"/>
                <a:gd name="T9" fmla="*/ 157 h 252"/>
                <a:gd name="T10" fmla="*/ 247 w 256"/>
                <a:gd name="T11" fmla="*/ 123 h 252"/>
                <a:gd name="T12" fmla="*/ 136 w 256"/>
                <a:gd name="T13" fmla="*/ 8 h 252"/>
                <a:gd name="T14" fmla="*/ 119 w 256"/>
                <a:gd name="T15" fmla="*/ 0 h 252"/>
                <a:gd name="T16" fmla="*/ 102 w 256"/>
                <a:gd name="T17" fmla="*/ 7 h 252"/>
                <a:gd name="T18" fmla="*/ 0 w 256"/>
                <a:gd name="T19" fmla="*/ 106 h 252"/>
                <a:gd name="T20" fmla="*/ 19 w 256"/>
                <a:gd name="T21" fmla="*/ 120 h 252"/>
                <a:gd name="T22" fmla="*/ 38 w 256"/>
                <a:gd name="T23" fmla="*/ 135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6" h="252">
                  <a:moveTo>
                    <a:pt x="38" y="135"/>
                  </a:moveTo>
                  <a:cubicBezTo>
                    <a:pt x="67" y="159"/>
                    <a:pt x="94" y="186"/>
                    <a:pt x="118" y="214"/>
                  </a:cubicBezTo>
                  <a:cubicBezTo>
                    <a:pt x="123" y="220"/>
                    <a:pt x="128" y="226"/>
                    <a:pt x="133" y="232"/>
                  </a:cubicBezTo>
                  <a:cubicBezTo>
                    <a:pt x="138" y="239"/>
                    <a:pt x="143" y="245"/>
                    <a:pt x="148" y="252"/>
                  </a:cubicBezTo>
                  <a:cubicBezTo>
                    <a:pt x="246" y="157"/>
                    <a:pt x="246" y="157"/>
                    <a:pt x="246" y="157"/>
                  </a:cubicBezTo>
                  <a:cubicBezTo>
                    <a:pt x="256" y="148"/>
                    <a:pt x="256" y="133"/>
                    <a:pt x="247" y="123"/>
                  </a:cubicBezTo>
                  <a:cubicBezTo>
                    <a:pt x="136" y="8"/>
                    <a:pt x="136" y="8"/>
                    <a:pt x="136" y="8"/>
                  </a:cubicBezTo>
                  <a:cubicBezTo>
                    <a:pt x="131" y="3"/>
                    <a:pt x="125" y="1"/>
                    <a:pt x="119" y="0"/>
                  </a:cubicBezTo>
                  <a:cubicBezTo>
                    <a:pt x="112" y="0"/>
                    <a:pt x="106" y="3"/>
                    <a:pt x="102" y="7"/>
                  </a:cubicBezTo>
                  <a:cubicBezTo>
                    <a:pt x="0" y="106"/>
                    <a:pt x="0" y="106"/>
                    <a:pt x="0" y="106"/>
                  </a:cubicBezTo>
                  <a:cubicBezTo>
                    <a:pt x="6" y="111"/>
                    <a:pt x="13" y="115"/>
                    <a:pt x="19" y="120"/>
                  </a:cubicBezTo>
                  <a:cubicBezTo>
                    <a:pt x="25" y="125"/>
                    <a:pt x="32" y="130"/>
                    <a:pt x="38" y="135"/>
                  </a:cubicBezTo>
                  <a:close/>
                </a:path>
              </a:pathLst>
            </a:custGeom>
            <a:solidFill>
              <a:srgbClr val="00A9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rgbClr val="3A3A3A"/>
                </a:solidFill>
                <a:latin typeface="Arial"/>
              </a:endParaRPr>
            </a:p>
          </p:txBody>
        </p:sp>
        <p:sp>
          <p:nvSpPr>
            <p:cNvPr id="20" name="Freeform 69">
              <a:extLst>
                <a:ext uri="{FF2B5EF4-FFF2-40B4-BE49-F238E27FC236}">
                  <a16:creationId xmlns:a16="http://schemas.microsoft.com/office/drawing/2014/main" id="{6DA01DF7-03BA-4938-A75D-D694057EA699}"/>
                </a:ext>
              </a:extLst>
            </p:cNvPr>
            <p:cNvSpPr>
              <a:spLocks/>
            </p:cNvSpPr>
            <p:nvPr/>
          </p:nvSpPr>
          <p:spPr bwMode="auto">
            <a:xfrm>
              <a:off x="4343840" y="1879831"/>
              <a:ext cx="431431" cy="472964"/>
            </a:xfrm>
            <a:custGeom>
              <a:avLst/>
              <a:gdLst>
                <a:gd name="T0" fmla="*/ 185 w 1196"/>
                <a:gd name="T1" fmla="*/ 1029 h 1312"/>
                <a:gd name="T2" fmla="*/ 315 w 1196"/>
                <a:gd name="T3" fmla="*/ 928 h 1312"/>
                <a:gd name="T4" fmla="*/ 163 w 1196"/>
                <a:gd name="T5" fmla="*/ 598 h 1312"/>
                <a:gd name="T6" fmla="*/ 598 w 1196"/>
                <a:gd name="T7" fmla="*/ 163 h 1312"/>
                <a:gd name="T8" fmla="*/ 1033 w 1196"/>
                <a:gd name="T9" fmla="*/ 598 h 1312"/>
                <a:gd name="T10" fmla="*/ 635 w 1196"/>
                <a:gd name="T11" fmla="*/ 1031 h 1312"/>
                <a:gd name="T12" fmla="*/ 635 w 1196"/>
                <a:gd name="T13" fmla="*/ 959 h 1312"/>
                <a:gd name="T14" fmla="*/ 635 w 1196"/>
                <a:gd name="T15" fmla="*/ 923 h 1312"/>
                <a:gd name="T16" fmla="*/ 620 w 1196"/>
                <a:gd name="T17" fmla="*/ 897 h 1312"/>
                <a:gd name="T18" fmla="*/ 591 w 1196"/>
                <a:gd name="T19" fmla="*/ 899 h 1312"/>
                <a:gd name="T20" fmla="*/ 330 w 1196"/>
                <a:gd name="T21" fmla="*/ 1080 h 1312"/>
                <a:gd name="T22" fmla="*/ 318 w 1196"/>
                <a:gd name="T23" fmla="*/ 1103 h 1312"/>
                <a:gd name="T24" fmla="*/ 330 w 1196"/>
                <a:gd name="T25" fmla="*/ 1127 h 1312"/>
                <a:gd name="T26" fmla="*/ 591 w 1196"/>
                <a:gd name="T27" fmla="*/ 1307 h 1312"/>
                <a:gd name="T28" fmla="*/ 607 w 1196"/>
                <a:gd name="T29" fmla="*/ 1312 h 1312"/>
                <a:gd name="T30" fmla="*/ 620 w 1196"/>
                <a:gd name="T31" fmla="*/ 1309 h 1312"/>
                <a:gd name="T32" fmla="*/ 635 w 1196"/>
                <a:gd name="T33" fmla="*/ 1284 h 1312"/>
                <a:gd name="T34" fmla="*/ 635 w 1196"/>
                <a:gd name="T35" fmla="*/ 1266 h 1312"/>
                <a:gd name="T36" fmla="*/ 635 w 1196"/>
                <a:gd name="T37" fmla="*/ 1194 h 1312"/>
                <a:gd name="T38" fmla="*/ 1196 w 1196"/>
                <a:gd name="T39" fmla="*/ 598 h 1312"/>
                <a:gd name="T40" fmla="*/ 1083 w 1196"/>
                <a:gd name="T41" fmla="*/ 249 h 1312"/>
                <a:gd name="T42" fmla="*/ 1068 w 1196"/>
                <a:gd name="T43" fmla="*/ 230 h 1312"/>
                <a:gd name="T44" fmla="*/ 1053 w 1196"/>
                <a:gd name="T45" fmla="*/ 211 h 1312"/>
                <a:gd name="T46" fmla="*/ 973 w 1196"/>
                <a:gd name="T47" fmla="*/ 133 h 1312"/>
                <a:gd name="T48" fmla="*/ 954 w 1196"/>
                <a:gd name="T49" fmla="*/ 118 h 1312"/>
                <a:gd name="T50" fmla="*/ 934 w 1196"/>
                <a:gd name="T51" fmla="*/ 104 h 1312"/>
                <a:gd name="T52" fmla="*/ 717 w 1196"/>
                <a:gd name="T53" fmla="*/ 12 h 1312"/>
                <a:gd name="T54" fmla="*/ 693 w 1196"/>
                <a:gd name="T55" fmla="*/ 8 h 1312"/>
                <a:gd name="T56" fmla="*/ 669 w 1196"/>
                <a:gd name="T57" fmla="*/ 4 h 1312"/>
                <a:gd name="T58" fmla="*/ 598 w 1196"/>
                <a:gd name="T59" fmla="*/ 0 h 1312"/>
                <a:gd name="T60" fmla="*/ 527 w 1196"/>
                <a:gd name="T61" fmla="*/ 4 h 1312"/>
                <a:gd name="T62" fmla="*/ 503 w 1196"/>
                <a:gd name="T63" fmla="*/ 8 h 1312"/>
                <a:gd name="T64" fmla="*/ 479 w 1196"/>
                <a:gd name="T65" fmla="*/ 12 h 1312"/>
                <a:gd name="T66" fmla="*/ 0 w 1196"/>
                <a:gd name="T67" fmla="*/ 598 h 1312"/>
                <a:gd name="T68" fmla="*/ 185 w 1196"/>
                <a:gd name="T69" fmla="*/ 1029 h 1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96" h="1312">
                  <a:moveTo>
                    <a:pt x="185" y="1029"/>
                  </a:moveTo>
                  <a:cubicBezTo>
                    <a:pt x="315" y="928"/>
                    <a:pt x="315" y="928"/>
                    <a:pt x="315" y="928"/>
                  </a:cubicBezTo>
                  <a:cubicBezTo>
                    <a:pt x="222" y="848"/>
                    <a:pt x="163" y="730"/>
                    <a:pt x="163" y="598"/>
                  </a:cubicBezTo>
                  <a:cubicBezTo>
                    <a:pt x="163" y="358"/>
                    <a:pt x="358" y="163"/>
                    <a:pt x="598" y="163"/>
                  </a:cubicBezTo>
                  <a:cubicBezTo>
                    <a:pt x="838" y="163"/>
                    <a:pt x="1033" y="358"/>
                    <a:pt x="1033" y="598"/>
                  </a:cubicBezTo>
                  <a:cubicBezTo>
                    <a:pt x="1033" y="825"/>
                    <a:pt x="858" y="1012"/>
                    <a:pt x="635" y="1031"/>
                  </a:cubicBezTo>
                  <a:cubicBezTo>
                    <a:pt x="635" y="959"/>
                    <a:pt x="635" y="959"/>
                    <a:pt x="635" y="959"/>
                  </a:cubicBezTo>
                  <a:cubicBezTo>
                    <a:pt x="635" y="923"/>
                    <a:pt x="635" y="923"/>
                    <a:pt x="635" y="923"/>
                  </a:cubicBezTo>
                  <a:cubicBezTo>
                    <a:pt x="635" y="912"/>
                    <a:pt x="630" y="902"/>
                    <a:pt x="620" y="897"/>
                  </a:cubicBezTo>
                  <a:cubicBezTo>
                    <a:pt x="611" y="892"/>
                    <a:pt x="599" y="893"/>
                    <a:pt x="591" y="899"/>
                  </a:cubicBezTo>
                  <a:cubicBezTo>
                    <a:pt x="330" y="1080"/>
                    <a:pt x="330" y="1080"/>
                    <a:pt x="330" y="1080"/>
                  </a:cubicBezTo>
                  <a:cubicBezTo>
                    <a:pt x="322" y="1085"/>
                    <a:pt x="318" y="1094"/>
                    <a:pt x="318" y="1103"/>
                  </a:cubicBezTo>
                  <a:cubicBezTo>
                    <a:pt x="318" y="1113"/>
                    <a:pt x="322" y="1121"/>
                    <a:pt x="330" y="1127"/>
                  </a:cubicBezTo>
                  <a:cubicBezTo>
                    <a:pt x="591" y="1307"/>
                    <a:pt x="591" y="1307"/>
                    <a:pt x="591" y="1307"/>
                  </a:cubicBezTo>
                  <a:cubicBezTo>
                    <a:pt x="596" y="1311"/>
                    <a:pt x="601" y="1312"/>
                    <a:pt x="607" y="1312"/>
                  </a:cubicBezTo>
                  <a:cubicBezTo>
                    <a:pt x="611" y="1312"/>
                    <a:pt x="616" y="1311"/>
                    <a:pt x="620" y="1309"/>
                  </a:cubicBezTo>
                  <a:cubicBezTo>
                    <a:pt x="630" y="1304"/>
                    <a:pt x="635" y="1295"/>
                    <a:pt x="635" y="1284"/>
                  </a:cubicBezTo>
                  <a:cubicBezTo>
                    <a:pt x="635" y="1266"/>
                    <a:pt x="635" y="1266"/>
                    <a:pt x="635" y="1266"/>
                  </a:cubicBezTo>
                  <a:cubicBezTo>
                    <a:pt x="635" y="1194"/>
                    <a:pt x="635" y="1194"/>
                    <a:pt x="635" y="1194"/>
                  </a:cubicBezTo>
                  <a:cubicBezTo>
                    <a:pt x="948" y="1175"/>
                    <a:pt x="1196" y="915"/>
                    <a:pt x="1196" y="598"/>
                  </a:cubicBezTo>
                  <a:cubicBezTo>
                    <a:pt x="1196" y="468"/>
                    <a:pt x="1154" y="347"/>
                    <a:pt x="1083" y="249"/>
                  </a:cubicBezTo>
                  <a:cubicBezTo>
                    <a:pt x="1078" y="242"/>
                    <a:pt x="1073" y="236"/>
                    <a:pt x="1068" y="230"/>
                  </a:cubicBezTo>
                  <a:cubicBezTo>
                    <a:pt x="1063" y="223"/>
                    <a:pt x="1058" y="217"/>
                    <a:pt x="1053" y="211"/>
                  </a:cubicBezTo>
                  <a:cubicBezTo>
                    <a:pt x="1029" y="182"/>
                    <a:pt x="1002" y="156"/>
                    <a:pt x="973" y="133"/>
                  </a:cubicBezTo>
                  <a:cubicBezTo>
                    <a:pt x="967" y="128"/>
                    <a:pt x="960" y="123"/>
                    <a:pt x="954" y="118"/>
                  </a:cubicBezTo>
                  <a:cubicBezTo>
                    <a:pt x="947" y="113"/>
                    <a:pt x="941" y="108"/>
                    <a:pt x="934" y="104"/>
                  </a:cubicBezTo>
                  <a:cubicBezTo>
                    <a:pt x="869" y="60"/>
                    <a:pt x="796" y="28"/>
                    <a:pt x="717" y="12"/>
                  </a:cubicBezTo>
                  <a:cubicBezTo>
                    <a:pt x="709" y="10"/>
                    <a:pt x="701" y="9"/>
                    <a:pt x="693" y="8"/>
                  </a:cubicBezTo>
                  <a:cubicBezTo>
                    <a:pt x="685" y="6"/>
                    <a:pt x="677" y="5"/>
                    <a:pt x="669" y="4"/>
                  </a:cubicBezTo>
                  <a:cubicBezTo>
                    <a:pt x="646" y="1"/>
                    <a:pt x="622" y="0"/>
                    <a:pt x="598" y="0"/>
                  </a:cubicBezTo>
                  <a:cubicBezTo>
                    <a:pt x="574" y="0"/>
                    <a:pt x="550" y="1"/>
                    <a:pt x="527" y="4"/>
                  </a:cubicBezTo>
                  <a:cubicBezTo>
                    <a:pt x="519" y="5"/>
                    <a:pt x="511" y="6"/>
                    <a:pt x="503" y="8"/>
                  </a:cubicBezTo>
                  <a:cubicBezTo>
                    <a:pt x="495" y="9"/>
                    <a:pt x="487" y="10"/>
                    <a:pt x="479" y="12"/>
                  </a:cubicBezTo>
                  <a:cubicBezTo>
                    <a:pt x="206" y="67"/>
                    <a:pt x="0" y="309"/>
                    <a:pt x="0" y="598"/>
                  </a:cubicBezTo>
                  <a:cubicBezTo>
                    <a:pt x="0" y="767"/>
                    <a:pt x="71" y="920"/>
                    <a:pt x="185" y="1029"/>
                  </a:cubicBezTo>
                  <a:close/>
                </a:path>
              </a:pathLst>
            </a:custGeom>
            <a:solidFill>
              <a:srgbClr val="00A9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rgbClr val="3A3A3A"/>
                </a:solidFill>
                <a:latin typeface="Arial"/>
              </a:endParaRPr>
            </a:p>
          </p:txBody>
        </p:sp>
        <p:sp>
          <p:nvSpPr>
            <p:cNvPr id="21" name="Freeform 70">
              <a:extLst>
                <a:ext uri="{FF2B5EF4-FFF2-40B4-BE49-F238E27FC236}">
                  <a16:creationId xmlns:a16="http://schemas.microsoft.com/office/drawing/2014/main" id="{D554CC9B-F82E-4742-BDDB-F6F4B869B258}"/>
                </a:ext>
              </a:extLst>
            </p:cNvPr>
            <p:cNvSpPr>
              <a:spLocks/>
            </p:cNvSpPr>
            <p:nvPr/>
          </p:nvSpPr>
          <p:spPr bwMode="auto">
            <a:xfrm>
              <a:off x="4519294" y="1966287"/>
              <a:ext cx="81370" cy="170369"/>
            </a:xfrm>
            <a:custGeom>
              <a:avLst/>
              <a:gdLst>
                <a:gd name="T0" fmla="*/ 113 w 226"/>
                <a:gd name="T1" fmla="*/ 471 h 471"/>
                <a:gd name="T2" fmla="*/ 226 w 226"/>
                <a:gd name="T3" fmla="*/ 358 h 471"/>
                <a:gd name="T4" fmla="*/ 165 w 226"/>
                <a:gd name="T5" fmla="*/ 257 h 471"/>
                <a:gd name="T6" fmla="*/ 153 w 226"/>
                <a:gd name="T7" fmla="*/ 40 h 471"/>
                <a:gd name="T8" fmla="*/ 114 w 226"/>
                <a:gd name="T9" fmla="*/ 1 h 471"/>
                <a:gd name="T10" fmla="*/ 71 w 226"/>
                <a:gd name="T11" fmla="*/ 40 h 471"/>
                <a:gd name="T12" fmla="*/ 61 w 226"/>
                <a:gd name="T13" fmla="*/ 257 h 471"/>
                <a:gd name="T14" fmla="*/ 0 w 226"/>
                <a:gd name="T15" fmla="*/ 358 h 471"/>
                <a:gd name="T16" fmla="*/ 113 w 226"/>
                <a:gd name="T17" fmla="*/ 471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471">
                  <a:moveTo>
                    <a:pt x="113" y="471"/>
                  </a:moveTo>
                  <a:cubicBezTo>
                    <a:pt x="175" y="471"/>
                    <a:pt x="226" y="420"/>
                    <a:pt x="226" y="358"/>
                  </a:cubicBezTo>
                  <a:cubicBezTo>
                    <a:pt x="226" y="314"/>
                    <a:pt x="202" y="276"/>
                    <a:pt x="165" y="257"/>
                  </a:cubicBezTo>
                  <a:cubicBezTo>
                    <a:pt x="153" y="40"/>
                    <a:pt x="153" y="40"/>
                    <a:pt x="153" y="40"/>
                  </a:cubicBezTo>
                  <a:cubicBezTo>
                    <a:pt x="152" y="19"/>
                    <a:pt x="135" y="2"/>
                    <a:pt x="114" y="1"/>
                  </a:cubicBezTo>
                  <a:cubicBezTo>
                    <a:pt x="92" y="0"/>
                    <a:pt x="72" y="18"/>
                    <a:pt x="71" y="40"/>
                  </a:cubicBezTo>
                  <a:cubicBezTo>
                    <a:pt x="61" y="257"/>
                    <a:pt x="61" y="257"/>
                    <a:pt x="61" y="257"/>
                  </a:cubicBezTo>
                  <a:cubicBezTo>
                    <a:pt x="24" y="276"/>
                    <a:pt x="0" y="314"/>
                    <a:pt x="0" y="358"/>
                  </a:cubicBezTo>
                  <a:cubicBezTo>
                    <a:pt x="0" y="420"/>
                    <a:pt x="50" y="471"/>
                    <a:pt x="113" y="471"/>
                  </a:cubicBezTo>
                  <a:close/>
                </a:path>
              </a:pathLst>
            </a:custGeom>
            <a:solidFill>
              <a:schemeClr val="accent4"/>
            </a:solid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rgbClr val="3A3A3A"/>
                </a:solidFill>
                <a:latin typeface="Arial"/>
              </a:endParaRPr>
            </a:p>
          </p:txBody>
        </p:sp>
      </p:grpSp>
      <p:grpSp>
        <p:nvGrpSpPr>
          <p:cNvPr id="8" name="Group 7">
            <a:extLst>
              <a:ext uri="{FF2B5EF4-FFF2-40B4-BE49-F238E27FC236}">
                <a16:creationId xmlns:a16="http://schemas.microsoft.com/office/drawing/2014/main" id="{D6D7A4D3-CC95-4EBA-8606-7FE1B5FC866B}"/>
              </a:ext>
            </a:extLst>
          </p:cNvPr>
          <p:cNvGrpSpPr>
            <a:grpSpLocks noChangeAspect="1"/>
          </p:cNvGrpSpPr>
          <p:nvPr/>
        </p:nvGrpSpPr>
        <p:grpSpPr>
          <a:xfrm>
            <a:off x="8962131" y="2277254"/>
            <a:ext cx="1471349" cy="810311"/>
            <a:chOff x="6560329" y="1899918"/>
            <a:chExt cx="665430" cy="366470"/>
          </a:xfrm>
        </p:grpSpPr>
        <p:sp>
          <p:nvSpPr>
            <p:cNvPr id="23" name="Freeform 36">
              <a:extLst>
                <a:ext uri="{FF2B5EF4-FFF2-40B4-BE49-F238E27FC236}">
                  <a16:creationId xmlns:a16="http://schemas.microsoft.com/office/drawing/2014/main" id="{DB97AD19-DD6C-48F1-AE7C-2D021AC20891}"/>
                </a:ext>
              </a:extLst>
            </p:cNvPr>
            <p:cNvSpPr>
              <a:spLocks noEditPoints="1"/>
            </p:cNvSpPr>
            <p:nvPr/>
          </p:nvSpPr>
          <p:spPr bwMode="auto">
            <a:xfrm>
              <a:off x="6560329" y="1950893"/>
              <a:ext cx="338914" cy="126749"/>
            </a:xfrm>
            <a:custGeom>
              <a:avLst/>
              <a:gdLst>
                <a:gd name="T0" fmla="*/ 340 w 340"/>
                <a:gd name="T1" fmla="*/ 90 h 127"/>
                <a:gd name="T2" fmla="*/ 340 w 340"/>
                <a:gd name="T3" fmla="*/ 50 h 127"/>
                <a:gd name="T4" fmla="*/ 320 w 340"/>
                <a:gd name="T5" fmla="*/ 31 h 127"/>
                <a:gd name="T6" fmla="*/ 223 w 340"/>
                <a:gd name="T7" fmla="*/ 31 h 127"/>
                <a:gd name="T8" fmla="*/ 223 w 340"/>
                <a:gd name="T9" fmla="*/ 8 h 127"/>
                <a:gd name="T10" fmla="*/ 223 w 340"/>
                <a:gd name="T11" fmla="*/ 8 h 127"/>
                <a:gd name="T12" fmla="*/ 223 w 340"/>
                <a:gd name="T13" fmla="*/ 8 h 127"/>
                <a:gd name="T14" fmla="*/ 215 w 340"/>
                <a:gd name="T15" fmla="*/ 0 h 127"/>
                <a:gd name="T16" fmla="*/ 127 w 340"/>
                <a:gd name="T17" fmla="*/ 0 h 127"/>
                <a:gd name="T18" fmla="*/ 125 w 340"/>
                <a:gd name="T19" fmla="*/ 0 h 127"/>
                <a:gd name="T20" fmla="*/ 125 w 340"/>
                <a:gd name="T21" fmla="*/ 0 h 127"/>
                <a:gd name="T22" fmla="*/ 116 w 340"/>
                <a:gd name="T23" fmla="*/ 8 h 127"/>
                <a:gd name="T24" fmla="*/ 116 w 340"/>
                <a:gd name="T25" fmla="*/ 31 h 127"/>
                <a:gd name="T26" fmla="*/ 19 w 340"/>
                <a:gd name="T27" fmla="*/ 31 h 127"/>
                <a:gd name="T28" fmla="*/ 0 w 340"/>
                <a:gd name="T29" fmla="*/ 50 h 127"/>
                <a:gd name="T30" fmla="*/ 0 w 340"/>
                <a:gd name="T31" fmla="*/ 127 h 127"/>
                <a:gd name="T32" fmla="*/ 260 w 340"/>
                <a:gd name="T33" fmla="*/ 127 h 127"/>
                <a:gd name="T34" fmla="*/ 340 w 340"/>
                <a:gd name="T35" fmla="*/ 90 h 127"/>
                <a:gd name="T36" fmla="*/ 207 w 340"/>
                <a:gd name="T37" fmla="*/ 31 h 127"/>
                <a:gd name="T38" fmla="*/ 133 w 340"/>
                <a:gd name="T39" fmla="*/ 31 h 127"/>
                <a:gd name="T40" fmla="*/ 133 w 340"/>
                <a:gd name="T41" fmla="*/ 16 h 127"/>
                <a:gd name="T42" fmla="*/ 207 w 340"/>
                <a:gd name="T43" fmla="*/ 16 h 127"/>
                <a:gd name="T44" fmla="*/ 207 w 340"/>
                <a:gd name="T45" fmla="*/ 31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0" h="127">
                  <a:moveTo>
                    <a:pt x="340" y="90"/>
                  </a:moveTo>
                  <a:cubicBezTo>
                    <a:pt x="340" y="50"/>
                    <a:pt x="340" y="50"/>
                    <a:pt x="340" y="50"/>
                  </a:cubicBezTo>
                  <a:cubicBezTo>
                    <a:pt x="340" y="39"/>
                    <a:pt x="331" y="31"/>
                    <a:pt x="320" y="31"/>
                  </a:cubicBezTo>
                  <a:cubicBezTo>
                    <a:pt x="223" y="31"/>
                    <a:pt x="223" y="31"/>
                    <a:pt x="223" y="31"/>
                  </a:cubicBezTo>
                  <a:cubicBezTo>
                    <a:pt x="223" y="8"/>
                    <a:pt x="223" y="8"/>
                    <a:pt x="223" y="8"/>
                  </a:cubicBezTo>
                  <a:cubicBezTo>
                    <a:pt x="223" y="8"/>
                    <a:pt x="223" y="8"/>
                    <a:pt x="223" y="8"/>
                  </a:cubicBezTo>
                  <a:cubicBezTo>
                    <a:pt x="223" y="8"/>
                    <a:pt x="223" y="8"/>
                    <a:pt x="223" y="8"/>
                  </a:cubicBezTo>
                  <a:cubicBezTo>
                    <a:pt x="223" y="3"/>
                    <a:pt x="220" y="0"/>
                    <a:pt x="215" y="0"/>
                  </a:cubicBezTo>
                  <a:cubicBezTo>
                    <a:pt x="127" y="0"/>
                    <a:pt x="127" y="0"/>
                    <a:pt x="127" y="0"/>
                  </a:cubicBezTo>
                  <a:cubicBezTo>
                    <a:pt x="126" y="0"/>
                    <a:pt x="126" y="0"/>
                    <a:pt x="125" y="0"/>
                  </a:cubicBezTo>
                  <a:cubicBezTo>
                    <a:pt x="125" y="0"/>
                    <a:pt x="125" y="0"/>
                    <a:pt x="125" y="0"/>
                  </a:cubicBezTo>
                  <a:cubicBezTo>
                    <a:pt x="120" y="0"/>
                    <a:pt x="116" y="4"/>
                    <a:pt x="116" y="8"/>
                  </a:cubicBezTo>
                  <a:cubicBezTo>
                    <a:pt x="116" y="31"/>
                    <a:pt x="116" y="31"/>
                    <a:pt x="116" y="31"/>
                  </a:cubicBezTo>
                  <a:cubicBezTo>
                    <a:pt x="19" y="31"/>
                    <a:pt x="19" y="31"/>
                    <a:pt x="19" y="31"/>
                  </a:cubicBezTo>
                  <a:cubicBezTo>
                    <a:pt x="9" y="31"/>
                    <a:pt x="0" y="39"/>
                    <a:pt x="0" y="50"/>
                  </a:cubicBezTo>
                  <a:cubicBezTo>
                    <a:pt x="0" y="127"/>
                    <a:pt x="0" y="127"/>
                    <a:pt x="0" y="127"/>
                  </a:cubicBezTo>
                  <a:cubicBezTo>
                    <a:pt x="260" y="127"/>
                    <a:pt x="260" y="127"/>
                    <a:pt x="260" y="127"/>
                  </a:cubicBezTo>
                  <a:cubicBezTo>
                    <a:pt x="281" y="106"/>
                    <a:pt x="309" y="92"/>
                    <a:pt x="340" y="90"/>
                  </a:cubicBezTo>
                  <a:close/>
                  <a:moveTo>
                    <a:pt x="207" y="31"/>
                  </a:moveTo>
                  <a:cubicBezTo>
                    <a:pt x="133" y="31"/>
                    <a:pt x="133" y="31"/>
                    <a:pt x="133" y="31"/>
                  </a:cubicBezTo>
                  <a:cubicBezTo>
                    <a:pt x="133" y="16"/>
                    <a:pt x="133" y="16"/>
                    <a:pt x="133" y="16"/>
                  </a:cubicBezTo>
                  <a:cubicBezTo>
                    <a:pt x="207" y="16"/>
                    <a:pt x="207" y="16"/>
                    <a:pt x="207" y="16"/>
                  </a:cubicBezTo>
                  <a:lnTo>
                    <a:pt x="207" y="31"/>
                  </a:lnTo>
                  <a:close/>
                </a:path>
              </a:pathLst>
            </a:custGeom>
            <a:solidFill>
              <a:srgbClr val="00A9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rgbClr val="3A3A3A"/>
                </a:solidFill>
                <a:latin typeface="Arial"/>
              </a:endParaRPr>
            </a:p>
          </p:txBody>
        </p:sp>
        <p:sp>
          <p:nvSpPr>
            <p:cNvPr id="24" name="Freeform 37">
              <a:extLst>
                <a:ext uri="{FF2B5EF4-FFF2-40B4-BE49-F238E27FC236}">
                  <a16:creationId xmlns:a16="http://schemas.microsoft.com/office/drawing/2014/main" id="{0434E5E4-E40B-4B96-BDD3-F94BEA900987}"/>
                </a:ext>
              </a:extLst>
            </p:cNvPr>
            <p:cNvSpPr>
              <a:spLocks noEditPoints="1"/>
            </p:cNvSpPr>
            <p:nvPr/>
          </p:nvSpPr>
          <p:spPr bwMode="auto">
            <a:xfrm>
              <a:off x="6804182" y="2058355"/>
              <a:ext cx="206655" cy="208033"/>
            </a:xfrm>
            <a:custGeom>
              <a:avLst/>
              <a:gdLst>
                <a:gd name="T0" fmla="*/ 104 w 208"/>
                <a:gd name="T1" fmla="*/ 0 h 208"/>
                <a:gd name="T2" fmla="*/ 0 w 208"/>
                <a:gd name="T3" fmla="*/ 104 h 208"/>
                <a:gd name="T4" fmla="*/ 104 w 208"/>
                <a:gd name="T5" fmla="*/ 208 h 208"/>
                <a:gd name="T6" fmla="*/ 208 w 208"/>
                <a:gd name="T7" fmla="*/ 104 h 208"/>
                <a:gd name="T8" fmla="*/ 104 w 208"/>
                <a:gd name="T9" fmla="*/ 0 h 208"/>
                <a:gd name="T10" fmla="*/ 104 w 208"/>
                <a:gd name="T11" fmla="*/ 185 h 208"/>
                <a:gd name="T12" fmla="*/ 22 w 208"/>
                <a:gd name="T13" fmla="*/ 104 h 208"/>
                <a:gd name="T14" fmla="*/ 104 w 208"/>
                <a:gd name="T15" fmla="*/ 22 h 208"/>
                <a:gd name="T16" fmla="*/ 185 w 208"/>
                <a:gd name="T17" fmla="*/ 104 h 208"/>
                <a:gd name="T18" fmla="*/ 104 w 208"/>
                <a:gd name="T19" fmla="*/ 185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104" y="0"/>
                  </a:moveTo>
                  <a:cubicBezTo>
                    <a:pt x="46" y="0"/>
                    <a:pt x="0" y="46"/>
                    <a:pt x="0" y="104"/>
                  </a:cubicBezTo>
                  <a:cubicBezTo>
                    <a:pt x="0" y="161"/>
                    <a:pt x="46" y="208"/>
                    <a:pt x="104" y="208"/>
                  </a:cubicBezTo>
                  <a:cubicBezTo>
                    <a:pt x="161" y="208"/>
                    <a:pt x="208" y="161"/>
                    <a:pt x="208" y="104"/>
                  </a:cubicBezTo>
                  <a:cubicBezTo>
                    <a:pt x="208" y="46"/>
                    <a:pt x="161" y="0"/>
                    <a:pt x="104" y="0"/>
                  </a:cubicBezTo>
                  <a:close/>
                  <a:moveTo>
                    <a:pt x="104" y="185"/>
                  </a:moveTo>
                  <a:cubicBezTo>
                    <a:pt x="59" y="185"/>
                    <a:pt x="22" y="149"/>
                    <a:pt x="22" y="104"/>
                  </a:cubicBezTo>
                  <a:cubicBezTo>
                    <a:pt x="22" y="59"/>
                    <a:pt x="59" y="22"/>
                    <a:pt x="104" y="22"/>
                  </a:cubicBezTo>
                  <a:cubicBezTo>
                    <a:pt x="149" y="22"/>
                    <a:pt x="185" y="59"/>
                    <a:pt x="185" y="104"/>
                  </a:cubicBezTo>
                  <a:cubicBezTo>
                    <a:pt x="185" y="149"/>
                    <a:pt x="149" y="185"/>
                    <a:pt x="104" y="185"/>
                  </a:cubicBezTo>
                  <a:close/>
                </a:path>
              </a:pathLst>
            </a:custGeom>
            <a:solidFill>
              <a:schemeClr val="accent4"/>
            </a:solid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rgbClr val="3A3A3A"/>
                </a:solidFill>
                <a:latin typeface="Arial"/>
              </a:endParaRPr>
            </a:p>
          </p:txBody>
        </p:sp>
        <p:sp>
          <p:nvSpPr>
            <p:cNvPr id="25" name="Freeform 38">
              <a:extLst>
                <a:ext uri="{FF2B5EF4-FFF2-40B4-BE49-F238E27FC236}">
                  <a16:creationId xmlns:a16="http://schemas.microsoft.com/office/drawing/2014/main" id="{2034C5F3-D902-4F94-B946-A41E5579F28C}"/>
                </a:ext>
              </a:extLst>
            </p:cNvPr>
            <p:cNvSpPr>
              <a:spLocks/>
            </p:cNvSpPr>
            <p:nvPr/>
          </p:nvSpPr>
          <p:spPr bwMode="auto">
            <a:xfrm>
              <a:off x="6868934" y="2094176"/>
              <a:ext cx="77152" cy="137771"/>
            </a:xfrm>
            <a:custGeom>
              <a:avLst/>
              <a:gdLst>
                <a:gd name="T0" fmla="*/ 47 w 78"/>
                <a:gd name="T1" fmla="*/ 122 h 138"/>
                <a:gd name="T2" fmla="*/ 47 w 78"/>
                <a:gd name="T3" fmla="*/ 138 h 138"/>
                <a:gd name="T4" fmla="*/ 29 w 78"/>
                <a:gd name="T5" fmla="*/ 138 h 138"/>
                <a:gd name="T6" fmla="*/ 29 w 78"/>
                <a:gd name="T7" fmla="*/ 123 h 138"/>
                <a:gd name="T8" fmla="*/ 0 w 78"/>
                <a:gd name="T9" fmla="*/ 116 h 138"/>
                <a:gd name="T10" fmla="*/ 5 w 78"/>
                <a:gd name="T11" fmla="*/ 96 h 138"/>
                <a:gd name="T12" fmla="*/ 34 w 78"/>
                <a:gd name="T13" fmla="*/ 103 h 138"/>
                <a:gd name="T14" fmla="*/ 51 w 78"/>
                <a:gd name="T15" fmla="*/ 92 h 138"/>
                <a:gd name="T16" fmla="*/ 32 w 78"/>
                <a:gd name="T17" fmla="*/ 77 h 138"/>
                <a:gd name="T18" fmla="*/ 1 w 78"/>
                <a:gd name="T19" fmla="*/ 45 h 138"/>
                <a:gd name="T20" fmla="*/ 30 w 78"/>
                <a:gd name="T21" fmla="*/ 14 h 138"/>
                <a:gd name="T22" fmla="*/ 30 w 78"/>
                <a:gd name="T23" fmla="*/ 0 h 138"/>
                <a:gd name="T24" fmla="*/ 47 w 78"/>
                <a:gd name="T25" fmla="*/ 0 h 138"/>
                <a:gd name="T26" fmla="*/ 47 w 78"/>
                <a:gd name="T27" fmla="*/ 13 h 138"/>
                <a:gd name="T28" fmla="*/ 73 w 78"/>
                <a:gd name="T29" fmla="*/ 19 h 138"/>
                <a:gd name="T30" fmla="*/ 68 w 78"/>
                <a:gd name="T31" fmla="*/ 39 h 138"/>
                <a:gd name="T32" fmla="*/ 42 w 78"/>
                <a:gd name="T33" fmla="*/ 32 h 138"/>
                <a:gd name="T34" fmla="*/ 28 w 78"/>
                <a:gd name="T35" fmla="*/ 42 h 138"/>
                <a:gd name="T36" fmla="*/ 49 w 78"/>
                <a:gd name="T37" fmla="*/ 57 h 138"/>
                <a:gd name="T38" fmla="*/ 78 w 78"/>
                <a:gd name="T39" fmla="*/ 90 h 138"/>
                <a:gd name="T40" fmla="*/ 47 w 78"/>
                <a:gd name="T41" fmla="*/ 12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138">
                  <a:moveTo>
                    <a:pt x="47" y="122"/>
                  </a:moveTo>
                  <a:cubicBezTo>
                    <a:pt x="47" y="138"/>
                    <a:pt x="47" y="138"/>
                    <a:pt x="47" y="138"/>
                  </a:cubicBezTo>
                  <a:cubicBezTo>
                    <a:pt x="29" y="138"/>
                    <a:pt x="29" y="138"/>
                    <a:pt x="29" y="138"/>
                  </a:cubicBezTo>
                  <a:cubicBezTo>
                    <a:pt x="29" y="123"/>
                    <a:pt x="29" y="123"/>
                    <a:pt x="29" y="123"/>
                  </a:cubicBezTo>
                  <a:cubicBezTo>
                    <a:pt x="18" y="123"/>
                    <a:pt x="6" y="120"/>
                    <a:pt x="0" y="116"/>
                  </a:cubicBezTo>
                  <a:cubicBezTo>
                    <a:pt x="5" y="96"/>
                    <a:pt x="5" y="96"/>
                    <a:pt x="5" y="96"/>
                  </a:cubicBezTo>
                  <a:cubicBezTo>
                    <a:pt x="12" y="99"/>
                    <a:pt x="23" y="103"/>
                    <a:pt x="34" y="103"/>
                  </a:cubicBezTo>
                  <a:cubicBezTo>
                    <a:pt x="44" y="103"/>
                    <a:pt x="51" y="99"/>
                    <a:pt x="51" y="92"/>
                  </a:cubicBezTo>
                  <a:cubicBezTo>
                    <a:pt x="51" y="86"/>
                    <a:pt x="45" y="82"/>
                    <a:pt x="32" y="77"/>
                  </a:cubicBezTo>
                  <a:cubicBezTo>
                    <a:pt x="14" y="71"/>
                    <a:pt x="1" y="62"/>
                    <a:pt x="1" y="45"/>
                  </a:cubicBezTo>
                  <a:cubicBezTo>
                    <a:pt x="1" y="30"/>
                    <a:pt x="12" y="18"/>
                    <a:pt x="30" y="14"/>
                  </a:cubicBezTo>
                  <a:cubicBezTo>
                    <a:pt x="30" y="0"/>
                    <a:pt x="30" y="0"/>
                    <a:pt x="30" y="0"/>
                  </a:cubicBezTo>
                  <a:cubicBezTo>
                    <a:pt x="47" y="0"/>
                    <a:pt x="47" y="0"/>
                    <a:pt x="47" y="0"/>
                  </a:cubicBezTo>
                  <a:cubicBezTo>
                    <a:pt x="47" y="13"/>
                    <a:pt x="47" y="13"/>
                    <a:pt x="47" y="13"/>
                  </a:cubicBezTo>
                  <a:cubicBezTo>
                    <a:pt x="59" y="13"/>
                    <a:pt x="67" y="16"/>
                    <a:pt x="73" y="19"/>
                  </a:cubicBezTo>
                  <a:cubicBezTo>
                    <a:pt x="68" y="39"/>
                    <a:pt x="68" y="39"/>
                    <a:pt x="68" y="39"/>
                  </a:cubicBezTo>
                  <a:cubicBezTo>
                    <a:pt x="63" y="36"/>
                    <a:pt x="55" y="32"/>
                    <a:pt x="42" y="32"/>
                  </a:cubicBezTo>
                  <a:cubicBezTo>
                    <a:pt x="31" y="32"/>
                    <a:pt x="28" y="37"/>
                    <a:pt x="28" y="42"/>
                  </a:cubicBezTo>
                  <a:cubicBezTo>
                    <a:pt x="28" y="48"/>
                    <a:pt x="34" y="52"/>
                    <a:pt x="49" y="57"/>
                  </a:cubicBezTo>
                  <a:cubicBezTo>
                    <a:pt x="69" y="64"/>
                    <a:pt x="78" y="74"/>
                    <a:pt x="78" y="90"/>
                  </a:cubicBezTo>
                  <a:cubicBezTo>
                    <a:pt x="78" y="105"/>
                    <a:pt x="67" y="119"/>
                    <a:pt x="47" y="122"/>
                  </a:cubicBezTo>
                  <a:close/>
                </a:path>
              </a:pathLst>
            </a:custGeom>
            <a:solidFill>
              <a:schemeClr val="accent4"/>
            </a:solid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rgbClr val="3A3A3A"/>
                </a:solidFill>
                <a:latin typeface="Arial"/>
              </a:endParaRPr>
            </a:p>
          </p:txBody>
        </p:sp>
        <p:sp>
          <p:nvSpPr>
            <p:cNvPr id="26" name="Freeform 39">
              <a:extLst>
                <a:ext uri="{FF2B5EF4-FFF2-40B4-BE49-F238E27FC236}">
                  <a16:creationId xmlns:a16="http://schemas.microsoft.com/office/drawing/2014/main" id="{C783E4DD-5875-47D3-A634-5B8B4239BDDA}"/>
                </a:ext>
              </a:extLst>
            </p:cNvPr>
            <p:cNvSpPr>
              <a:spLocks/>
            </p:cNvSpPr>
            <p:nvPr/>
          </p:nvSpPr>
          <p:spPr bwMode="auto">
            <a:xfrm>
              <a:off x="7103143" y="1971560"/>
              <a:ext cx="57863" cy="39954"/>
            </a:xfrm>
            <a:custGeom>
              <a:avLst/>
              <a:gdLst>
                <a:gd name="T0" fmla="*/ 6 w 58"/>
                <a:gd name="T1" fmla="*/ 1 h 40"/>
                <a:gd name="T2" fmla="*/ 56 w 58"/>
                <a:gd name="T3" fmla="*/ 31 h 40"/>
                <a:gd name="T4" fmla="*/ 56 w 58"/>
                <a:gd name="T5" fmla="*/ 31 h 40"/>
                <a:gd name="T6" fmla="*/ 53 w 58"/>
                <a:gd name="T7" fmla="*/ 39 h 40"/>
                <a:gd name="T8" fmla="*/ 45 w 58"/>
                <a:gd name="T9" fmla="*/ 36 h 40"/>
                <a:gd name="T10" fmla="*/ 6 w 58"/>
                <a:gd name="T11" fmla="*/ 14 h 40"/>
                <a:gd name="T12" fmla="*/ 0 w 58"/>
                <a:gd name="T13" fmla="*/ 10 h 40"/>
                <a:gd name="T14" fmla="*/ 0 w 58"/>
                <a:gd name="T15" fmla="*/ 8 h 40"/>
                <a:gd name="T16" fmla="*/ 6 w 58"/>
                <a:gd name="T17" fmla="*/ 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40">
                  <a:moveTo>
                    <a:pt x="6" y="1"/>
                  </a:moveTo>
                  <a:cubicBezTo>
                    <a:pt x="42" y="0"/>
                    <a:pt x="56" y="29"/>
                    <a:pt x="56" y="31"/>
                  </a:cubicBezTo>
                  <a:cubicBezTo>
                    <a:pt x="56" y="31"/>
                    <a:pt x="56" y="31"/>
                    <a:pt x="56" y="31"/>
                  </a:cubicBezTo>
                  <a:cubicBezTo>
                    <a:pt x="58" y="34"/>
                    <a:pt x="56" y="38"/>
                    <a:pt x="53" y="39"/>
                  </a:cubicBezTo>
                  <a:cubicBezTo>
                    <a:pt x="50" y="40"/>
                    <a:pt x="46" y="39"/>
                    <a:pt x="45" y="36"/>
                  </a:cubicBezTo>
                  <a:cubicBezTo>
                    <a:pt x="44" y="35"/>
                    <a:pt x="34" y="13"/>
                    <a:pt x="6" y="14"/>
                  </a:cubicBezTo>
                  <a:cubicBezTo>
                    <a:pt x="4" y="14"/>
                    <a:pt x="1" y="12"/>
                    <a:pt x="0" y="10"/>
                  </a:cubicBezTo>
                  <a:cubicBezTo>
                    <a:pt x="0" y="9"/>
                    <a:pt x="0" y="9"/>
                    <a:pt x="0" y="8"/>
                  </a:cubicBezTo>
                  <a:cubicBezTo>
                    <a:pt x="0" y="4"/>
                    <a:pt x="2" y="1"/>
                    <a:pt x="6" y="1"/>
                  </a:cubicBezTo>
                  <a:close/>
                </a:path>
              </a:pathLst>
            </a:custGeom>
            <a:solidFill>
              <a:srgbClr val="00A9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rgbClr val="3A3A3A"/>
                </a:solidFill>
                <a:latin typeface="Arial"/>
              </a:endParaRPr>
            </a:p>
          </p:txBody>
        </p:sp>
        <p:sp>
          <p:nvSpPr>
            <p:cNvPr id="27" name="Freeform 40">
              <a:extLst>
                <a:ext uri="{FF2B5EF4-FFF2-40B4-BE49-F238E27FC236}">
                  <a16:creationId xmlns:a16="http://schemas.microsoft.com/office/drawing/2014/main" id="{361B27C7-DC82-40BE-96C5-852435329B5D}"/>
                </a:ext>
              </a:extLst>
            </p:cNvPr>
            <p:cNvSpPr>
              <a:spLocks/>
            </p:cNvSpPr>
            <p:nvPr/>
          </p:nvSpPr>
          <p:spPr bwMode="auto">
            <a:xfrm>
              <a:off x="7053546" y="1904052"/>
              <a:ext cx="34442" cy="23421"/>
            </a:xfrm>
            <a:custGeom>
              <a:avLst/>
              <a:gdLst>
                <a:gd name="T0" fmla="*/ 17 w 35"/>
                <a:gd name="T1" fmla="*/ 22 h 23"/>
                <a:gd name="T2" fmla="*/ 35 w 35"/>
                <a:gd name="T3" fmla="*/ 23 h 23"/>
                <a:gd name="T4" fmla="*/ 35 w 35"/>
                <a:gd name="T5" fmla="*/ 22 h 23"/>
                <a:gd name="T6" fmla="*/ 35 w 35"/>
                <a:gd name="T7" fmla="*/ 17 h 23"/>
                <a:gd name="T8" fmla="*/ 17 w 35"/>
                <a:gd name="T9" fmla="*/ 0 h 23"/>
                <a:gd name="T10" fmla="*/ 0 w 35"/>
                <a:gd name="T11" fmla="*/ 17 h 23"/>
                <a:gd name="T12" fmla="*/ 0 w 35"/>
                <a:gd name="T13" fmla="*/ 22 h 23"/>
                <a:gd name="T14" fmla="*/ 0 w 35"/>
                <a:gd name="T15" fmla="*/ 23 h 23"/>
                <a:gd name="T16" fmla="*/ 17 w 35"/>
                <a:gd name="T1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3">
                  <a:moveTo>
                    <a:pt x="17" y="22"/>
                  </a:moveTo>
                  <a:cubicBezTo>
                    <a:pt x="23" y="22"/>
                    <a:pt x="29" y="22"/>
                    <a:pt x="35" y="23"/>
                  </a:cubicBezTo>
                  <a:cubicBezTo>
                    <a:pt x="35" y="23"/>
                    <a:pt x="35" y="22"/>
                    <a:pt x="35" y="22"/>
                  </a:cubicBezTo>
                  <a:cubicBezTo>
                    <a:pt x="35" y="17"/>
                    <a:pt x="35" y="17"/>
                    <a:pt x="35" y="17"/>
                  </a:cubicBezTo>
                  <a:cubicBezTo>
                    <a:pt x="35" y="8"/>
                    <a:pt x="27" y="0"/>
                    <a:pt x="17" y="0"/>
                  </a:cubicBezTo>
                  <a:cubicBezTo>
                    <a:pt x="8" y="0"/>
                    <a:pt x="0" y="8"/>
                    <a:pt x="0" y="17"/>
                  </a:cubicBezTo>
                  <a:cubicBezTo>
                    <a:pt x="0" y="22"/>
                    <a:pt x="0" y="22"/>
                    <a:pt x="0" y="22"/>
                  </a:cubicBezTo>
                  <a:cubicBezTo>
                    <a:pt x="0" y="22"/>
                    <a:pt x="0" y="23"/>
                    <a:pt x="0" y="23"/>
                  </a:cubicBezTo>
                  <a:cubicBezTo>
                    <a:pt x="6" y="22"/>
                    <a:pt x="11" y="22"/>
                    <a:pt x="17" y="22"/>
                  </a:cubicBezTo>
                  <a:close/>
                </a:path>
              </a:pathLst>
            </a:custGeom>
            <a:solidFill>
              <a:srgbClr val="00A9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rgbClr val="3A3A3A"/>
                </a:solidFill>
                <a:latin typeface="Arial"/>
              </a:endParaRPr>
            </a:p>
          </p:txBody>
        </p:sp>
        <p:sp>
          <p:nvSpPr>
            <p:cNvPr id="28" name="Freeform 41">
              <a:extLst>
                <a:ext uri="{FF2B5EF4-FFF2-40B4-BE49-F238E27FC236}">
                  <a16:creationId xmlns:a16="http://schemas.microsoft.com/office/drawing/2014/main" id="{951D19D6-F6B5-4EA7-8731-36D05EB64DC7}"/>
                </a:ext>
              </a:extLst>
            </p:cNvPr>
            <p:cNvSpPr>
              <a:spLocks/>
            </p:cNvSpPr>
            <p:nvPr/>
          </p:nvSpPr>
          <p:spPr bwMode="auto">
            <a:xfrm>
              <a:off x="7118298" y="1926095"/>
              <a:ext cx="24798" cy="19288"/>
            </a:xfrm>
            <a:custGeom>
              <a:avLst/>
              <a:gdLst>
                <a:gd name="T0" fmla="*/ 25 w 25"/>
                <a:gd name="T1" fmla="*/ 18 h 18"/>
                <a:gd name="T2" fmla="*/ 25 w 25"/>
                <a:gd name="T3" fmla="*/ 13 h 18"/>
                <a:gd name="T4" fmla="*/ 12 w 25"/>
                <a:gd name="T5" fmla="*/ 0 h 18"/>
                <a:gd name="T6" fmla="*/ 0 w 25"/>
                <a:gd name="T7" fmla="*/ 8 h 18"/>
                <a:gd name="T8" fmla="*/ 25 w 25"/>
                <a:gd name="T9" fmla="*/ 18 h 18"/>
              </a:gdLst>
              <a:ahLst/>
              <a:cxnLst>
                <a:cxn ang="0">
                  <a:pos x="T0" y="T1"/>
                </a:cxn>
                <a:cxn ang="0">
                  <a:pos x="T2" y="T3"/>
                </a:cxn>
                <a:cxn ang="0">
                  <a:pos x="T4" y="T5"/>
                </a:cxn>
                <a:cxn ang="0">
                  <a:pos x="T6" y="T7"/>
                </a:cxn>
                <a:cxn ang="0">
                  <a:pos x="T8" y="T9"/>
                </a:cxn>
              </a:cxnLst>
              <a:rect l="0" t="0" r="r" b="b"/>
              <a:pathLst>
                <a:path w="25" h="18">
                  <a:moveTo>
                    <a:pt x="25" y="18"/>
                  </a:moveTo>
                  <a:cubicBezTo>
                    <a:pt x="25" y="13"/>
                    <a:pt x="25" y="13"/>
                    <a:pt x="25" y="13"/>
                  </a:cubicBezTo>
                  <a:cubicBezTo>
                    <a:pt x="25" y="6"/>
                    <a:pt x="19" y="0"/>
                    <a:pt x="12" y="0"/>
                  </a:cubicBezTo>
                  <a:cubicBezTo>
                    <a:pt x="7" y="0"/>
                    <a:pt x="3" y="3"/>
                    <a:pt x="0" y="8"/>
                  </a:cubicBezTo>
                  <a:cubicBezTo>
                    <a:pt x="9" y="10"/>
                    <a:pt x="17" y="14"/>
                    <a:pt x="25" y="18"/>
                  </a:cubicBezTo>
                  <a:close/>
                </a:path>
              </a:pathLst>
            </a:custGeom>
            <a:solidFill>
              <a:srgbClr val="00A9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rgbClr val="3A3A3A"/>
                </a:solidFill>
                <a:latin typeface="Arial"/>
              </a:endParaRPr>
            </a:p>
          </p:txBody>
        </p:sp>
        <p:sp>
          <p:nvSpPr>
            <p:cNvPr id="29" name="Freeform 42">
              <a:extLst>
                <a:ext uri="{FF2B5EF4-FFF2-40B4-BE49-F238E27FC236}">
                  <a16:creationId xmlns:a16="http://schemas.microsoft.com/office/drawing/2014/main" id="{6C62B3DC-2F75-4B57-B259-3F812996C875}"/>
                </a:ext>
              </a:extLst>
            </p:cNvPr>
            <p:cNvSpPr>
              <a:spLocks/>
            </p:cNvSpPr>
            <p:nvPr/>
          </p:nvSpPr>
          <p:spPr bwMode="auto">
            <a:xfrm>
              <a:off x="6997060" y="1926095"/>
              <a:ext cx="24798" cy="19288"/>
            </a:xfrm>
            <a:custGeom>
              <a:avLst/>
              <a:gdLst>
                <a:gd name="T0" fmla="*/ 25 w 25"/>
                <a:gd name="T1" fmla="*/ 8 h 18"/>
                <a:gd name="T2" fmla="*/ 13 w 25"/>
                <a:gd name="T3" fmla="*/ 0 h 18"/>
                <a:gd name="T4" fmla="*/ 0 w 25"/>
                <a:gd name="T5" fmla="*/ 13 h 18"/>
                <a:gd name="T6" fmla="*/ 0 w 25"/>
                <a:gd name="T7" fmla="*/ 18 h 18"/>
                <a:gd name="T8" fmla="*/ 25 w 25"/>
                <a:gd name="T9" fmla="*/ 8 h 18"/>
              </a:gdLst>
              <a:ahLst/>
              <a:cxnLst>
                <a:cxn ang="0">
                  <a:pos x="T0" y="T1"/>
                </a:cxn>
                <a:cxn ang="0">
                  <a:pos x="T2" y="T3"/>
                </a:cxn>
                <a:cxn ang="0">
                  <a:pos x="T4" y="T5"/>
                </a:cxn>
                <a:cxn ang="0">
                  <a:pos x="T6" y="T7"/>
                </a:cxn>
                <a:cxn ang="0">
                  <a:pos x="T8" y="T9"/>
                </a:cxn>
              </a:cxnLst>
              <a:rect l="0" t="0" r="r" b="b"/>
              <a:pathLst>
                <a:path w="25" h="18">
                  <a:moveTo>
                    <a:pt x="25" y="8"/>
                  </a:moveTo>
                  <a:cubicBezTo>
                    <a:pt x="23" y="3"/>
                    <a:pt x="19" y="0"/>
                    <a:pt x="13" y="0"/>
                  </a:cubicBezTo>
                  <a:cubicBezTo>
                    <a:pt x="6" y="0"/>
                    <a:pt x="0" y="6"/>
                    <a:pt x="0" y="13"/>
                  </a:cubicBezTo>
                  <a:cubicBezTo>
                    <a:pt x="0" y="18"/>
                    <a:pt x="0" y="18"/>
                    <a:pt x="0" y="18"/>
                  </a:cubicBezTo>
                  <a:cubicBezTo>
                    <a:pt x="8" y="14"/>
                    <a:pt x="17" y="10"/>
                    <a:pt x="25" y="8"/>
                  </a:cubicBezTo>
                  <a:close/>
                </a:path>
              </a:pathLst>
            </a:custGeom>
            <a:solidFill>
              <a:srgbClr val="00A9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rgbClr val="3A3A3A"/>
                </a:solidFill>
                <a:latin typeface="Arial"/>
              </a:endParaRPr>
            </a:p>
          </p:txBody>
        </p:sp>
        <p:sp>
          <p:nvSpPr>
            <p:cNvPr id="30" name="Oval 43">
              <a:extLst>
                <a:ext uri="{FF2B5EF4-FFF2-40B4-BE49-F238E27FC236}">
                  <a16:creationId xmlns:a16="http://schemas.microsoft.com/office/drawing/2014/main" id="{3AA5F485-5A6E-4140-A4A5-E61AA2EB2BF3}"/>
                </a:ext>
              </a:extLst>
            </p:cNvPr>
            <p:cNvSpPr>
              <a:spLocks noChangeArrowheads="1"/>
            </p:cNvSpPr>
            <p:nvPr/>
          </p:nvSpPr>
          <p:spPr bwMode="auto">
            <a:xfrm>
              <a:off x="7041147" y="2058355"/>
              <a:ext cx="57863" cy="57864"/>
            </a:xfrm>
            <a:prstGeom prst="ellipse">
              <a:avLst/>
            </a:prstGeom>
            <a:solidFill>
              <a:srgbClr val="00A9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rgbClr val="3A3A3A"/>
                </a:solidFill>
                <a:latin typeface="Arial"/>
              </a:endParaRPr>
            </a:p>
          </p:txBody>
        </p:sp>
        <p:sp>
          <p:nvSpPr>
            <p:cNvPr id="31" name="Freeform 44">
              <a:extLst>
                <a:ext uri="{FF2B5EF4-FFF2-40B4-BE49-F238E27FC236}">
                  <a16:creationId xmlns:a16="http://schemas.microsoft.com/office/drawing/2014/main" id="{EF52B178-8E54-4BD3-9440-31139B171275}"/>
                </a:ext>
              </a:extLst>
            </p:cNvPr>
            <p:cNvSpPr>
              <a:spLocks/>
            </p:cNvSpPr>
            <p:nvPr/>
          </p:nvSpPr>
          <p:spPr bwMode="auto">
            <a:xfrm>
              <a:off x="7054923" y="2012891"/>
              <a:ext cx="114349" cy="93685"/>
            </a:xfrm>
            <a:custGeom>
              <a:avLst/>
              <a:gdLst>
                <a:gd name="T0" fmla="*/ 0 w 83"/>
                <a:gd name="T1" fmla="*/ 54 h 68"/>
                <a:gd name="T2" fmla="*/ 12 w 83"/>
                <a:gd name="T3" fmla="*/ 68 h 68"/>
                <a:gd name="T4" fmla="*/ 83 w 83"/>
                <a:gd name="T5" fmla="*/ 0 h 68"/>
                <a:gd name="T6" fmla="*/ 0 w 83"/>
                <a:gd name="T7" fmla="*/ 54 h 68"/>
              </a:gdLst>
              <a:ahLst/>
              <a:cxnLst>
                <a:cxn ang="0">
                  <a:pos x="T0" y="T1"/>
                </a:cxn>
                <a:cxn ang="0">
                  <a:pos x="T2" y="T3"/>
                </a:cxn>
                <a:cxn ang="0">
                  <a:pos x="T4" y="T5"/>
                </a:cxn>
                <a:cxn ang="0">
                  <a:pos x="T6" y="T7"/>
                </a:cxn>
              </a:cxnLst>
              <a:rect l="0" t="0" r="r" b="b"/>
              <a:pathLst>
                <a:path w="83" h="68">
                  <a:moveTo>
                    <a:pt x="0" y="54"/>
                  </a:moveTo>
                  <a:lnTo>
                    <a:pt x="12" y="68"/>
                  </a:lnTo>
                  <a:lnTo>
                    <a:pt x="83" y="0"/>
                  </a:lnTo>
                  <a:lnTo>
                    <a:pt x="0" y="54"/>
                  </a:lnTo>
                  <a:close/>
                </a:path>
              </a:pathLst>
            </a:custGeom>
            <a:solidFill>
              <a:srgbClr val="00A9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rgbClr val="3A3A3A"/>
                </a:solidFill>
                <a:latin typeface="Arial"/>
              </a:endParaRPr>
            </a:p>
          </p:txBody>
        </p:sp>
        <p:sp>
          <p:nvSpPr>
            <p:cNvPr id="32" name="Freeform 45">
              <a:extLst>
                <a:ext uri="{FF2B5EF4-FFF2-40B4-BE49-F238E27FC236}">
                  <a16:creationId xmlns:a16="http://schemas.microsoft.com/office/drawing/2014/main" id="{F6515C48-C54D-491C-A0CC-9642C8C178EF}"/>
                </a:ext>
              </a:extLst>
            </p:cNvPr>
            <p:cNvSpPr>
              <a:spLocks/>
            </p:cNvSpPr>
            <p:nvPr/>
          </p:nvSpPr>
          <p:spPr bwMode="auto">
            <a:xfrm>
              <a:off x="7065945" y="1944005"/>
              <a:ext cx="11021" cy="34442"/>
            </a:xfrm>
            <a:custGeom>
              <a:avLst/>
              <a:gdLst>
                <a:gd name="T0" fmla="*/ 11 w 11"/>
                <a:gd name="T1" fmla="*/ 29 h 35"/>
                <a:gd name="T2" fmla="*/ 5 w 11"/>
                <a:gd name="T3" fmla="*/ 35 h 35"/>
                <a:gd name="T4" fmla="*/ 5 w 11"/>
                <a:gd name="T5" fmla="*/ 35 h 35"/>
                <a:gd name="T6" fmla="*/ 0 w 11"/>
                <a:gd name="T7" fmla="*/ 29 h 35"/>
                <a:gd name="T8" fmla="*/ 0 w 11"/>
                <a:gd name="T9" fmla="*/ 6 h 35"/>
                <a:gd name="T10" fmla="*/ 5 w 11"/>
                <a:gd name="T11" fmla="*/ 0 h 35"/>
                <a:gd name="T12" fmla="*/ 5 w 11"/>
                <a:gd name="T13" fmla="*/ 0 h 35"/>
                <a:gd name="T14" fmla="*/ 11 w 11"/>
                <a:gd name="T15" fmla="*/ 6 h 35"/>
                <a:gd name="T16" fmla="*/ 11 w 11"/>
                <a:gd name="T17"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35">
                  <a:moveTo>
                    <a:pt x="11" y="29"/>
                  </a:moveTo>
                  <a:cubicBezTo>
                    <a:pt x="11" y="32"/>
                    <a:pt x="8" y="35"/>
                    <a:pt x="5" y="35"/>
                  </a:cubicBezTo>
                  <a:cubicBezTo>
                    <a:pt x="5" y="35"/>
                    <a:pt x="5" y="35"/>
                    <a:pt x="5" y="35"/>
                  </a:cubicBezTo>
                  <a:cubicBezTo>
                    <a:pt x="2" y="35"/>
                    <a:pt x="0" y="32"/>
                    <a:pt x="0" y="29"/>
                  </a:cubicBezTo>
                  <a:cubicBezTo>
                    <a:pt x="0" y="6"/>
                    <a:pt x="0" y="6"/>
                    <a:pt x="0" y="6"/>
                  </a:cubicBezTo>
                  <a:cubicBezTo>
                    <a:pt x="0" y="3"/>
                    <a:pt x="2" y="0"/>
                    <a:pt x="5" y="0"/>
                  </a:cubicBezTo>
                  <a:cubicBezTo>
                    <a:pt x="5" y="0"/>
                    <a:pt x="5" y="0"/>
                    <a:pt x="5" y="0"/>
                  </a:cubicBezTo>
                  <a:cubicBezTo>
                    <a:pt x="8" y="0"/>
                    <a:pt x="11" y="3"/>
                    <a:pt x="11" y="6"/>
                  </a:cubicBezTo>
                  <a:lnTo>
                    <a:pt x="11" y="29"/>
                  </a:lnTo>
                  <a:close/>
                </a:path>
              </a:pathLst>
            </a:custGeom>
            <a:solidFill>
              <a:srgbClr val="00A9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rgbClr val="3A3A3A"/>
                </a:solidFill>
                <a:latin typeface="Arial"/>
              </a:endParaRPr>
            </a:p>
          </p:txBody>
        </p:sp>
        <p:sp>
          <p:nvSpPr>
            <p:cNvPr id="33" name="Freeform 46">
              <a:extLst>
                <a:ext uri="{FF2B5EF4-FFF2-40B4-BE49-F238E27FC236}">
                  <a16:creationId xmlns:a16="http://schemas.microsoft.com/office/drawing/2014/main" id="{47665B54-C717-4F8A-8AC5-D6454DB7A243}"/>
                </a:ext>
              </a:extLst>
            </p:cNvPr>
            <p:cNvSpPr>
              <a:spLocks/>
            </p:cNvSpPr>
            <p:nvPr/>
          </p:nvSpPr>
          <p:spPr bwMode="auto">
            <a:xfrm>
              <a:off x="6973639" y="1988091"/>
              <a:ext cx="26177" cy="26177"/>
            </a:xfrm>
            <a:custGeom>
              <a:avLst/>
              <a:gdLst>
                <a:gd name="T0" fmla="*/ 24 w 26"/>
                <a:gd name="T1" fmla="*/ 17 h 26"/>
                <a:gd name="T2" fmla="*/ 24 w 26"/>
                <a:gd name="T3" fmla="*/ 24 h 26"/>
                <a:gd name="T4" fmla="*/ 24 w 26"/>
                <a:gd name="T5" fmla="*/ 24 h 26"/>
                <a:gd name="T6" fmla="*/ 17 w 26"/>
                <a:gd name="T7" fmla="*/ 24 h 26"/>
                <a:gd name="T8" fmla="*/ 2 w 26"/>
                <a:gd name="T9" fmla="*/ 9 h 26"/>
                <a:gd name="T10" fmla="*/ 2 w 26"/>
                <a:gd name="T11" fmla="*/ 2 h 26"/>
                <a:gd name="T12" fmla="*/ 2 w 26"/>
                <a:gd name="T13" fmla="*/ 2 h 26"/>
                <a:gd name="T14" fmla="*/ 9 w 26"/>
                <a:gd name="T15" fmla="*/ 2 h 26"/>
                <a:gd name="T16" fmla="*/ 24 w 26"/>
                <a:gd name="T17"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26">
                  <a:moveTo>
                    <a:pt x="24" y="17"/>
                  </a:moveTo>
                  <a:cubicBezTo>
                    <a:pt x="26" y="19"/>
                    <a:pt x="26" y="22"/>
                    <a:pt x="24" y="24"/>
                  </a:cubicBezTo>
                  <a:cubicBezTo>
                    <a:pt x="24" y="24"/>
                    <a:pt x="24" y="24"/>
                    <a:pt x="24" y="24"/>
                  </a:cubicBezTo>
                  <a:cubicBezTo>
                    <a:pt x="22" y="26"/>
                    <a:pt x="19" y="26"/>
                    <a:pt x="17" y="24"/>
                  </a:cubicBezTo>
                  <a:cubicBezTo>
                    <a:pt x="2" y="9"/>
                    <a:pt x="2" y="9"/>
                    <a:pt x="2" y="9"/>
                  </a:cubicBezTo>
                  <a:cubicBezTo>
                    <a:pt x="0" y="7"/>
                    <a:pt x="0" y="4"/>
                    <a:pt x="2" y="2"/>
                  </a:cubicBezTo>
                  <a:cubicBezTo>
                    <a:pt x="2" y="2"/>
                    <a:pt x="2" y="2"/>
                    <a:pt x="2" y="2"/>
                  </a:cubicBezTo>
                  <a:cubicBezTo>
                    <a:pt x="4" y="0"/>
                    <a:pt x="7" y="0"/>
                    <a:pt x="9" y="2"/>
                  </a:cubicBezTo>
                  <a:lnTo>
                    <a:pt x="24" y="17"/>
                  </a:lnTo>
                  <a:close/>
                </a:path>
              </a:pathLst>
            </a:custGeom>
            <a:solidFill>
              <a:srgbClr val="00A9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rgbClr val="3A3A3A"/>
                </a:solidFill>
                <a:latin typeface="Arial"/>
              </a:endParaRPr>
            </a:p>
          </p:txBody>
        </p:sp>
        <p:sp>
          <p:nvSpPr>
            <p:cNvPr id="34" name="Freeform 47">
              <a:extLst>
                <a:ext uri="{FF2B5EF4-FFF2-40B4-BE49-F238E27FC236}">
                  <a16:creationId xmlns:a16="http://schemas.microsoft.com/office/drawing/2014/main" id="{C2BF1D02-66B2-4191-8984-8FDA983EF1BC}"/>
                </a:ext>
              </a:extLst>
            </p:cNvPr>
            <p:cNvSpPr>
              <a:spLocks/>
            </p:cNvSpPr>
            <p:nvPr/>
          </p:nvSpPr>
          <p:spPr bwMode="auto">
            <a:xfrm>
              <a:off x="7065945" y="2189237"/>
              <a:ext cx="11021" cy="35821"/>
            </a:xfrm>
            <a:custGeom>
              <a:avLst/>
              <a:gdLst>
                <a:gd name="T0" fmla="*/ 11 w 11"/>
                <a:gd name="T1" fmla="*/ 29 h 35"/>
                <a:gd name="T2" fmla="*/ 5 w 11"/>
                <a:gd name="T3" fmla="*/ 35 h 35"/>
                <a:gd name="T4" fmla="*/ 5 w 11"/>
                <a:gd name="T5" fmla="*/ 35 h 35"/>
                <a:gd name="T6" fmla="*/ 0 w 11"/>
                <a:gd name="T7" fmla="*/ 29 h 35"/>
                <a:gd name="T8" fmla="*/ 0 w 11"/>
                <a:gd name="T9" fmla="*/ 6 h 35"/>
                <a:gd name="T10" fmla="*/ 5 w 11"/>
                <a:gd name="T11" fmla="*/ 0 h 35"/>
                <a:gd name="T12" fmla="*/ 5 w 11"/>
                <a:gd name="T13" fmla="*/ 0 h 35"/>
                <a:gd name="T14" fmla="*/ 11 w 11"/>
                <a:gd name="T15" fmla="*/ 6 h 35"/>
                <a:gd name="T16" fmla="*/ 11 w 11"/>
                <a:gd name="T17"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35">
                  <a:moveTo>
                    <a:pt x="11" y="29"/>
                  </a:moveTo>
                  <a:cubicBezTo>
                    <a:pt x="11" y="32"/>
                    <a:pt x="8" y="35"/>
                    <a:pt x="5" y="35"/>
                  </a:cubicBezTo>
                  <a:cubicBezTo>
                    <a:pt x="5" y="35"/>
                    <a:pt x="5" y="35"/>
                    <a:pt x="5" y="35"/>
                  </a:cubicBezTo>
                  <a:cubicBezTo>
                    <a:pt x="2" y="35"/>
                    <a:pt x="0" y="32"/>
                    <a:pt x="0" y="29"/>
                  </a:cubicBezTo>
                  <a:cubicBezTo>
                    <a:pt x="0" y="6"/>
                    <a:pt x="0" y="6"/>
                    <a:pt x="0" y="6"/>
                  </a:cubicBezTo>
                  <a:cubicBezTo>
                    <a:pt x="0" y="3"/>
                    <a:pt x="2" y="0"/>
                    <a:pt x="5" y="0"/>
                  </a:cubicBezTo>
                  <a:cubicBezTo>
                    <a:pt x="5" y="0"/>
                    <a:pt x="5" y="0"/>
                    <a:pt x="5" y="0"/>
                  </a:cubicBezTo>
                  <a:cubicBezTo>
                    <a:pt x="8" y="0"/>
                    <a:pt x="11" y="3"/>
                    <a:pt x="11" y="6"/>
                  </a:cubicBezTo>
                  <a:lnTo>
                    <a:pt x="11" y="29"/>
                  </a:lnTo>
                  <a:close/>
                </a:path>
              </a:pathLst>
            </a:custGeom>
            <a:solidFill>
              <a:srgbClr val="00A9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rgbClr val="3A3A3A"/>
                </a:solidFill>
                <a:latin typeface="Arial"/>
              </a:endParaRPr>
            </a:p>
          </p:txBody>
        </p:sp>
        <p:sp>
          <p:nvSpPr>
            <p:cNvPr id="35" name="Freeform 48">
              <a:extLst>
                <a:ext uri="{FF2B5EF4-FFF2-40B4-BE49-F238E27FC236}">
                  <a16:creationId xmlns:a16="http://schemas.microsoft.com/office/drawing/2014/main" id="{F954158A-BC8A-44FF-A960-C85E3BD2254A}"/>
                </a:ext>
              </a:extLst>
            </p:cNvPr>
            <p:cNvSpPr>
              <a:spLocks/>
            </p:cNvSpPr>
            <p:nvPr/>
          </p:nvSpPr>
          <p:spPr bwMode="auto">
            <a:xfrm>
              <a:off x="7178917" y="2080399"/>
              <a:ext cx="34442" cy="11021"/>
            </a:xfrm>
            <a:custGeom>
              <a:avLst/>
              <a:gdLst>
                <a:gd name="T0" fmla="*/ 29 w 34"/>
                <a:gd name="T1" fmla="*/ 0 h 11"/>
                <a:gd name="T2" fmla="*/ 34 w 34"/>
                <a:gd name="T3" fmla="*/ 6 h 11"/>
                <a:gd name="T4" fmla="*/ 34 w 34"/>
                <a:gd name="T5" fmla="*/ 6 h 11"/>
                <a:gd name="T6" fmla="*/ 29 w 34"/>
                <a:gd name="T7" fmla="*/ 11 h 11"/>
                <a:gd name="T8" fmla="*/ 5 w 34"/>
                <a:gd name="T9" fmla="*/ 11 h 11"/>
                <a:gd name="T10" fmla="*/ 0 w 34"/>
                <a:gd name="T11" fmla="*/ 6 h 11"/>
                <a:gd name="T12" fmla="*/ 0 w 34"/>
                <a:gd name="T13" fmla="*/ 6 h 11"/>
                <a:gd name="T14" fmla="*/ 5 w 34"/>
                <a:gd name="T15" fmla="*/ 0 h 11"/>
                <a:gd name="T16" fmla="*/ 29 w 34"/>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1">
                  <a:moveTo>
                    <a:pt x="29" y="0"/>
                  </a:moveTo>
                  <a:cubicBezTo>
                    <a:pt x="32" y="0"/>
                    <a:pt x="34" y="3"/>
                    <a:pt x="34" y="6"/>
                  </a:cubicBezTo>
                  <a:cubicBezTo>
                    <a:pt x="34" y="6"/>
                    <a:pt x="34" y="6"/>
                    <a:pt x="34" y="6"/>
                  </a:cubicBezTo>
                  <a:cubicBezTo>
                    <a:pt x="34" y="9"/>
                    <a:pt x="32" y="11"/>
                    <a:pt x="29" y="11"/>
                  </a:cubicBezTo>
                  <a:cubicBezTo>
                    <a:pt x="5" y="11"/>
                    <a:pt x="5" y="11"/>
                    <a:pt x="5" y="11"/>
                  </a:cubicBezTo>
                  <a:cubicBezTo>
                    <a:pt x="2" y="11"/>
                    <a:pt x="0" y="9"/>
                    <a:pt x="0" y="6"/>
                  </a:cubicBezTo>
                  <a:cubicBezTo>
                    <a:pt x="0" y="6"/>
                    <a:pt x="0" y="6"/>
                    <a:pt x="0" y="6"/>
                  </a:cubicBezTo>
                  <a:cubicBezTo>
                    <a:pt x="0" y="3"/>
                    <a:pt x="2" y="0"/>
                    <a:pt x="5" y="0"/>
                  </a:cubicBezTo>
                  <a:lnTo>
                    <a:pt x="29" y="0"/>
                  </a:lnTo>
                  <a:close/>
                </a:path>
              </a:pathLst>
            </a:custGeom>
            <a:solidFill>
              <a:srgbClr val="00A9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rgbClr val="3A3A3A"/>
                </a:solidFill>
                <a:latin typeface="Arial"/>
              </a:endParaRPr>
            </a:p>
          </p:txBody>
        </p:sp>
        <p:sp>
          <p:nvSpPr>
            <p:cNvPr id="36" name="Freeform 49">
              <a:extLst>
                <a:ext uri="{FF2B5EF4-FFF2-40B4-BE49-F238E27FC236}">
                  <a16:creationId xmlns:a16="http://schemas.microsoft.com/office/drawing/2014/main" id="{413CC8C4-99BF-4B48-80EF-31778A2870BA}"/>
                </a:ext>
              </a:extLst>
            </p:cNvPr>
            <p:cNvSpPr>
              <a:spLocks/>
            </p:cNvSpPr>
            <p:nvPr/>
          </p:nvSpPr>
          <p:spPr bwMode="auto">
            <a:xfrm>
              <a:off x="7141719" y="2157549"/>
              <a:ext cx="26177" cy="26177"/>
            </a:xfrm>
            <a:custGeom>
              <a:avLst/>
              <a:gdLst>
                <a:gd name="T0" fmla="*/ 9 w 26"/>
                <a:gd name="T1" fmla="*/ 2 h 26"/>
                <a:gd name="T2" fmla="*/ 2 w 26"/>
                <a:gd name="T3" fmla="*/ 2 h 26"/>
                <a:gd name="T4" fmla="*/ 2 w 26"/>
                <a:gd name="T5" fmla="*/ 2 h 26"/>
                <a:gd name="T6" fmla="*/ 2 w 26"/>
                <a:gd name="T7" fmla="*/ 9 h 26"/>
                <a:gd name="T8" fmla="*/ 17 w 26"/>
                <a:gd name="T9" fmla="*/ 24 h 26"/>
                <a:gd name="T10" fmla="*/ 24 w 26"/>
                <a:gd name="T11" fmla="*/ 24 h 26"/>
                <a:gd name="T12" fmla="*/ 24 w 26"/>
                <a:gd name="T13" fmla="*/ 24 h 26"/>
                <a:gd name="T14" fmla="*/ 24 w 26"/>
                <a:gd name="T15" fmla="*/ 17 h 26"/>
                <a:gd name="T16" fmla="*/ 9 w 26"/>
                <a:gd name="T17"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26">
                  <a:moveTo>
                    <a:pt x="9" y="2"/>
                  </a:moveTo>
                  <a:cubicBezTo>
                    <a:pt x="7" y="0"/>
                    <a:pt x="4" y="0"/>
                    <a:pt x="2" y="2"/>
                  </a:cubicBezTo>
                  <a:cubicBezTo>
                    <a:pt x="2" y="2"/>
                    <a:pt x="2" y="2"/>
                    <a:pt x="2" y="2"/>
                  </a:cubicBezTo>
                  <a:cubicBezTo>
                    <a:pt x="0" y="4"/>
                    <a:pt x="0" y="7"/>
                    <a:pt x="2" y="9"/>
                  </a:cubicBezTo>
                  <a:cubicBezTo>
                    <a:pt x="17" y="24"/>
                    <a:pt x="17" y="24"/>
                    <a:pt x="17" y="24"/>
                  </a:cubicBezTo>
                  <a:cubicBezTo>
                    <a:pt x="19" y="26"/>
                    <a:pt x="22" y="26"/>
                    <a:pt x="24" y="24"/>
                  </a:cubicBezTo>
                  <a:cubicBezTo>
                    <a:pt x="24" y="24"/>
                    <a:pt x="24" y="24"/>
                    <a:pt x="24" y="24"/>
                  </a:cubicBezTo>
                  <a:cubicBezTo>
                    <a:pt x="26" y="22"/>
                    <a:pt x="26" y="19"/>
                    <a:pt x="24" y="17"/>
                  </a:cubicBezTo>
                  <a:lnTo>
                    <a:pt x="9" y="2"/>
                  </a:lnTo>
                  <a:close/>
                </a:path>
              </a:pathLst>
            </a:custGeom>
            <a:solidFill>
              <a:srgbClr val="00A9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rgbClr val="3A3A3A"/>
                </a:solidFill>
                <a:latin typeface="Arial"/>
              </a:endParaRPr>
            </a:p>
          </p:txBody>
        </p:sp>
        <p:sp>
          <p:nvSpPr>
            <p:cNvPr id="37" name="Freeform 50">
              <a:extLst>
                <a:ext uri="{FF2B5EF4-FFF2-40B4-BE49-F238E27FC236}">
                  <a16:creationId xmlns:a16="http://schemas.microsoft.com/office/drawing/2014/main" id="{07583AE0-C223-4136-BA10-C767B4855D50}"/>
                </a:ext>
              </a:extLst>
            </p:cNvPr>
            <p:cNvSpPr>
              <a:spLocks/>
            </p:cNvSpPr>
            <p:nvPr/>
          </p:nvSpPr>
          <p:spPr bwMode="auto">
            <a:xfrm>
              <a:off x="7043902" y="1899918"/>
              <a:ext cx="53730" cy="19288"/>
            </a:xfrm>
            <a:custGeom>
              <a:avLst/>
              <a:gdLst>
                <a:gd name="T0" fmla="*/ 54 w 54"/>
                <a:gd name="T1" fmla="*/ 10 h 19"/>
                <a:gd name="T2" fmla="*/ 45 w 54"/>
                <a:gd name="T3" fmla="*/ 19 h 19"/>
                <a:gd name="T4" fmla="*/ 10 w 54"/>
                <a:gd name="T5" fmla="*/ 19 h 19"/>
                <a:gd name="T6" fmla="*/ 0 w 54"/>
                <a:gd name="T7" fmla="*/ 10 h 19"/>
                <a:gd name="T8" fmla="*/ 0 w 54"/>
                <a:gd name="T9" fmla="*/ 10 h 19"/>
                <a:gd name="T10" fmla="*/ 10 w 54"/>
                <a:gd name="T11" fmla="*/ 0 h 19"/>
                <a:gd name="T12" fmla="*/ 45 w 54"/>
                <a:gd name="T13" fmla="*/ 0 h 19"/>
                <a:gd name="T14" fmla="*/ 54 w 54"/>
                <a:gd name="T15" fmla="*/ 10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9">
                  <a:moveTo>
                    <a:pt x="54" y="10"/>
                  </a:moveTo>
                  <a:cubicBezTo>
                    <a:pt x="54" y="15"/>
                    <a:pt x="50" y="19"/>
                    <a:pt x="45" y="19"/>
                  </a:cubicBezTo>
                  <a:cubicBezTo>
                    <a:pt x="10" y="19"/>
                    <a:pt x="10" y="19"/>
                    <a:pt x="10" y="19"/>
                  </a:cubicBezTo>
                  <a:cubicBezTo>
                    <a:pt x="4" y="19"/>
                    <a:pt x="0" y="15"/>
                    <a:pt x="0" y="10"/>
                  </a:cubicBezTo>
                  <a:cubicBezTo>
                    <a:pt x="0" y="10"/>
                    <a:pt x="0" y="10"/>
                    <a:pt x="0" y="10"/>
                  </a:cubicBezTo>
                  <a:cubicBezTo>
                    <a:pt x="0" y="4"/>
                    <a:pt x="4" y="0"/>
                    <a:pt x="10" y="0"/>
                  </a:cubicBezTo>
                  <a:cubicBezTo>
                    <a:pt x="45" y="0"/>
                    <a:pt x="45" y="0"/>
                    <a:pt x="45" y="0"/>
                  </a:cubicBezTo>
                  <a:cubicBezTo>
                    <a:pt x="50" y="0"/>
                    <a:pt x="54" y="4"/>
                    <a:pt x="54" y="10"/>
                  </a:cubicBezTo>
                  <a:close/>
                </a:path>
              </a:pathLst>
            </a:custGeom>
            <a:solidFill>
              <a:srgbClr val="00A9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rgbClr val="3A3A3A"/>
                </a:solidFill>
                <a:latin typeface="Arial"/>
              </a:endParaRPr>
            </a:p>
          </p:txBody>
        </p:sp>
        <p:sp>
          <p:nvSpPr>
            <p:cNvPr id="38" name="Freeform 51">
              <a:extLst>
                <a:ext uri="{FF2B5EF4-FFF2-40B4-BE49-F238E27FC236}">
                  <a16:creationId xmlns:a16="http://schemas.microsoft.com/office/drawing/2014/main" id="{92138117-E89A-4121-B8B4-680521EA7E14}"/>
                </a:ext>
              </a:extLst>
            </p:cNvPr>
            <p:cNvSpPr>
              <a:spLocks/>
            </p:cNvSpPr>
            <p:nvPr/>
          </p:nvSpPr>
          <p:spPr bwMode="auto">
            <a:xfrm>
              <a:off x="6922664" y="1931606"/>
              <a:ext cx="303095" cy="309985"/>
            </a:xfrm>
            <a:custGeom>
              <a:avLst/>
              <a:gdLst>
                <a:gd name="T0" fmla="*/ 148 w 303"/>
                <a:gd name="T1" fmla="*/ 0 h 310"/>
                <a:gd name="T2" fmla="*/ 0 w 303"/>
                <a:gd name="T3" fmla="*/ 110 h 310"/>
                <a:gd name="T4" fmla="*/ 17 w 303"/>
                <a:gd name="T5" fmla="*/ 113 h 310"/>
                <a:gd name="T6" fmla="*/ 148 w 303"/>
                <a:gd name="T7" fmla="*/ 17 h 310"/>
                <a:gd name="T8" fmla="*/ 286 w 303"/>
                <a:gd name="T9" fmla="*/ 155 h 310"/>
                <a:gd name="T10" fmla="*/ 148 w 303"/>
                <a:gd name="T11" fmla="*/ 293 h 310"/>
                <a:gd name="T12" fmla="*/ 95 w 303"/>
                <a:gd name="T13" fmla="*/ 282 h 310"/>
                <a:gd name="T14" fmla="*/ 87 w 303"/>
                <a:gd name="T15" fmla="*/ 297 h 310"/>
                <a:gd name="T16" fmla="*/ 148 w 303"/>
                <a:gd name="T17" fmla="*/ 310 h 310"/>
                <a:gd name="T18" fmla="*/ 303 w 303"/>
                <a:gd name="T19" fmla="*/ 155 h 310"/>
                <a:gd name="T20" fmla="*/ 148 w 303"/>
                <a:gd name="T21" fmla="*/ 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3" h="310">
                  <a:moveTo>
                    <a:pt x="148" y="0"/>
                  </a:moveTo>
                  <a:cubicBezTo>
                    <a:pt x="78" y="0"/>
                    <a:pt x="19" y="46"/>
                    <a:pt x="0" y="110"/>
                  </a:cubicBezTo>
                  <a:cubicBezTo>
                    <a:pt x="6" y="111"/>
                    <a:pt x="11" y="112"/>
                    <a:pt x="17" y="113"/>
                  </a:cubicBezTo>
                  <a:cubicBezTo>
                    <a:pt x="34" y="57"/>
                    <a:pt x="87" y="17"/>
                    <a:pt x="148" y="17"/>
                  </a:cubicBezTo>
                  <a:cubicBezTo>
                    <a:pt x="224" y="17"/>
                    <a:pt x="286" y="79"/>
                    <a:pt x="286" y="155"/>
                  </a:cubicBezTo>
                  <a:cubicBezTo>
                    <a:pt x="286" y="231"/>
                    <a:pt x="224" y="293"/>
                    <a:pt x="148" y="293"/>
                  </a:cubicBezTo>
                  <a:cubicBezTo>
                    <a:pt x="129" y="293"/>
                    <a:pt x="112" y="289"/>
                    <a:pt x="95" y="282"/>
                  </a:cubicBezTo>
                  <a:cubicBezTo>
                    <a:pt x="93" y="287"/>
                    <a:pt x="90" y="292"/>
                    <a:pt x="87" y="297"/>
                  </a:cubicBezTo>
                  <a:cubicBezTo>
                    <a:pt x="106" y="305"/>
                    <a:pt x="126" y="310"/>
                    <a:pt x="148" y="310"/>
                  </a:cubicBezTo>
                  <a:cubicBezTo>
                    <a:pt x="234" y="310"/>
                    <a:pt x="303" y="240"/>
                    <a:pt x="303" y="155"/>
                  </a:cubicBezTo>
                  <a:cubicBezTo>
                    <a:pt x="303" y="69"/>
                    <a:pt x="234" y="0"/>
                    <a:pt x="148" y="0"/>
                  </a:cubicBezTo>
                  <a:close/>
                </a:path>
              </a:pathLst>
            </a:custGeom>
            <a:solidFill>
              <a:srgbClr val="00A9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rgbClr val="3A3A3A"/>
                </a:solidFill>
                <a:latin typeface="Arial"/>
              </a:endParaRPr>
            </a:p>
          </p:txBody>
        </p:sp>
        <p:sp>
          <p:nvSpPr>
            <p:cNvPr id="39" name="Freeform 52">
              <a:extLst>
                <a:ext uri="{FF2B5EF4-FFF2-40B4-BE49-F238E27FC236}">
                  <a16:creationId xmlns:a16="http://schemas.microsoft.com/office/drawing/2014/main" id="{3BE20EE9-589B-4AB3-B60A-519E9A967132}"/>
                </a:ext>
              </a:extLst>
            </p:cNvPr>
            <p:cNvSpPr>
              <a:spLocks/>
            </p:cNvSpPr>
            <p:nvPr/>
          </p:nvSpPr>
          <p:spPr bwMode="auto">
            <a:xfrm>
              <a:off x="6560329" y="2091420"/>
              <a:ext cx="250741" cy="144660"/>
            </a:xfrm>
            <a:custGeom>
              <a:avLst/>
              <a:gdLst>
                <a:gd name="T0" fmla="*/ 226 w 251"/>
                <a:gd name="T1" fmla="*/ 71 h 145"/>
                <a:gd name="T2" fmla="*/ 249 w 251"/>
                <a:gd name="T3" fmla="*/ 0 h 145"/>
                <a:gd name="T4" fmla="*/ 209 w 251"/>
                <a:gd name="T5" fmla="*/ 0 h 145"/>
                <a:gd name="T6" fmla="*/ 209 w 251"/>
                <a:gd name="T7" fmla="*/ 29 h 145"/>
                <a:gd name="T8" fmla="*/ 179 w 251"/>
                <a:gd name="T9" fmla="*/ 29 h 145"/>
                <a:gd name="T10" fmla="*/ 170 w 251"/>
                <a:gd name="T11" fmla="*/ 37 h 145"/>
                <a:gd name="T12" fmla="*/ 161 w 251"/>
                <a:gd name="T13" fmla="*/ 29 h 145"/>
                <a:gd name="T14" fmla="*/ 130 w 251"/>
                <a:gd name="T15" fmla="*/ 29 h 145"/>
                <a:gd name="T16" fmla="*/ 130 w 251"/>
                <a:gd name="T17" fmla="*/ 0 h 145"/>
                <a:gd name="T18" fmla="*/ 0 w 251"/>
                <a:gd name="T19" fmla="*/ 0 h 145"/>
                <a:gd name="T20" fmla="*/ 0 w 251"/>
                <a:gd name="T21" fmla="*/ 126 h 145"/>
                <a:gd name="T22" fmla="*/ 19 w 251"/>
                <a:gd name="T23" fmla="*/ 145 h 145"/>
                <a:gd name="T24" fmla="*/ 251 w 251"/>
                <a:gd name="T25" fmla="*/ 145 h 145"/>
                <a:gd name="T26" fmla="*/ 226 w 251"/>
                <a:gd name="T27" fmla="*/ 71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 h="145">
                  <a:moveTo>
                    <a:pt x="226" y="71"/>
                  </a:moveTo>
                  <a:cubicBezTo>
                    <a:pt x="226" y="44"/>
                    <a:pt x="234" y="20"/>
                    <a:pt x="249" y="0"/>
                  </a:cubicBezTo>
                  <a:cubicBezTo>
                    <a:pt x="209" y="0"/>
                    <a:pt x="209" y="0"/>
                    <a:pt x="209" y="0"/>
                  </a:cubicBezTo>
                  <a:cubicBezTo>
                    <a:pt x="209" y="29"/>
                    <a:pt x="209" y="29"/>
                    <a:pt x="209" y="29"/>
                  </a:cubicBezTo>
                  <a:cubicBezTo>
                    <a:pt x="179" y="29"/>
                    <a:pt x="179" y="29"/>
                    <a:pt x="179" y="29"/>
                  </a:cubicBezTo>
                  <a:cubicBezTo>
                    <a:pt x="178" y="34"/>
                    <a:pt x="174" y="37"/>
                    <a:pt x="170" y="37"/>
                  </a:cubicBezTo>
                  <a:cubicBezTo>
                    <a:pt x="165" y="37"/>
                    <a:pt x="161" y="34"/>
                    <a:pt x="161" y="29"/>
                  </a:cubicBezTo>
                  <a:cubicBezTo>
                    <a:pt x="130" y="29"/>
                    <a:pt x="130" y="29"/>
                    <a:pt x="130" y="29"/>
                  </a:cubicBezTo>
                  <a:cubicBezTo>
                    <a:pt x="130" y="0"/>
                    <a:pt x="130" y="0"/>
                    <a:pt x="130" y="0"/>
                  </a:cubicBezTo>
                  <a:cubicBezTo>
                    <a:pt x="0" y="0"/>
                    <a:pt x="0" y="0"/>
                    <a:pt x="0" y="0"/>
                  </a:cubicBezTo>
                  <a:cubicBezTo>
                    <a:pt x="0" y="126"/>
                    <a:pt x="0" y="126"/>
                    <a:pt x="0" y="126"/>
                  </a:cubicBezTo>
                  <a:cubicBezTo>
                    <a:pt x="0" y="137"/>
                    <a:pt x="9" y="145"/>
                    <a:pt x="19" y="145"/>
                  </a:cubicBezTo>
                  <a:cubicBezTo>
                    <a:pt x="251" y="145"/>
                    <a:pt x="251" y="145"/>
                    <a:pt x="251" y="145"/>
                  </a:cubicBezTo>
                  <a:cubicBezTo>
                    <a:pt x="235" y="125"/>
                    <a:pt x="226" y="99"/>
                    <a:pt x="226" y="71"/>
                  </a:cubicBezTo>
                  <a:close/>
                </a:path>
              </a:pathLst>
            </a:custGeom>
            <a:solidFill>
              <a:srgbClr val="00A9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rgbClr val="3A3A3A"/>
                </a:solidFill>
                <a:latin typeface="Arial"/>
              </a:endParaRPr>
            </a:p>
          </p:txBody>
        </p:sp>
      </p:grpSp>
      <p:grpSp>
        <p:nvGrpSpPr>
          <p:cNvPr id="40" name="Group 39">
            <a:extLst>
              <a:ext uri="{FF2B5EF4-FFF2-40B4-BE49-F238E27FC236}">
                <a16:creationId xmlns:a16="http://schemas.microsoft.com/office/drawing/2014/main" id="{14E8A368-CF6A-4554-83F6-34C7EA87A4DC}"/>
              </a:ext>
            </a:extLst>
          </p:cNvPr>
          <p:cNvGrpSpPr>
            <a:grpSpLocks noChangeAspect="1"/>
          </p:cNvGrpSpPr>
          <p:nvPr/>
        </p:nvGrpSpPr>
        <p:grpSpPr>
          <a:xfrm>
            <a:off x="1947676" y="2162075"/>
            <a:ext cx="746241" cy="891341"/>
            <a:chOff x="5900020" y="3750120"/>
            <a:chExt cx="306550" cy="366156"/>
          </a:xfrm>
          <a:solidFill>
            <a:srgbClr val="00A9E0"/>
          </a:solidFill>
        </p:grpSpPr>
        <p:sp>
          <p:nvSpPr>
            <p:cNvPr id="41" name="Freeform 20">
              <a:extLst>
                <a:ext uri="{FF2B5EF4-FFF2-40B4-BE49-F238E27FC236}">
                  <a16:creationId xmlns:a16="http://schemas.microsoft.com/office/drawing/2014/main" id="{19781854-1BF1-4425-A3D1-8BAD00F3689C}"/>
                </a:ext>
              </a:extLst>
            </p:cNvPr>
            <p:cNvSpPr>
              <a:spLocks/>
            </p:cNvSpPr>
            <p:nvPr/>
          </p:nvSpPr>
          <p:spPr bwMode="auto">
            <a:xfrm>
              <a:off x="5900020" y="3859754"/>
              <a:ext cx="83024" cy="179885"/>
            </a:xfrm>
            <a:custGeom>
              <a:avLst/>
              <a:gdLst>
                <a:gd name="T0" fmla="*/ 89 w 107"/>
                <a:gd name="T1" fmla="*/ 0 h 233"/>
                <a:gd name="T2" fmla="*/ 63 w 107"/>
                <a:gd name="T3" fmla="*/ 0 h 233"/>
                <a:gd name="T4" fmla="*/ 62 w 107"/>
                <a:gd name="T5" fmla="*/ 1 h 233"/>
                <a:gd name="T6" fmla="*/ 54 w 107"/>
                <a:gd name="T7" fmla="*/ 17 h 233"/>
                <a:gd name="T8" fmla="*/ 51 w 107"/>
                <a:gd name="T9" fmla="*/ 17 h 233"/>
                <a:gd name="T10" fmla="*/ 43 w 107"/>
                <a:gd name="T11" fmla="*/ 1 h 233"/>
                <a:gd name="T12" fmla="*/ 42 w 107"/>
                <a:gd name="T13" fmla="*/ 0 h 233"/>
                <a:gd name="T14" fmla="*/ 18 w 107"/>
                <a:gd name="T15" fmla="*/ 0 h 233"/>
                <a:gd name="T16" fmla="*/ 0 w 107"/>
                <a:gd name="T17" fmla="*/ 18 h 233"/>
                <a:gd name="T18" fmla="*/ 0 w 107"/>
                <a:gd name="T19" fmla="*/ 107 h 233"/>
                <a:gd name="T20" fmla="*/ 18 w 107"/>
                <a:gd name="T21" fmla="*/ 124 h 233"/>
                <a:gd name="T22" fmla="*/ 18 w 107"/>
                <a:gd name="T23" fmla="*/ 127 h 233"/>
                <a:gd name="T24" fmla="*/ 18 w 107"/>
                <a:gd name="T25" fmla="*/ 129 h 233"/>
                <a:gd name="T26" fmla="*/ 18 w 107"/>
                <a:gd name="T27" fmla="*/ 216 h 233"/>
                <a:gd name="T28" fmla="*/ 36 w 107"/>
                <a:gd name="T29" fmla="*/ 233 h 233"/>
                <a:gd name="T30" fmla="*/ 53 w 107"/>
                <a:gd name="T31" fmla="*/ 216 h 233"/>
                <a:gd name="T32" fmla="*/ 71 w 107"/>
                <a:gd name="T33" fmla="*/ 233 h 233"/>
                <a:gd name="T34" fmla="*/ 89 w 107"/>
                <a:gd name="T35" fmla="*/ 216 h 233"/>
                <a:gd name="T36" fmla="*/ 89 w 107"/>
                <a:gd name="T37" fmla="*/ 129 h 233"/>
                <a:gd name="T38" fmla="*/ 89 w 107"/>
                <a:gd name="T39" fmla="*/ 127 h 233"/>
                <a:gd name="T40" fmla="*/ 89 w 107"/>
                <a:gd name="T41" fmla="*/ 124 h 233"/>
                <a:gd name="T42" fmla="*/ 107 w 107"/>
                <a:gd name="T43" fmla="*/ 107 h 233"/>
                <a:gd name="T44" fmla="*/ 107 w 107"/>
                <a:gd name="T45" fmla="*/ 18 h 233"/>
                <a:gd name="T46" fmla="*/ 89 w 107"/>
                <a:gd name="T47"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233">
                  <a:moveTo>
                    <a:pt x="89" y="0"/>
                  </a:moveTo>
                  <a:cubicBezTo>
                    <a:pt x="63" y="0"/>
                    <a:pt x="63" y="0"/>
                    <a:pt x="63" y="0"/>
                  </a:cubicBezTo>
                  <a:cubicBezTo>
                    <a:pt x="63" y="0"/>
                    <a:pt x="63" y="1"/>
                    <a:pt x="62" y="1"/>
                  </a:cubicBezTo>
                  <a:cubicBezTo>
                    <a:pt x="54" y="17"/>
                    <a:pt x="54" y="17"/>
                    <a:pt x="54" y="17"/>
                  </a:cubicBezTo>
                  <a:cubicBezTo>
                    <a:pt x="53" y="18"/>
                    <a:pt x="52" y="18"/>
                    <a:pt x="51" y="17"/>
                  </a:cubicBezTo>
                  <a:cubicBezTo>
                    <a:pt x="43" y="1"/>
                    <a:pt x="43" y="1"/>
                    <a:pt x="43" y="1"/>
                  </a:cubicBezTo>
                  <a:cubicBezTo>
                    <a:pt x="42" y="1"/>
                    <a:pt x="42" y="0"/>
                    <a:pt x="42" y="0"/>
                  </a:cubicBezTo>
                  <a:cubicBezTo>
                    <a:pt x="18" y="0"/>
                    <a:pt x="18" y="0"/>
                    <a:pt x="18" y="0"/>
                  </a:cubicBezTo>
                  <a:cubicBezTo>
                    <a:pt x="8" y="0"/>
                    <a:pt x="0" y="8"/>
                    <a:pt x="0" y="18"/>
                  </a:cubicBezTo>
                  <a:cubicBezTo>
                    <a:pt x="0" y="107"/>
                    <a:pt x="0" y="107"/>
                    <a:pt x="0" y="107"/>
                  </a:cubicBezTo>
                  <a:cubicBezTo>
                    <a:pt x="0" y="116"/>
                    <a:pt x="8" y="124"/>
                    <a:pt x="18" y="124"/>
                  </a:cubicBezTo>
                  <a:cubicBezTo>
                    <a:pt x="18" y="127"/>
                    <a:pt x="18" y="127"/>
                    <a:pt x="18" y="127"/>
                  </a:cubicBezTo>
                  <a:cubicBezTo>
                    <a:pt x="18" y="129"/>
                    <a:pt x="18" y="129"/>
                    <a:pt x="18" y="129"/>
                  </a:cubicBezTo>
                  <a:cubicBezTo>
                    <a:pt x="18" y="216"/>
                    <a:pt x="18" y="216"/>
                    <a:pt x="18" y="216"/>
                  </a:cubicBezTo>
                  <a:cubicBezTo>
                    <a:pt x="18" y="225"/>
                    <a:pt x="26" y="233"/>
                    <a:pt x="36" y="233"/>
                  </a:cubicBezTo>
                  <a:cubicBezTo>
                    <a:pt x="45" y="233"/>
                    <a:pt x="53" y="225"/>
                    <a:pt x="53" y="216"/>
                  </a:cubicBezTo>
                  <a:cubicBezTo>
                    <a:pt x="53" y="225"/>
                    <a:pt x="61" y="233"/>
                    <a:pt x="71" y="233"/>
                  </a:cubicBezTo>
                  <a:cubicBezTo>
                    <a:pt x="81" y="233"/>
                    <a:pt x="89" y="225"/>
                    <a:pt x="89" y="216"/>
                  </a:cubicBezTo>
                  <a:cubicBezTo>
                    <a:pt x="89" y="129"/>
                    <a:pt x="89" y="129"/>
                    <a:pt x="89" y="129"/>
                  </a:cubicBezTo>
                  <a:cubicBezTo>
                    <a:pt x="89" y="127"/>
                    <a:pt x="89" y="127"/>
                    <a:pt x="89" y="127"/>
                  </a:cubicBezTo>
                  <a:cubicBezTo>
                    <a:pt x="89" y="124"/>
                    <a:pt x="89" y="124"/>
                    <a:pt x="89" y="124"/>
                  </a:cubicBezTo>
                  <a:cubicBezTo>
                    <a:pt x="99" y="124"/>
                    <a:pt x="107" y="116"/>
                    <a:pt x="107" y="107"/>
                  </a:cubicBezTo>
                  <a:cubicBezTo>
                    <a:pt x="107" y="18"/>
                    <a:pt x="107" y="18"/>
                    <a:pt x="107" y="18"/>
                  </a:cubicBezTo>
                  <a:cubicBezTo>
                    <a:pt x="107" y="8"/>
                    <a:pt x="99" y="0"/>
                    <a:pt x="8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rgbClr val="3A3A3A"/>
                </a:solidFill>
                <a:latin typeface="Arial"/>
              </a:endParaRPr>
            </a:p>
          </p:txBody>
        </p:sp>
        <p:sp>
          <p:nvSpPr>
            <p:cNvPr id="42" name="Oval 21">
              <a:extLst>
                <a:ext uri="{FF2B5EF4-FFF2-40B4-BE49-F238E27FC236}">
                  <a16:creationId xmlns:a16="http://schemas.microsoft.com/office/drawing/2014/main" id="{68EB1FBB-286E-4A12-9093-045A8AE27900}"/>
                </a:ext>
              </a:extLst>
            </p:cNvPr>
            <p:cNvSpPr>
              <a:spLocks noChangeArrowheads="1"/>
            </p:cNvSpPr>
            <p:nvPr/>
          </p:nvSpPr>
          <p:spPr bwMode="auto">
            <a:xfrm>
              <a:off x="5912793" y="3798019"/>
              <a:ext cx="57478" cy="5854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rgbClr val="3A3A3A"/>
                </a:solidFill>
                <a:latin typeface="Arial"/>
              </a:endParaRPr>
            </a:p>
          </p:txBody>
        </p:sp>
        <p:sp>
          <p:nvSpPr>
            <p:cNvPr id="43" name="Oval 22">
              <a:extLst>
                <a:ext uri="{FF2B5EF4-FFF2-40B4-BE49-F238E27FC236}">
                  <a16:creationId xmlns:a16="http://schemas.microsoft.com/office/drawing/2014/main" id="{EEF2093F-69ED-4D48-8606-A86D5A75B071}"/>
                </a:ext>
              </a:extLst>
            </p:cNvPr>
            <p:cNvSpPr>
              <a:spLocks noChangeArrowheads="1"/>
            </p:cNvSpPr>
            <p:nvPr/>
          </p:nvSpPr>
          <p:spPr bwMode="auto">
            <a:xfrm>
              <a:off x="6136319" y="3798019"/>
              <a:ext cx="57478" cy="5854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rgbClr val="3A3A3A"/>
                </a:solidFill>
                <a:latin typeface="Arial"/>
              </a:endParaRPr>
            </a:p>
          </p:txBody>
        </p:sp>
        <p:sp>
          <p:nvSpPr>
            <p:cNvPr id="44" name="Freeform 23">
              <a:extLst>
                <a:ext uri="{FF2B5EF4-FFF2-40B4-BE49-F238E27FC236}">
                  <a16:creationId xmlns:a16="http://schemas.microsoft.com/office/drawing/2014/main" id="{86F4B738-5068-4516-8D4A-1AA42040EFDE}"/>
                </a:ext>
              </a:extLst>
            </p:cNvPr>
            <p:cNvSpPr>
              <a:spLocks/>
            </p:cNvSpPr>
            <p:nvPr/>
          </p:nvSpPr>
          <p:spPr bwMode="auto">
            <a:xfrm>
              <a:off x="6123546" y="3859754"/>
              <a:ext cx="83024" cy="179885"/>
            </a:xfrm>
            <a:custGeom>
              <a:avLst/>
              <a:gdLst>
                <a:gd name="T0" fmla="*/ 89 w 107"/>
                <a:gd name="T1" fmla="*/ 0 h 233"/>
                <a:gd name="T2" fmla="*/ 63 w 107"/>
                <a:gd name="T3" fmla="*/ 0 h 233"/>
                <a:gd name="T4" fmla="*/ 62 w 107"/>
                <a:gd name="T5" fmla="*/ 1 h 233"/>
                <a:gd name="T6" fmla="*/ 54 w 107"/>
                <a:gd name="T7" fmla="*/ 17 h 233"/>
                <a:gd name="T8" fmla="*/ 51 w 107"/>
                <a:gd name="T9" fmla="*/ 17 h 233"/>
                <a:gd name="T10" fmla="*/ 43 w 107"/>
                <a:gd name="T11" fmla="*/ 1 h 233"/>
                <a:gd name="T12" fmla="*/ 42 w 107"/>
                <a:gd name="T13" fmla="*/ 0 h 233"/>
                <a:gd name="T14" fmla="*/ 18 w 107"/>
                <a:gd name="T15" fmla="*/ 0 h 233"/>
                <a:gd name="T16" fmla="*/ 0 w 107"/>
                <a:gd name="T17" fmla="*/ 18 h 233"/>
                <a:gd name="T18" fmla="*/ 0 w 107"/>
                <a:gd name="T19" fmla="*/ 107 h 233"/>
                <a:gd name="T20" fmla="*/ 18 w 107"/>
                <a:gd name="T21" fmla="*/ 124 h 233"/>
                <a:gd name="T22" fmla="*/ 18 w 107"/>
                <a:gd name="T23" fmla="*/ 127 h 233"/>
                <a:gd name="T24" fmla="*/ 18 w 107"/>
                <a:gd name="T25" fmla="*/ 129 h 233"/>
                <a:gd name="T26" fmla="*/ 18 w 107"/>
                <a:gd name="T27" fmla="*/ 216 h 233"/>
                <a:gd name="T28" fmla="*/ 36 w 107"/>
                <a:gd name="T29" fmla="*/ 233 h 233"/>
                <a:gd name="T30" fmla="*/ 54 w 107"/>
                <a:gd name="T31" fmla="*/ 216 h 233"/>
                <a:gd name="T32" fmla="*/ 71 w 107"/>
                <a:gd name="T33" fmla="*/ 233 h 233"/>
                <a:gd name="T34" fmla="*/ 89 w 107"/>
                <a:gd name="T35" fmla="*/ 216 h 233"/>
                <a:gd name="T36" fmla="*/ 89 w 107"/>
                <a:gd name="T37" fmla="*/ 129 h 233"/>
                <a:gd name="T38" fmla="*/ 89 w 107"/>
                <a:gd name="T39" fmla="*/ 127 h 233"/>
                <a:gd name="T40" fmla="*/ 89 w 107"/>
                <a:gd name="T41" fmla="*/ 124 h 233"/>
                <a:gd name="T42" fmla="*/ 107 w 107"/>
                <a:gd name="T43" fmla="*/ 107 h 233"/>
                <a:gd name="T44" fmla="*/ 107 w 107"/>
                <a:gd name="T45" fmla="*/ 18 h 233"/>
                <a:gd name="T46" fmla="*/ 89 w 107"/>
                <a:gd name="T47"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233">
                  <a:moveTo>
                    <a:pt x="89" y="0"/>
                  </a:moveTo>
                  <a:cubicBezTo>
                    <a:pt x="63" y="0"/>
                    <a:pt x="63" y="0"/>
                    <a:pt x="63" y="0"/>
                  </a:cubicBezTo>
                  <a:cubicBezTo>
                    <a:pt x="63" y="0"/>
                    <a:pt x="63" y="1"/>
                    <a:pt x="62" y="1"/>
                  </a:cubicBezTo>
                  <a:cubicBezTo>
                    <a:pt x="54" y="17"/>
                    <a:pt x="54" y="17"/>
                    <a:pt x="54" y="17"/>
                  </a:cubicBezTo>
                  <a:cubicBezTo>
                    <a:pt x="53" y="18"/>
                    <a:pt x="52" y="18"/>
                    <a:pt x="51" y="17"/>
                  </a:cubicBezTo>
                  <a:cubicBezTo>
                    <a:pt x="43" y="1"/>
                    <a:pt x="43" y="1"/>
                    <a:pt x="43" y="1"/>
                  </a:cubicBezTo>
                  <a:cubicBezTo>
                    <a:pt x="42" y="1"/>
                    <a:pt x="42" y="0"/>
                    <a:pt x="42" y="0"/>
                  </a:cubicBezTo>
                  <a:cubicBezTo>
                    <a:pt x="18" y="0"/>
                    <a:pt x="18" y="0"/>
                    <a:pt x="18" y="0"/>
                  </a:cubicBezTo>
                  <a:cubicBezTo>
                    <a:pt x="8" y="0"/>
                    <a:pt x="0" y="8"/>
                    <a:pt x="0" y="18"/>
                  </a:cubicBezTo>
                  <a:cubicBezTo>
                    <a:pt x="0" y="107"/>
                    <a:pt x="0" y="107"/>
                    <a:pt x="0" y="107"/>
                  </a:cubicBezTo>
                  <a:cubicBezTo>
                    <a:pt x="0" y="116"/>
                    <a:pt x="8" y="124"/>
                    <a:pt x="18" y="124"/>
                  </a:cubicBezTo>
                  <a:cubicBezTo>
                    <a:pt x="18" y="127"/>
                    <a:pt x="18" y="127"/>
                    <a:pt x="18" y="127"/>
                  </a:cubicBezTo>
                  <a:cubicBezTo>
                    <a:pt x="18" y="129"/>
                    <a:pt x="18" y="129"/>
                    <a:pt x="18" y="129"/>
                  </a:cubicBezTo>
                  <a:cubicBezTo>
                    <a:pt x="18" y="216"/>
                    <a:pt x="18" y="216"/>
                    <a:pt x="18" y="216"/>
                  </a:cubicBezTo>
                  <a:cubicBezTo>
                    <a:pt x="18" y="225"/>
                    <a:pt x="26" y="233"/>
                    <a:pt x="36" y="233"/>
                  </a:cubicBezTo>
                  <a:cubicBezTo>
                    <a:pt x="46" y="233"/>
                    <a:pt x="54" y="225"/>
                    <a:pt x="54" y="216"/>
                  </a:cubicBezTo>
                  <a:cubicBezTo>
                    <a:pt x="54" y="225"/>
                    <a:pt x="62" y="233"/>
                    <a:pt x="71" y="233"/>
                  </a:cubicBezTo>
                  <a:cubicBezTo>
                    <a:pt x="81" y="233"/>
                    <a:pt x="89" y="225"/>
                    <a:pt x="89" y="216"/>
                  </a:cubicBezTo>
                  <a:cubicBezTo>
                    <a:pt x="89" y="129"/>
                    <a:pt x="89" y="129"/>
                    <a:pt x="89" y="129"/>
                  </a:cubicBezTo>
                  <a:cubicBezTo>
                    <a:pt x="89" y="127"/>
                    <a:pt x="89" y="127"/>
                    <a:pt x="89" y="127"/>
                  </a:cubicBezTo>
                  <a:cubicBezTo>
                    <a:pt x="89" y="124"/>
                    <a:pt x="89" y="124"/>
                    <a:pt x="89" y="124"/>
                  </a:cubicBezTo>
                  <a:cubicBezTo>
                    <a:pt x="99" y="124"/>
                    <a:pt x="107" y="116"/>
                    <a:pt x="107" y="107"/>
                  </a:cubicBezTo>
                  <a:cubicBezTo>
                    <a:pt x="107" y="18"/>
                    <a:pt x="107" y="18"/>
                    <a:pt x="107" y="18"/>
                  </a:cubicBezTo>
                  <a:cubicBezTo>
                    <a:pt x="107" y="8"/>
                    <a:pt x="99" y="0"/>
                    <a:pt x="8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rgbClr val="3A3A3A"/>
                </a:solidFill>
                <a:latin typeface="Arial"/>
              </a:endParaRPr>
            </a:p>
          </p:txBody>
        </p:sp>
        <p:sp>
          <p:nvSpPr>
            <p:cNvPr id="45" name="Oval 24">
              <a:extLst>
                <a:ext uri="{FF2B5EF4-FFF2-40B4-BE49-F238E27FC236}">
                  <a16:creationId xmlns:a16="http://schemas.microsoft.com/office/drawing/2014/main" id="{5C919562-FA01-480A-9421-A0266CD89341}"/>
                </a:ext>
              </a:extLst>
            </p:cNvPr>
            <p:cNvSpPr>
              <a:spLocks noChangeArrowheads="1"/>
            </p:cNvSpPr>
            <p:nvPr/>
          </p:nvSpPr>
          <p:spPr bwMode="auto">
            <a:xfrm>
              <a:off x="6009654" y="3750120"/>
              <a:ext cx="87281" cy="88346"/>
            </a:xfrm>
            <a:prstGeom prst="ellipse">
              <a:avLst/>
            </a:pr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rgbClr val="3A3A3A"/>
                </a:solidFill>
                <a:latin typeface="Arial"/>
              </a:endParaRPr>
            </a:p>
          </p:txBody>
        </p:sp>
        <p:sp>
          <p:nvSpPr>
            <p:cNvPr id="46" name="Freeform 25">
              <a:extLst>
                <a:ext uri="{FF2B5EF4-FFF2-40B4-BE49-F238E27FC236}">
                  <a16:creationId xmlns:a16="http://schemas.microsoft.com/office/drawing/2014/main" id="{85D4748F-BD46-4355-92F1-1E0127CA6184}"/>
                </a:ext>
              </a:extLst>
            </p:cNvPr>
            <p:cNvSpPr>
              <a:spLocks/>
            </p:cNvSpPr>
            <p:nvPr/>
          </p:nvSpPr>
          <p:spPr bwMode="auto">
            <a:xfrm>
              <a:off x="5990495" y="3844852"/>
              <a:ext cx="124536" cy="271424"/>
            </a:xfrm>
            <a:custGeom>
              <a:avLst/>
              <a:gdLst>
                <a:gd name="T0" fmla="*/ 135 w 161"/>
                <a:gd name="T1" fmla="*/ 0 h 352"/>
                <a:gd name="T2" fmla="*/ 94 w 161"/>
                <a:gd name="T3" fmla="*/ 0 h 352"/>
                <a:gd name="T4" fmla="*/ 94 w 161"/>
                <a:gd name="T5" fmla="*/ 2 h 352"/>
                <a:gd name="T6" fmla="*/ 81 w 161"/>
                <a:gd name="T7" fmla="*/ 25 h 352"/>
                <a:gd name="T8" fmla="*/ 77 w 161"/>
                <a:gd name="T9" fmla="*/ 25 h 352"/>
                <a:gd name="T10" fmla="*/ 64 w 161"/>
                <a:gd name="T11" fmla="*/ 2 h 352"/>
                <a:gd name="T12" fmla="*/ 64 w 161"/>
                <a:gd name="T13" fmla="*/ 0 h 352"/>
                <a:gd name="T14" fmla="*/ 27 w 161"/>
                <a:gd name="T15" fmla="*/ 0 h 352"/>
                <a:gd name="T16" fmla="*/ 0 w 161"/>
                <a:gd name="T17" fmla="*/ 27 h 352"/>
                <a:gd name="T18" fmla="*/ 0 w 161"/>
                <a:gd name="T19" fmla="*/ 161 h 352"/>
                <a:gd name="T20" fmla="*/ 27 w 161"/>
                <a:gd name="T21" fmla="*/ 188 h 352"/>
                <a:gd name="T22" fmla="*/ 27 w 161"/>
                <a:gd name="T23" fmla="*/ 191 h 352"/>
                <a:gd name="T24" fmla="*/ 27 w 161"/>
                <a:gd name="T25" fmla="*/ 194 h 352"/>
                <a:gd name="T26" fmla="*/ 27 w 161"/>
                <a:gd name="T27" fmla="*/ 325 h 352"/>
                <a:gd name="T28" fmla="*/ 54 w 161"/>
                <a:gd name="T29" fmla="*/ 352 h 352"/>
                <a:gd name="T30" fmla="*/ 81 w 161"/>
                <a:gd name="T31" fmla="*/ 325 h 352"/>
                <a:gd name="T32" fmla="*/ 108 w 161"/>
                <a:gd name="T33" fmla="*/ 352 h 352"/>
                <a:gd name="T34" fmla="*/ 135 w 161"/>
                <a:gd name="T35" fmla="*/ 325 h 352"/>
                <a:gd name="T36" fmla="*/ 135 w 161"/>
                <a:gd name="T37" fmla="*/ 194 h 352"/>
                <a:gd name="T38" fmla="*/ 135 w 161"/>
                <a:gd name="T39" fmla="*/ 191 h 352"/>
                <a:gd name="T40" fmla="*/ 135 w 161"/>
                <a:gd name="T41" fmla="*/ 188 h 352"/>
                <a:gd name="T42" fmla="*/ 161 w 161"/>
                <a:gd name="T43" fmla="*/ 161 h 352"/>
                <a:gd name="T44" fmla="*/ 161 w 161"/>
                <a:gd name="T45" fmla="*/ 27 h 352"/>
                <a:gd name="T46" fmla="*/ 135 w 161"/>
                <a:gd name="T47" fmla="*/ 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1" h="352">
                  <a:moveTo>
                    <a:pt x="135" y="0"/>
                  </a:moveTo>
                  <a:cubicBezTo>
                    <a:pt x="94" y="0"/>
                    <a:pt x="94" y="0"/>
                    <a:pt x="94" y="0"/>
                  </a:cubicBezTo>
                  <a:cubicBezTo>
                    <a:pt x="95" y="0"/>
                    <a:pt x="95" y="1"/>
                    <a:pt x="94" y="2"/>
                  </a:cubicBezTo>
                  <a:cubicBezTo>
                    <a:pt x="81" y="25"/>
                    <a:pt x="81" y="25"/>
                    <a:pt x="81" y="25"/>
                  </a:cubicBezTo>
                  <a:cubicBezTo>
                    <a:pt x="80" y="27"/>
                    <a:pt x="78" y="27"/>
                    <a:pt x="77" y="25"/>
                  </a:cubicBezTo>
                  <a:cubicBezTo>
                    <a:pt x="64" y="2"/>
                    <a:pt x="64" y="2"/>
                    <a:pt x="64" y="2"/>
                  </a:cubicBezTo>
                  <a:cubicBezTo>
                    <a:pt x="64" y="1"/>
                    <a:pt x="64" y="0"/>
                    <a:pt x="64" y="0"/>
                  </a:cubicBezTo>
                  <a:cubicBezTo>
                    <a:pt x="27" y="0"/>
                    <a:pt x="27" y="0"/>
                    <a:pt x="27" y="0"/>
                  </a:cubicBezTo>
                  <a:cubicBezTo>
                    <a:pt x="12" y="0"/>
                    <a:pt x="0" y="12"/>
                    <a:pt x="0" y="27"/>
                  </a:cubicBezTo>
                  <a:cubicBezTo>
                    <a:pt x="0" y="161"/>
                    <a:pt x="0" y="161"/>
                    <a:pt x="0" y="161"/>
                  </a:cubicBezTo>
                  <a:cubicBezTo>
                    <a:pt x="0" y="176"/>
                    <a:pt x="12" y="188"/>
                    <a:pt x="27" y="188"/>
                  </a:cubicBezTo>
                  <a:cubicBezTo>
                    <a:pt x="27" y="191"/>
                    <a:pt x="27" y="191"/>
                    <a:pt x="27" y="191"/>
                  </a:cubicBezTo>
                  <a:cubicBezTo>
                    <a:pt x="27" y="194"/>
                    <a:pt x="27" y="194"/>
                    <a:pt x="27" y="194"/>
                  </a:cubicBezTo>
                  <a:cubicBezTo>
                    <a:pt x="27" y="325"/>
                    <a:pt x="27" y="325"/>
                    <a:pt x="27" y="325"/>
                  </a:cubicBezTo>
                  <a:cubicBezTo>
                    <a:pt x="27" y="340"/>
                    <a:pt x="39" y="352"/>
                    <a:pt x="54" y="352"/>
                  </a:cubicBezTo>
                  <a:cubicBezTo>
                    <a:pt x="69" y="352"/>
                    <a:pt x="81" y="340"/>
                    <a:pt x="81" y="325"/>
                  </a:cubicBezTo>
                  <a:cubicBezTo>
                    <a:pt x="81" y="340"/>
                    <a:pt x="93" y="352"/>
                    <a:pt x="108" y="352"/>
                  </a:cubicBezTo>
                  <a:cubicBezTo>
                    <a:pt x="122" y="352"/>
                    <a:pt x="135" y="340"/>
                    <a:pt x="135" y="325"/>
                  </a:cubicBezTo>
                  <a:cubicBezTo>
                    <a:pt x="135" y="194"/>
                    <a:pt x="135" y="194"/>
                    <a:pt x="135" y="194"/>
                  </a:cubicBezTo>
                  <a:cubicBezTo>
                    <a:pt x="135" y="191"/>
                    <a:pt x="135" y="191"/>
                    <a:pt x="135" y="191"/>
                  </a:cubicBezTo>
                  <a:cubicBezTo>
                    <a:pt x="135" y="188"/>
                    <a:pt x="135" y="188"/>
                    <a:pt x="135" y="188"/>
                  </a:cubicBezTo>
                  <a:cubicBezTo>
                    <a:pt x="149" y="188"/>
                    <a:pt x="161" y="176"/>
                    <a:pt x="161" y="161"/>
                  </a:cubicBezTo>
                  <a:cubicBezTo>
                    <a:pt x="161" y="27"/>
                    <a:pt x="161" y="27"/>
                    <a:pt x="161" y="27"/>
                  </a:cubicBezTo>
                  <a:cubicBezTo>
                    <a:pt x="161" y="12"/>
                    <a:pt x="149" y="0"/>
                    <a:pt x="135" y="0"/>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rgbClr val="3A3A3A"/>
                </a:solidFill>
                <a:latin typeface="Arial"/>
              </a:endParaRPr>
            </a:p>
          </p:txBody>
        </p:sp>
      </p:grpSp>
    </p:spTree>
    <p:extLst>
      <p:ext uri="{BB962C8B-B14F-4D97-AF65-F5344CB8AC3E}">
        <p14:creationId xmlns:p14="http://schemas.microsoft.com/office/powerpoint/2010/main" val="257081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turn of Premium Endorsement</a:t>
            </a:r>
          </a:p>
        </p:txBody>
      </p:sp>
      <p:sp>
        <p:nvSpPr>
          <p:cNvPr id="19" name="Text Placeholder 18"/>
          <p:cNvSpPr>
            <a:spLocks noGrp="1"/>
          </p:cNvSpPr>
          <p:nvPr>
            <p:ph type="body" sz="quarter" idx="10"/>
          </p:nvPr>
        </p:nvSpPr>
        <p:spPr>
          <a:xfrm>
            <a:off x="4065678" y="1925452"/>
            <a:ext cx="6146710" cy="1577547"/>
          </a:xfrm>
        </p:spPr>
        <p:txBody>
          <a:bodyPr>
            <a:normAutofit fontScale="92500" lnSpcReduction="20000"/>
          </a:bodyPr>
          <a:lstStyle/>
          <a:p>
            <a:pPr lvl="1">
              <a:lnSpc>
                <a:spcPct val="150000"/>
              </a:lnSpc>
              <a:buFont typeface="Arial" panose="020B0604020202020204" pitchFamily="34" charset="0"/>
              <a:buChar char="•"/>
            </a:pPr>
            <a:r>
              <a:rPr lang="en-US" dirty="0"/>
              <a:t>25% of premiums paid, available on or after the 10th policy anniversary, upon full surrender</a:t>
            </a:r>
          </a:p>
          <a:p>
            <a:pPr lvl="1">
              <a:lnSpc>
                <a:spcPct val="150000"/>
              </a:lnSpc>
              <a:buFont typeface="Arial" panose="020B0604020202020204" pitchFamily="34" charset="0"/>
              <a:buChar char="•"/>
            </a:pPr>
            <a:r>
              <a:rPr lang="en-US" dirty="0"/>
              <a:t>Limited to 50% of lowest death benefit</a:t>
            </a:r>
          </a:p>
          <a:p>
            <a:pPr lvl="1">
              <a:lnSpc>
                <a:spcPct val="150000"/>
              </a:lnSpc>
              <a:buFont typeface="Arial" panose="020B0604020202020204" pitchFamily="34" charset="0"/>
              <a:buChar char="•"/>
            </a:pPr>
            <a:r>
              <a:rPr lang="en-US" dirty="0"/>
              <a:t>Not limited to a 60-day window</a:t>
            </a:r>
          </a:p>
        </p:txBody>
      </p:sp>
      <p:sp>
        <p:nvSpPr>
          <p:cNvPr id="20" name="Text Placeholder 19"/>
          <p:cNvSpPr>
            <a:spLocks noGrp="1"/>
          </p:cNvSpPr>
          <p:nvPr>
            <p:ph type="body" sz="quarter" idx="11"/>
          </p:nvPr>
        </p:nvSpPr>
        <p:spPr>
          <a:xfrm>
            <a:off x="4367237" y="4003189"/>
            <a:ext cx="7908160" cy="2058407"/>
          </a:xfrm>
        </p:spPr>
        <p:txBody>
          <a:bodyPr/>
          <a:lstStyle/>
          <a:p>
            <a:pPr marL="285750" indent="-285750">
              <a:lnSpc>
                <a:spcPct val="150000"/>
              </a:lnSpc>
              <a:spcBef>
                <a:spcPts val="0"/>
              </a:spcBef>
              <a:buFont typeface="Arial" panose="020B0604020202020204" pitchFamily="34" charset="0"/>
              <a:buChar char="•"/>
            </a:pPr>
            <a:r>
              <a:rPr lang="en-US" sz="1800" dirty="0"/>
              <a:t>All issue ages</a:t>
            </a:r>
          </a:p>
          <a:p>
            <a:pPr marL="285750" indent="-285750">
              <a:lnSpc>
                <a:spcPct val="150000"/>
              </a:lnSpc>
              <a:spcBef>
                <a:spcPts val="0"/>
              </a:spcBef>
              <a:buFont typeface="Arial" panose="020B0604020202020204" pitchFamily="34" charset="0"/>
              <a:buChar char="•"/>
            </a:pPr>
            <a:r>
              <a:rPr lang="en-US" sz="1800" dirty="0"/>
              <a:t>Standard Non-Tobacco, Preferred, or Select Preferred</a:t>
            </a:r>
          </a:p>
          <a:p>
            <a:pPr marL="285750" indent="-285750">
              <a:lnSpc>
                <a:spcPct val="150000"/>
              </a:lnSpc>
              <a:spcBef>
                <a:spcPts val="0"/>
              </a:spcBef>
              <a:buFont typeface="Arial" panose="020B0604020202020204" pitchFamily="34" charset="0"/>
              <a:buChar char="•"/>
            </a:pPr>
            <a:r>
              <a:rPr lang="en-US" sz="1800" dirty="0"/>
              <a:t>Rated no higher than Table 4 / $5 flat extra</a:t>
            </a:r>
          </a:p>
        </p:txBody>
      </p:sp>
      <p:grpSp>
        <p:nvGrpSpPr>
          <p:cNvPr id="4" name="Group 3">
            <a:extLst>
              <a:ext uri="{FF2B5EF4-FFF2-40B4-BE49-F238E27FC236}">
                <a16:creationId xmlns:a16="http://schemas.microsoft.com/office/drawing/2014/main" id="{73F80ED0-45CB-4F4C-AEFD-6BB7FE8792DF}"/>
              </a:ext>
            </a:extLst>
          </p:cNvPr>
          <p:cNvGrpSpPr/>
          <p:nvPr/>
        </p:nvGrpSpPr>
        <p:grpSpPr>
          <a:xfrm>
            <a:off x="2744456" y="2350457"/>
            <a:ext cx="676715" cy="894198"/>
            <a:chOff x="1281414" y="1644234"/>
            <a:chExt cx="676715" cy="894198"/>
          </a:xfrm>
        </p:grpSpPr>
        <p:sp>
          <p:nvSpPr>
            <p:cNvPr id="15" name="Freeform 130">
              <a:extLst>
                <a:ext uri="{FF2B5EF4-FFF2-40B4-BE49-F238E27FC236}">
                  <a16:creationId xmlns:a16="http://schemas.microsoft.com/office/drawing/2014/main" id="{8D5B34A7-CEFD-41DE-9725-A45BB6052E0E}"/>
                </a:ext>
              </a:extLst>
            </p:cNvPr>
            <p:cNvSpPr>
              <a:spLocks/>
            </p:cNvSpPr>
            <p:nvPr/>
          </p:nvSpPr>
          <p:spPr bwMode="auto">
            <a:xfrm>
              <a:off x="1323653" y="1996521"/>
              <a:ext cx="116830" cy="65605"/>
            </a:xfrm>
            <a:custGeom>
              <a:avLst/>
              <a:gdLst>
                <a:gd name="T0" fmla="*/ 16 w 55"/>
                <a:gd name="T1" fmla="*/ 31 h 31"/>
                <a:gd name="T2" fmla="*/ 39 w 55"/>
                <a:gd name="T3" fmla="*/ 31 h 31"/>
                <a:gd name="T4" fmla="*/ 55 w 55"/>
                <a:gd name="T5" fmla="*/ 16 h 31"/>
                <a:gd name="T6" fmla="*/ 39 w 55"/>
                <a:gd name="T7" fmla="*/ 0 h 31"/>
                <a:gd name="T8" fmla="*/ 16 w 55"/>
                <a:gd name="T9" fmla="*/ 0 h 31"/>
                <a:gd name="T10" fmla="*/ 0 w 55"/>
                <a:gd name="T11" fmla="*/ 16 h 31"/>
                <a:gd name="T12" fmla="*/ 16 w 55"/>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55" h="31">
                  <a:moveTo>
                    <a:pt x="16" y="31"/>
                  </a:moveTo>
                  <a:cubicBezTo>
                    <a:pt x="39" y="31"/>
                    <a:pt x="39" y="31"/>
                    <a:pt x="39" y="31"/>
                  </a:cubicBezTo>
                  <a:cubicBezTo>
                    <a:pt x="50" y="31"/>
                    <a:pt x="55" y="24"/>
                    <a:pt x="55" y="16"/>
                  </a:cubicBezTo>
                  <a:cubicBezTo>
                    <a:pt x="55" y="7"/>
                    <a:pt x="50" y="0"/>
                    <a:pt x="39" y="0"/>
                  </a:cubicBezTo>
                  <a:cubicBezTo>
                    <a:pt x="16" y="0"/>
                    <a:pt x="16" y="0"/>
                    <a:pt x="16" y="0"/>
                  </a:cubicBezTo>
                  <a:cubicBezTo>
                    <a:pt x="5" y="0"/>
                    <a:pt x="0" y="7"/>
                    <a:pt x="0" y="16"/>
                  </a:cubicBezTo>
                  <a:cubicBezTo>
                    <a:pt x="0" y="24"/>
                    <a:pt x="5" y="31"/>
                    <a:pt x="16" y="31"/>
                  </a:cubicBezTo>
                  <a:close/>
                </a:path>
              </a:pathLst>
            </a:custGeom>
            <a:solidFill>
              <a:srgbClr val="00A9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3A3A3A"/>
                </a:solidFill>
              </a:endParaRPr>
            </a:p>
          </p:txBody>
        </p:sp>
        <p:sp>
          <p:nvSpPr>
            <p:cNvPr id="16" name="Freeform 131">
              <a:extLst>
                <a:ext uri="{FF2B5EF4-FFF2-40B4-BE49-F238E27FC236}">
                  <a16:creationId xmlns:a16="http://schemas.microsoft.com/office/drawing/2014/main" id="{950E6254-14C5-4FEB-8C5F-38698CB335F2}"/>
                </a:ext>
              </a:extLst>
            </p:cNvPr>
            <p:cNvSpPr>
              <a:spLocks/>
            </p:cNvSpPr>
            <p:nvPr/>
          </p:nvSpPr>
          <p:spPr bwMode="auto">
            <a:xfrm>
              <a:off x="1323653" y="2085491"/>
              <a:ext cx="93464" cy="66503"/>
            </a:xfrm>
            <a:custGeom>
              <a:avLst/>
              <a:gdLst>
                <a:gd name="T0" fmla="*/ 16 w 44"/>
                <a:gd name="T1" fmla="*/ 31 h 31"/>
                <a:gd name="T2" fmla="*/ 29 w 44"/>
                <a:gd name="T3" fmla="*/ 31 h 31"/>
                <a:gd name="T4" fmla="*/ 44 w 44"/>
                <a:gd name="T5" fmla="*/ 15 h 31"/>
                <a:gd name="T6" fmla="*/ 29 w 44"/>
                <a:gd name="T7" fmla="*/ 0 h 31"/>
                <a:gd name="T8" fmla="*/ 16 w 44"/>
                <a:gd name="T9" fmla="*/ 0 h 31"/>
                <a:gd name="T10" fmla="*/ 0 w 44"/>
                <a:gd name="T11" fmla="*/ 15 h 31"/>
                <a:gd name="T12" fmla="*/ 16 w 44"/>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44" h="31">
                  <a:moveTo>
                    <a:pt x="16" y="31"/>
                  </a:moveTo>
                  <a:cubicBezTo>
                    <a:pt x="29" y="31"/>
                    <a:pt x="29" y="31"/>
                    <a:pt x="29" y="31"/>
                  </a:cubicBezTo>
                  <a:cubicBezTo>
                    <a:pt x="40" y="31"/>
                    <a:pt x="44" y="24"/>
                    <a:pt x="44" y="15"/>
                  </a:cubicBezTo>
                  <a:cubicBezTo>
                    <a:pt x="44" y="7"/>
                    <a:pt x="40" y="0"/>
                    <a:pt x="29" y="0"/>
                  </a:cubicBezTo>
                  <a:cubicBezTo>
                    <a:pt x="16" y="0"/>
                    <a:pt x="16" y="0"/>
                    <a:pt x="16" y="0"/>
                  </a:cubicBezTo>
                  <a:cubicBezTo>
                    <a:pt x="5" y="0"/>
                    <a:pt x="0" y="7"/>
                    <a:pt x="0" y="15"/>
                  </a:cubicBezTo>
                  <a:cubicBezTo>
                    <a:pt x="0" y="24"/>
                    <a:pt x="5" y="31"/>
                    <a:pt x="16" y="31"/>
                  </a:cubicBezTo>
                  <a:close/>
                </a:path>
              </a:pathLst>
            </a:custGeom>
            <a:solidFill>
              <a:srgbClr val="00A9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3A3A3A"/>
                </a:solidFill>
              </a:endParaRPr>
            </a:p>
          </p:txBody>
        </p:sp>
        <p:sp>
          <p:nvSpPr>
            <p:cNvPr id="17" name="Freeform 132">
              <a:extLst>
                <a:ext uri="{FF2B5EF4-FFF2-40B4-BE49-F238E27FC236}">
                  <a16:creationId xmlns:a16="http://schemas.microsoft.com/office/drawing/2014/main" id="{A4F6DFD2-1CA4-48E0-8975-14D1E5EC2DEF}"/>
                </a:ext>
              </a:extLst>
            </p:cNvPr>
            <p:cNvSpPr>
              <a:spLocks/>
            </p:cNvSpPr>
            <p:nvPr/>
          </p:nvSpPr>
          <p:spPr bwMode="auto">
            <a:xfrm>
              <a:off x="1425205" y="1812289"/>
              <a:ext cx="418790" cy="279493"/>
            </a:xfrm>
            <a:custGeom>
              <a:avLst/>
              <a:gdLst>
                <a:gd name="T0" fmla="*/ 107 w 197"/>
                <a:gd name="T1" fmla="*/ 0 h 132"/>
                <a:gd name="T2" fmla="*/ 78 w 197"/>
                <a:gd name="T3" fmla="*/ 0 h 132"/>
                <a:gd name="T4" fmla="*/ 62 w 197"/>
                <a:gd name="T5" fmla="*/ 0 h 132"/>
                <a:gd name="T6" fmla="*/ 45 w 197"/>
                <a:gd name="T7" fmla="*/ 0 h 132"/>
                <a:gd name="T8" fmla="*/ 38 w 197"/>
                <a:gd name="T9" fmla="*/ 8 h 132"/>
                <a:gd name="T10" fmla="*/ 35 w 197"/>
                <a:gd name="T11" fmla="*/ 12 h 132"/>
                <a:gd name="T12" fmla="*/ 35 w 197"/>
                <a:gd name="T13" fmla="*/ 12 h 132"/>
                <a:gd name="T14" fmla="*/ 31 w 197"/>
                <a:gd name="T15" fmla="*/ 16 h 132"/>
                <a:gd name="T16" fmla="*/ 15 w 197"/>
                <a:gd name="T17" fmla="*/ 35 h 132"/>
                <a:gd name="T18" fmla="*/ 1 w 197"/>
                <a:gd name="T19" fmla="*/ 47 h 132"/>
                <a:gd name="T20" fmla="*/ 0 w 197"/>
                <a:gd name="T21" fmla="*/ 48 h 132"/>
                <a:gd name="T22" fmla="*/ 0 w 197"/>
                <a:gd name="T23" fmla="*/ 50 h 132"/>
                <a:gd name="T24" fmla="*/ 4 w 197"/>
                <a:gd name="T25" fmla="*/ 58 h 132"/>
                <a:gd name="T26" fmla="*/ 18 w 197"/>
                <a:gd name="T27" fmla="*/ 62 h 132"/>
                <a:gd name="T28" fmla="*/ 28 w 197"/>
                <a:gd name="T29" fmla="*/ 61 h 132"/>
                <a:gd name="T30" fmla="*/ 48 w 197"/>
                <a:gd name="T31" fmla="*/ 51 h 132"/>
                <a:gd name="T32" fmla="*/ 55 w 197"/>
                <a:gd name="T33" fmla="*/ 43 h 132"/>
                <a:gd name="T34" fmla="*/ 60 w 197"/>
                <a:gd name="T35" fmla="*/ 41 h 132"/>
                <a:gd name="T36" fmla="*/ 73 w 197"/>
                <a:gd name="T37" fmla="*/ 41 h 132"/>
                <a:gd name="T38" fmla="*/ 89 w 197"/>
                <a:gd name="T39" fmla="*/ 41 h 132"/>
                <a:gd name="T40" fmla="*/ 89 w 197"/>
                <a:gd name="T41" fmla="*/ 41 h 132"/>
                <a:gd name="T42" fmla="*/ 92 w 197"/>
                <a:gd name="T43" fmla="*/ 43 h 132"/>
                <a:gd name="T44" fmla="*/ 137 w 197"/>
                <a:gd name="T45" fmla="*/ 98 h 132"/>
                <a:gd name="T46" fmla="*/ 157 w 197"/>
                <a:gd name="T47" fmla="*/ 121 h 132"/>
                <a:gd name="T48" fmla="*/ 166 w 197"/>
                <a:gd name="T49" fmla="*/ 132 h 132"/>
                <a:gd name="T50" fmla="*/ 191 w 197"/>
                <a:gd name="T51" fmla="*/ 132 h 132"/>
                <a:gd name="T52" fmla="*/ 197 w 197"/>
                <a:gd name="T53" fmla="*/ 85 h 132"/>
                <a:gd name="T54" fmla="*/ 191 w 197"/>
                <a:gd name="T55" fmla="*/ 41 h 132"/>
                <a:gd name="T56" fmla="*/ 174 w 197"/>
                <a:gd name="T57" fmla="*/ 41 h 132"/>
                <a:gd name="T58" fmla="*/ 171 w 197"/>
                <a:gd name="T59" fmla="*/ 40 h 132"/>
                <a:gd name="T60" fmla="*/ 107 w 197"/>
                <a:gd name="T61"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7" h="132">
                  <a:moveTo>
                    <a:pt x="107" y="0"/>
                  </a:moveTo>
                  <a:cubicBezTo>
                    <a:pt x="102" y="0"/>
                    <a:pt x="90" y="0"/>
                    <a:pt x="78" y="0"/>
                  </a:cubicBezTo>
                  <a:cubicBezTo>
                    <a:pt x="78" y="0"/>
                    <a:pt x="62" y="0"/>
                    <a:pt x="62" y="0"/>
                  </a:cubicBezTo>
                  <a:cubicBezTo>
                    <a:pt x="55" y="0"/>
                    <a:pt x="48" y="0"/>
                    <a:pt x="45" y="0"/>
                  </a:cubicBezTo>
                  <a:cubicBezTo>
                    <a:pt x="44" y="1"/>
                    <a:pt x="41" y="4"/>
                    <a:pt x="38" y="8"/>
                  </a:cubicBezTo>
                  <a:cubicBezTo>
                    <a:pt x="37" y="9"/>
                    <a:pt x="36" y="10"/>
                    <a:pt x="35" y="12"/>
                  </a:cubicBezTo>
                  <a:cubicBezTo>
                    <a:pt x="35" y="12"/>
                    <a:pt x="35" y="12"/>
                    <a:pt x="35" y="12"/>
                  </a:cubicBezTo>
                  <a:cubicBezTo>
                    <a:pt x="34" y="14"/>
                    <a:pt x="32" y="15"/>
                    <a:pt x="31" y="16"/>
                  </a:cubicBezTo>
                  <a:cubicBezTo>
                    <a:pt x="26" y="22"/>
                    <a:pt x="20" y="29"/>
                    <a:pt x="15" y="35"/>
                  </a:cubicBezTo>
                  <a:cubicBezTo>
                    <a:pt x="10" y="39"/>
                    <a:pt x="5" y="44"/>
                    <a:pt x="1" y="47"/>
                  </a:cubicBezTo>
                  <a:cubicBezTo>
                    <a:pt x="1" y="47"/>
                    <a:pt x="0" y="48"/>
                    <a:pt x="0" y="48"/>
                  </a:cubicBezTo>
                  <a:cubicBezTo>
                    <a:pt x="0" y="48"/>
                    <a:pt x="0" y="49"/>
                    <a:pt x="0" y="50"/>
                  </a:cubicBezTo>
                  <a:cubicBezTo>
                    <a:pt x="0" y="52"/>
                    <a:pt x="1" y="55"/>
                    <a:pt x="4" y="58"/>
                  </a:cubicBezTo>
                  <a:cubicBezTo>
                    <a:pt x="6" y="60"/>
                    <a:pt x="11" y="62"/>
                    <a:pt x="18" y="62"/>
                  </a:cubicBezTo>
                  <a:cubicBezTo>
                    <a:pt x="21" y="62"/>
                    <a:pt x="24" y="62"/>
                    <a:pt x="28" y="61"/>
                  </a:cubicBezTo>
                  <a:cubicBezTo>
                    <a:pt x="37" y="59"/>
                    <a:pt x="44" y="55"/>
                    <a:pt x="48" y="51"/>
                  </a:cubicBezTo>
                  <a:cubicBezTo>
                    <a:pt x="53" y="47"/>
                    <a:pt x="55" y="44"/>
                    <a:pt x="55" y="43"/>
                  </a:cubicBezTo>
                  <a:cubicBezTo>
                    <a:pt x="56" y="42"/>
                    <a:pt x="58" y="41"/>
                    <a:pt x="60" y="41"/>
                  </a:cubicBezTo>
                  <a:cubicBezTo>
                    <a:pt x="73" y="41"/>
                    <a:pt x="73" y="41"/>
                    <a:pt x="73" y="41"/>
                  </a:cubicBezTo>
                  <a:cubicBezTo>
                    <a:pt x="73" y="41"/>
                    <a:pt x="89" y="41"/>
                    <a:pt x="89" y="41"/>
                  </a:cubicBezTo>
                  <a:cubicBezTo>
                    <a:pt x="89" y="41"/>
                    <a:pt x="89" y="41"/>
                    <a:pt x="89" y="41"/>
                  </a:cubicBezTo>
                  <a:cubicBezTo>
                    <a:pt x="90" y="41"/>
                    <a:pt x="91" y="42"/>
                    <a:pt x="92" y="43"/>
                  </a:cubicBezTo>
                  <a:cubicBezTo>
                    <a:pt x="137" y="98"/>
                    <a:pt x="137" y="98"/>
                    <a:pt x="137" y="98"/>
                  </a:cubicBezTo>
                  <a:cubicBezTo>
                    <a:pt x="145" y="107"/>
                    <a:pt x="151" y="115"/>
                    <a:pt x="157" y="121"/>
                  </a:cubicBezTo>
                  <a:cubicBezTo>
                    <a:pt x="161" y="126"/>
                    <a:pt x="164" y="130"/>
                    <a:pt x="166" y="132"/>
                  </a:cubicBezTo>
                  <a:cubicBezTo>
                    <a:pt x="191" y="132"/>
                    <a:pt x="191" y="132"/>
                    <a:pt x="191" y="132"/>
                  </a:cubicBezTo>
                  <a:cubicBezTo>
                    <a:pt x="195" y="115"/>
                    <a:pt x="197" y="99"/>
                    <a:pt x="197" y="85"/>
                  </a:cubicBezTo>
                  <a:cubicBezTo>
                    <a:pt x="197" y="64"/>
                    <a:pt x="193" y="48"/>
                    <a:pt x="191" y="41"/>
                  </a:cubicBezTo>
                  <a:cubicBezTo>
                    <a:pt x="174" y="41"/>
                    <a:pt x="174" y="41"/>
                    <a:pt x="174" y="41"/>
                  </a:cubicBezTo>
                  <a:cubicBezTo>
                    <a:pt x="173" y="41"/>
                    <a:pt x="172" y="40"/>
                    <a:pt x="171" y="40"/>
                  </a:cubicBezTo>
                  <a:cubicBezTo>
                    <a:pt x="171" y="40"/>
                    <a:pt x="107" y="0"/>
                    <a:pt x="107" y="0"/>
                  </a:cubicBezTo>
                  <a:close/>
                </a:path>
              </a:pathLst>
            </a:custGeom>
            <a:solidFill>
              <a:srgbClr val="00A9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3A3A3A"/>
                </a:solidFill>
              </a:endParaRPr>
            </a:p>
          </p:txBody>
        </p:sp>
        <p:sp>
          <p:nvSpPr>
            <p:cNvPr id="18" name="Freeform 133">
              <a:extLst>
                <a:ext uri="{FF2B5EF4-FFF2-40B4-BE49-F238E27FC236}">
                  <a16:creationId xmlns:a16="http://schemas.microsoft.com/office/drawing/2014/main" id="{CF6306CD-C16F-401C-9FB2-F937D39CC12C}"/>
                </a:ext>
              </a:extLst>
            </p:cNvPr>
            <p:cNvSpPr>
              <a:spLocks/>
            </p:cNvSpPr>
            <p:nvPr/>
          </p:nvSpPr>
          <p:spPr bwMode="auto">
            <a:xfrm>
              <a:off x="1368587" y="1644234"/>
              <a:ext cx="405310" cy="159069"/>
            </a:xfrm>
            <a:custGeom>
              <a:avLst/>
              <a:gdLst>
                <a:gd name="T0" fmla="*/ 61 w 191"/>
                <a:gd name="T1" fmla="*/ 73 h 75"/>
                <a:gd name="T2" fmla="*/ 63 w 191"/>
                <a:gd name="T3" fmla="*/ 70 h 75"/>
                <a:gd name="T4" fmla="*/ 64 w 191"/>
                <a:gd name="T5" fmla="*/ 69 h 75"/>
                <a:gd name="T6" fmla="*/ 69 w 191"/>
                <a:gd name="T7" fmla="*/ 66 h 75"/>
                <a:gd name="T8" fmla="*/ 102 w 191"/>
                <a:gd name="T9" fmla="*/ 66 h 75"/>
                <a:gd name="T10" fmla="*/ 135 w 191"/>
                <a:gd name="T11" fmla="*/ 66 h 75"/>
                <a:gd name="T12" fmla="*/ 138 w 191"/>
                <a:gd name="T13" fmla="*/ 67 h 75"/>
                <a:gd name="T14" fmla="*/ 152 w 191"/>
                <a:gd name="T15" fmla="*/ 75 h 75"/>
                <a:gd name="T16" fmla="*/ 168 w 191"/>
                <a:gd name="T17" fmla="*/ 20 h 75"/>
                <a:gd name="T18" fmla="*/ 138 w 191"/>
                <a:gd name="T19" fmla="*/ 14 h 75"/>
                <a:gd name="T20" fmla="*/ 110 w 191"/>
                <a:gd name="T21" fmla="*/ 42 h 75"/>
                <a:gd name="T22" fmla="*/ 122 w 191"/>
                <a:gd name="T23" fmla="*/ 6 h 75"/>
                <a:gd name="T24" fmla="*/ 92 w 191"/>
                <a:gd name="T25" fmla="*/ 0 h 75"/>
                <a:gd name="T26" fmla="*/ 62 w 191"/>
                <a:gd name="T27" fmla="*/ 6 h 75"/>
                <a:gd name="T28" fmla="*/ 74 w 191"/>
                <a:gd name="T29" fmla="*/ 42 h 75"/>
                <a:gd name="T30" fmla="*/ 47 w 191"/>
                <a:gd name="T31" fmla="*/ 14 h 75"/>
                <a:gd name="T32" fmla="*/ 16 w 191"/>
                <a:gd name="T33" fmla="*/ 20 h 75"/>
                <a:gd name="T34" fmla="*/ 31 w 191"/>
                <a:gd name="T35" fmla="*/ 73 h 75"/>
                <a:gd name="T36" fmla="*/ 61 w 191"/>
                <a:gd name="T37" fmla="*/ 7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1" h="75">
                  <a:moveTo>
                    <a:pt x="61" y="73"/>
                  </a:moveTo>
                  <a:cubicBezTo>
                    <a:pt x="62" y="72"/>
                    <a:pt x="62" y="71"/>
                    <a:pt x="63" y="70"/>
                  </a:cubicBezTo>
                  <a:cubicBezTo>
                    <a:pt x="64" y="69"/>
                    <a:pt x="64" y="69"/>
                    <a:pt x="64" y="69"/>
                  </a:cubicBezTo>
                  <a:cubicBezTo>
                    <a:pt x="65" y="67"/>
                    <a:pt x="67" y="66"/>
                    <a:pt x="69" y="66"/>
                  </a:cubicBezTo>
                  <a:cubicBezTo>
                    <a:pt x="102" y="66"/>
                    <a:pt x="102" y="66"/>
                    <a:pt x="102" y="66"/>
                  </a:cubicBezTo>
                  <a:cubicBezTo>
                    <a:pt x="102" y="66"/>
                    <a:pt x="135" y="66"/>
                    <a:pt x="135" y="66"/>
                  </a:cubicBezTo>
                  <a:cubicBezTo>
                    <a:pt x="136" y="66"/>
                    <a:pt x="137" y="66"/>
                    <a:pt x="138" y="67"/>
                  </a:cubicBezTo>
                  <a:cubicBezTo>
                    <a:pt x="152" y="75"/>
                    <a:pt x="152" y="75"/>
                    <a:pt x="152" y="75"/>
                  </a:cubicBezTo>
                  <a:cubicBezTo>
                    <a:pt x="169" y="43"/>
                    <a:pt x="191" y="31"/>
                    <a:pt x="168" y="20"/>
                  </a:cubicBezTo>
                  <a:cubicBezTo>
                    <a:pt x="160" y="16"/>
                    <a:pt x="143" y="9"/>
                    <a:pt x="138" y="14"/>
                  </a:cubicBezTo>
                  <a:cubicBezTo>
                    <a:pt x="132" y="19"/>
                    <a:pt x="126" y="41"/>
                    <a:pt x="110" y="42"/>
                  </a:cubicBezTo>
                  <a:cubicBezTo>
                    <a:pt x="112" y="33"/>
                    <a:pt x="128" y="16"/>
                    <a:pt x="122" y="6"/>
                  </a:cubicBezTo>
                  <a:cubicBezTo>
                    <a:pt x="118" y="1"/>
                    <a:pt x="97" y="0"/>
                    <a:pt x="92" y="0"/>
                  </a:cubicBezTo>
                  <a:cubicBezTo>
                    <a:pt x="87" y="0"/>
                    <a:pt x="66" y="1"/>
                    <a:pt x="62" y="6"/>
                  </a:cubicBezTo>
                  <a:cubicBezTo>
                    <a:pt x="56" y="16"/>
                    <a:pt x="73" y="33"/>
                    <a:pt x="74" y="42"/>
                  </a:cubicBezTo>
                  <a:cubicBezTo>
                    <a:pt x="58" y="41"/>
                    <a:pt x="52" y="19"/>
                    <a:pt x="47" y="14"/>
                  </a:cubicBezTo>
                  <a:cubicBezTo>
                    <a:pt x="41" y="9"/>
                    <a:pt x="23" y="13"/>
                    <a:pt x="16" y="20"/>
                  </a:cubicBezTo>
                  <a:cubicBezTo>
                    <a:pt x="0" y="39"/>
                    <a:pt x="16" y="45"/>
                    <a:pt x="31" y="73"/>
                  </a:cubicBezTo>
                  <a:lnTo>
                    <a:pt x="61" y="73"/>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a:defRPr/>
              </a:pPr>
              <a:endParaRPr lang="en-US" kern="0" dirty="0">
                <a:solidFill>
                  <a:srgbClr val="3A3A3A"/>
                </a:solidFill>
              </a:endParaRPr>
            </a:p>
          </p:txBody>
        </p:sp>
        <p:sp>
          <p:nvSpPr>
            <p:cNvPr id="21" name="Freeform 134">
              <a:extLst>
                <a:ext uri="{FF2B5EF4-FFF2-40B4-BE49-F238E27FC236}">
                  <a16:creationId xmlns:a16="http://schemas.microsoft.com/office/drawing/2014/main" id="{CB4A609A-41CF-4913-B7D3-6545672CE555}"/>
                </a:ext>
              </a:extLst>
            </p:cNvPr>
            <p:cNvSpPr>
              <a:spLocks noEditPoints="1"/>
            </p:cNvSpPr>
            <p:nvPr/>
          </p:nvSpPr>
          <p:spPr bwMode="auto">
            <a:xfrm>
              <a:off x="1281414" y="1924626"/>
              <a:ext cx="562581" cy="613806"/>
            </a:xfrm>
            <a:custGeom>
              <a:avLst/>
              <a:gdLst>
                <a:gd name="T0" fmla="*/ 196 w 265"/>
                <a:gd name="T1" fmla="*/ 53 h 289"/>
                <a:gd name="T2" fmla="*/ 131 w 265"/>
                <a:gd name="T3" fmla="*/ 0 h 289"/>
                <a:gd name="T4" fmla="*/ 113 w 265"/>
                <a:gd name="T5" fmla="*/ 15 h 289"/>
                <a:gd name="T6" fmla="*/ 82 w 265"/>
                <a:gd name="T7" fmla="*/ 34 h 289"/>
                <a:gd name="T8" fmla="*/ 87 w 265"/>
                <a:gd name="T9" fmla="*/ 50 h 289"/>
                <a:gd name="T10" fmla="*/ 76 w 265"/>
                <a:gd name="T11" fmla="*/ 92 h 289"/>
                <a:gd name="T12" fmla="*/ 36 w 265"/>
                <a:gd name="T13" fmla="*/ 118 h 289"/>
                <a:gd name="T14" fmla="*/ 0 w 265"/>
                <a:gd name="T15" fmla="*/ 200 h 289"/>
                <a:gd name="T16" fmla="*/ 265 w 265"/>
                <a:gd name="T17" fmla="*/ 200 h 289"/>
                <a:gd name="T18" fmla="*/ 237 w 265"/>
                <a:gd name="T19" fmla="*/ 103 h 289"/>
                <a:gd name="T20" fmla="*/ 168 w 265"/>
                <a:gd name="T21" fmla="*/ 203 h 289"/>
                <a:gd name="T22" fmla="*/ 144 w 265"/>
                <a:gd name="T23" fmla="*/ 227 h 289"/>
                <a:gd name="T24" fmla="*/ 126 w 265"/>
                <a:gd name="T25" fmla="*/ 232 h 289"/>
                <a:gd name="T26" fmla="*/ 120 w 265"/>
                <a:gd name="T27" fmla="*/ 212 h 289"/>
                <a:gd name="T28" fmla="*/ 96 w 265"/>
                <a:gd name="T29" fmla="*/ 202 h 289"/>
                <a:gd name="T30" fmla="*/ 85 w 265"/>
                <a:gd name="T31" fmla="*/ 183 h 289"/>
                <a:gd name="T32" fmla="*/ 102 w 265"/>
                <a:gd name="T33" fmla="*/ 177 h 289"/>
                <a:gd name="T34" fmla="*/ 109 w 265"/>
                <a:gd name="T35" fmla="*/ 181 h 289"/>
                <a:gd name="T36" fmla="*/ 121 w 265"/>
                <a:gd name="T37" fmla="*/ 189 h 289"/>
                <a:gd name="T38" fmla="*/ 135 w 265"/>
                <a:gd name="T39" fmla="*/ 191 h 289"/>
                <a:gd name="T40" fmla="*/ 155 w 265"/>
                <a:gd name="T41" fmla="*/ 181 h 289"/>
                <a:gd name="T42" fmla="*/ 155 w 265"/>
                <a:gd name="T43" fmla="*/ 171 h 289"/>
                <a:gd name="T44" fmla="*/ 146 w 265"/>
                <a:gd name="T45" fmla="*/ 165 h 289"/>
                <a:gd name="T46" fmla="*/ 112 w 265"/>
                <a:gd name="T47" fmla="*/ 151 h 289"/>
                <a:gd name="T48" fmla="*/ 89 w 265"/>
                <a:gd name="T49" fmla="*/ 134 h 289"/>
                <a:gd name="T50" fmla="*/ 88 w 265"/>
                <a:gd name="T51" fmla="*/ 103 h 289"/>
                <a:gd name="T52" fmla="*/ 120 w 265"/>
                <a:gd name="T53" fmla="*/ 81 h 289"/>
                <a:gd name="T54" fmla="*/ 126 w 265"/>
                <a:gd name="T55" fmla="*/ 61 h 289"/>
                <a:gd name="T56" fmla="*/ 144 w 265"/>
                <a:gd name="T57" fmla="*/ 67 h 289"/>
                <a:gd name="T58" fmla="*/ 153 w 265"/>
                <a:gd name="T59" fmla="*/ 83 h 289"/>
                <a:gd name="T60" fmla="*/ 177 w 265"/>
                <a:gd name="T61" fmla="*/ 101 h 289"/>
                <a:gd name="T62" fmla="*/ 175 w 265"/>
                <a:gd name="T63" fmla="*/ 116 h 289"/>
                <a:gd name="T64" fmla="*/ 156 w 265"/>
                <a:gd name="T65" fmla="*/ 114 h 289"/>
                <a:gd name="T66" fmla="*/ 154 w 265"/>
                <a:gd name="T67" fmla="*/ 110 h 289"/>
                <a:gd name="T68" fmla="*/ 132 w 265"/>
                <a:gd name="T69" fmla="*/ 103 h 289"/>
                <a:gd name="T70" fmla="*/ 116 w 265"/>
                <a:gd name="T71" fmla="*/ 106 h 289"/>
                <a:gd name="T72" fmla="*/ 108 w 265"/>
                <a:gd name="T73" fmla="*/ 117 h 289"/>
                <a:gd name="T74" fmla="*/ 113 w 265"/>
                <a:gd name="T75" fmla="*/ 125 h 289"/>
                <a:gd name="T76" fmla="*/ 137 w 265"/>
                <a:gd name="T77" fmla="*/ 136 h 289"/>
                <a:gd name="T78" fmla="*/ 167 w 265"/>
                <a:gd name="T79" fmla="*/ 151 h 289"/>
                <a:gd name="T80" fmla="*/ 181 w 265"/>
                <a:gd name="T81" fmla="*/ 177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5" h="289">
                  <a:moveTo>
                    <a:pt x="237" y="103"/>
                  </a:moveTo>
                  <a:cubicBezTo>
                    <a:pt x="196" y="53"/>
                    <a:pt x="196" y="53"/>
                    <a:pt x="196" y="53"/>
                  </a:cubicBezTo>
                  <a:cubicBezTo>
                    <a:pt x="181" y="35"/>
                    <a:pt x="163" y="14"/>
                    <a:pt x="151" y="0"/>
                  </a:cubicBezTo>
                  <a:cubicBezTo>
                    <a:pt x="131" y="0"/>
                    <a:pt x="131" y="0"/>
                    <a:pt x="131" y="0"/>
                  </a:cubicBezTo>
                  <a:cubicBezTo>
                    <a:pt x="130" y="2"/>
                    <a:pt x="128" y="4"/>
                    <a:pt x="125" y="7"/>
                  </a:cubicBezTo>
                  <a:cubicBezTo>
                    <a:pt x="122" y="9"/>
                    <a:pt x="118" y="12"/>
                    <a:pt x="113" y="15"/>
                  </a:cubicBezTo>
                  <a:cubicBezTo>
                    <a:pt x="111" y="20"/>
                    <a:pt x="108" y="24"/>
                    <a:pt x="104" y="28"/>
                  </a:cubicBezTo>
                  <a:cubicBezTo>
                    <a:pt x="98" y="32"/>
                    <a:pt x="90" y="34"/>
                    <a:pt x="82" y="34"/>
                  </a:cubicBezTo>
                  <a:cubicBezTo>
                    <a:pt x="81" y="34"/>
                    <a:pt x="81" y="34"/>
                    <a:pt x="81" y="34"/>
                  </a:cubicBezTo>
                  <a:cubicBezTo>
                    <a:pt x="85" y="39"/>
                    <a:pt x="87" y="44"/>
                    <a:pt x="87" y="50"/>
                  </a:cubicBezTo>
                  <a:cubicBezTo>
                    <a:pt x="87" y="56"/>
                    <a:pt x="83" y="71"/>
                    <a:pt x="68" y="75"/>
                  </a:cubicBezTo>
                  <a:cubicBezTo>
                    <a:pt x="73" y="80"/>
                    <a:pt x="76" y="86"/>
                    <a:pt x="76" y="92"/>
                  </a:cubicBezTo>
                  <a:cubicBezTo>
                    <a:pt x="76" y="99"/>
                    <a:pt x="71" y="118"/>
                    <a:pt x="48" y="118"/>
                  </a:cubicBezTo>
                  <a:cubicBezTo>
                    <a:pt x="36" y="118"/>
                    <a:pt x="36" y="118"/>
                    <a:pt x="36" y="118"/>
                  </a:cubicBezTo>
                  <a:cubicBezTo>
                    <a:pt x="30" y="118"/>
                    <a:pt x="25" y="117"/>
                    <a:pt x="21" y="115"/>
                  </a:cubicBezTo>
                  <a:cubicBezTo>
                    <a:pt x="9" y="139"/>
                    <a:pt x="0" y="167"/>
                    <a:pt x="0" y="200"/>
                  </a:cubicBezTo>
                  <a:cubicBezTo>
                    <a:pt x="1" y="276"/>
                    <a:pt x="48" y="289"/>
                    <a:pt x="132" y="289"/>
                  </a:cubicBezTo>
                  <a:cubicBezTo>
                    <a:pt x="216" y="289"/>
                    <a:pt x="264" y="276"/>
                    <a:pt x="265" y="200"/>
                  </a:cubicBezTo>
                  <a:cubicBezTo>
                    <a:pt x="265" y="162"/>
                    <a:pt x="253" y="130"/>
                    <a:pt x="238" y="104"/>
                  </a:cubicBezTo>
                  <a:cubicBezTo>
                    <a:pt x="238" y="104"/>
                    <a:pt x="237" y="104"/>
                    <a:pt x="237" y="103"/>
                  </a:cubicBezTo>
                  <a:close/>
                  <a:moveTo>
                    <a:pt x="177" y="191"/>
                  </a:moveTo>
                  <a:cubicBezTo>
                    <a:pt x="175" y="195"/>
                    <a:pt x="172" y="199"/>
                    <a:pt x="168" y="203"/>
                  </a:cubicBezTo>
                  <a:cubicBezTo>
                    <a:pt x="161" y="208"/>
                    <a:pt x="154" y="211"/>
                    <a:pt x="144" y="212"/>
                  </a:cubicBezTo>
                  <a:cubicBezTo>
                    <a:pt x="144" y="227"/>
                    <a:pt x="144" y="227"/>
                    <a:pt x="144" y="227"/>
                  </a:cubicBezTo>
                  <a:cubicBezTo>
                    <a:pt x="144" y="230"/>
                    <a:pt x="142" y="232"/>
                    <a:pt x="139" y="232"/>
                  </a:cubicBezTo>
                  <a:cubicBezTo>
                    <a:pt x="126" y="232"/>
                    <a:pt x="126" y="232"/>
                    <a:pt x="126" y="232"/>
                  </a:cubicBezTo>
                  <a:cubicBezTo>
                    <a:pt x="123" y="232"/>
                    <a:pt x="120" y="230"/>
                    <a:pt x="120" y="227"/>
                  </a:cubicBezTo>
                  <a:cubicBezTo>
                    <a:pt x="120" y="212"/>
                    <a:pt x="120" y="212"/>
                    <a:pt x="120" y="212"/>
                  </a:cubicBezTo>
                  <a:cubicBezTo>
                    <a:pt x="118" y="212"/>
                    <a:pt x="115" y="211"/>
                    <a:pt x="112" y="211"/>
                  </a:cubicBezTo>
                  <a:cubicBezTo>
                    <a:pt x="106" y="209"/>
                    <a:pt x="100" y="206"/>
                    <a:pt x="96" y="202"/>
                  </a:cubicBezTo>
                  <a:cubicBezTo>
                    <a:pt x="93" y="199"/>
                    <a:pt x="90" y="196"/>
                    <a:pt x="88" y="193"/>
                  </a:cubicBezTo>
                  <a:cubicBezTo>
                    <a:pt x="86" y="188"/>
                    <a:pt x="85" y="183"/>
                    <a:pt x="85" y="183"/>
                  </a:cubicBezTo>
                  <a:cubicBezTo>
                    <a:pt x="85" y="180"/>
                    <a:pt x="87" y="177"/>
                    <a:pt x="90" y="177"/>
                  </a:cubicBezTo>
                  <a:cubicBezTo>
                    <a:pt x="102" y="177"/>
                    <a:pt x="102" y="177"/>
                    <a:pt x="102" y="177"/>
                  </a:cubicBezTo>
                  <a:cubicBezTo>
                    <a:pt x="106" y="177"/>
                    <a:pt x="108" y="179"/>
                    <a:pt x="109" y="180"/>
                  </a:cubicBezTo>
                  <a:cubicBezTo>
                    <a:pt x="109" y="180"/>
                    <a:pt x="109" y="180"/>
                    <a:pt x="109" y="181"/>
                  </a:cubicBezTo>
                  <a:cubicBezTo>
                    <a:pt x="109" y="182"/>
                    <a:pt x="110" y="183"/>
                    <a:pt x="111" y="184"/>
                  </a:cubicBezTo>
                  <a:cubicBezTo>
                    <a:pt x="113" y="186"/>
                    <a:pt x="116" y="188"/>
                    <a:pt x="121" y="189"/>
                  </a:cubicBezTo>
                  <a:cubicBezTo>
                    <a:pt x="124" y="190"/>
                    <a:pt x="128" y="191"/>
                    <a:pt x="133" y="191"/>
                  </a:cubicBezTo>
                  <a:cubicBezTo>
                    <a:pt x="133" y="191"/>
                    <a:pt x="134" y="191"/>
                    <a:pt x="135" y="191"/>
                  </a:cubicBezTo>
                  <a:cubicBezTo>
                    <a:pt x="141" y="190"/>
                    <a:pt x="146" y="189"/>
                    <a:pt x="149" y="187"/>
                  </a:cubicBezTo>
                  <a:cubicBezTo>
                    <a:pt x="152" y="186"/>
                    <a:pt x="154" y="183"/>
                    <a:pt x="155" y="181"/>
                  </a:cubicBezTo>
                  <a:cubicBezTo>
                    <a:pt x="156" y="180"/>
                    <a:pt x="156" y="179"/>
                    <a:pt x="156" y="177"/>
                  </a:cubicBezTo>
                  <a:cubicBezTo>
                    <a:pt x="156" y="175"/>
                    <a:pt x="156" y="174"/>
                    <a:pt x="155" y="171"/>
                  </a:cubicBezTo>
                  <a:cubicBezTo>
                    <a:pt x="154" y="171"/>
                    <a:pt x="153" y="170"/>
                    <a:pt x="152" y="169"/>
                  </a:cubicBezTo>
                  <a:cubicBezTo>
                    <a:pt x="151" y="167"/>
                    <a:pt x="149" y="166"/>
                    <a:pt x="146" y="165"/>
                  </a:cubicBezTo>
                  <a:cubicBezTo>
                    <a:pt x="141" y="162"/>
                    <a:pt x="135" y="160"/>
                    <a:pt x="128" y="157"/>
                  </a:cubicBezTo>
                  <a:cubicBezTo>
                    <a:pt x="123" y="155"/>
                    <a:pt x="118" y="153"/>
                    <a:pt x="112" y="151"/>
                  </a:cubicBezTo>
                  <a:cubicBezTo>
                    <a:pt x="107" y="149"/>
                    <a:pt x="102" y="146"/>
                    <a:pt x="97" y="143"/>
                  </a:cubicBezTo>
                  <a:cubicBezTo>
                    <a:pt x="94" y="140"/>
                    <a:pt x="91" y="137"/>
                    <a:pt x="89" y="134"/>
                  </a:cubicBezTo>
                  <a:cubicBezTo>
                    <a:pt x="86" y="128"/>
                    <a:pt x="84" y="122"/>
                    <a:pt x="84" y="117"/>
                  </a:cubicBezTo>
                  <a:cubicBezTo>
                    <a:pt x="84" y="112"/>
                    <a:pt x="85" y="107"/>
                    <a:pt x="88" y="103"/>
                  </a:cubicBezTo>
                  <a:cubicBezTo>
                    <a:pt x="90" y="98"/>
                    <a:pt x="93" y="94"/>
                    <a:pt x="97" y="91"/>
                  </a:cubicBezTo>
                  <a:cubicBezTo>
                    <a:pt x="103" y="86"/>
                    <a:pt x="111" y="83"/>
                    <a:pt x="120" y="81"/>
                  </a:cubicBezTo>
                  <a:cubicBezTo>
                    <a:pt x="120" y="67"/>
                    <a:pt x="120" y="67"/>
                    <a:pt x="120" y="67"/>
                  </a:cubicBezTo>
                  <a:cubicBezTo>
                    <a:pt x="120" y="64"/>
                    <a:pt x="123" y="61"/>
                    <a:pt x="126" y="61"/>
                  </a:cubicBezTo>
                  <a:cubicBezTo>
                    <a:pt x="139" y="61"/>
                    <a:pt x="139" y="61"/>
                    <a:pt x="139" y="61"/>
                  </a:cubicBezTo>
                  <a:cubicBezTo>
                    <a:pt x="142" y="61"/>
                    <a:pt x="144" y="64"/>
                    <a:pt x="144" y="67"/>
                  </a:cubicBezTo>
                  <a:cubicBezTo>
                    <a:pt x="144" y="81"/>
                    <a:pt x="144" y="81"/>
                    <a:pt x="144" y="81"/>
                  </a:cubicBezTo>
                  <a:cubicBezTo>
                    <a:pt x="147" y="82"/>
                    <a:pt x="150" y="82"/>
                    <a:pt x="153" y="83"/>
                  </a:cubicBezTo>
                  <a:cubicBezTo>
                    <a:pt x="159" y="85"/>
                    <a:pt x="164" y="88"/>
                    <a:pt x="169" y="92"/>
                  </a:cubicBezTo>
                  <a:cubicBezTo>
                    <a:pt x="172" y="95"/>
                    <a:pt x="175" y="98"/>
                    <a:pt x="177" y="101"/>
                  </a:cubicBezTo>
                  <a:cubicBezTo>
                    <a:pt x="179" y="106"/>
                    <a:pt x="180" y="111"/>
                    <a:pt x="180" y="111"/>
                  </a:cubicBezTo>
                  <a:cubicBezTo>
                    <a:pt x="180" y="114"/>
                    <a:pt x="178" y="116"/>
                    <a:pt x="175" y="116"/>
                  </a:cubicBezTo>
                  <a:cubicBezTo>
                    <a:pt x="162" y="116"/>
                    <a:pt x="162" y="116"/>
                    <a:pt x="162" y="116"/>
                  </a:cubicBezTo>
                  <a:cubicBezTo>
                    <a:pt x="159" y="116"/>
                    <a:pt x="156" y="115"/>
                    <a:pt x="156" y="114"/>
                  </a:cubicBezTo>
                  <a:cubicBezTo>
                    <a:pt x="156" y="114"/>
                    <a:pt x="156" y="114"/>
                    <a:pt x="156" y="113"/>
                  </a:cubicBezTo>
                  <a:cubicBezTo>
                    <a:pt x="155" y="112"/>
                    <a:pt x="155" y="111"/>
                    <a:pt x="154" y="110"/>
                  </a:cubicBezTo>
                  <a:cubicBezTo>
                    <a:pt x="152" y="108"/>
                    <a:pt x="149" y="106"/>
                    <a:pt x="144" y="104"/>
                  </a:cubicBezTo>
                  <a:cubicBezTo>
                    <a:pt x="141" y="104"/>
                    <a:pt x="137" y="103"/>
                    <a:pt x="132" y="103"/>
                  </a:cubicBezTo>
                  <a:cubicBezTo>
                    <a:pt x="131" y="103"/>
                    <a:pt x="131" y="103"/>
                    <a:pt x="130" y="103"/>
                  </a:cubicBezTo>
                  <a:cubicBezTo>
                    <a:pt x="124" y="103"/>
                    <a:pt x="119" y="105"/>
                    <a:pt x="116" y="106"/>
                  </a:cubicBezTo>
                  <a:cubicBezTo>
                    <a:pt x="112" y="108"/>
                    <a:pt x="110" y="110"/>
                    <a:pt x="109" y="112"/>
                  </a:cubicBezTo>
                  <a:cubicBezTo>
                    <a:pt x="109" y="114"/>
                    <a:pt x="108" y="115"/>
                    <a:pt x="108" y="117"/>
                  </a:cubicBezTo>
                  <a:cubicBezTo>
                    <a:pt x="108" y="118"/>
                    <a:pt x="109" y="120"/>
                    <a:pt x="110" y="122"/>
                  </a:cubicBezTo>
                  <a:cubicBezTo>
                    <a:pt x="111" y="123"/>
                    <a:pt x="111" y="124"/>
                    <a:pt x="113" y="125"/>
                  </a:cubicBezTo>
                  <a:cubicBezTo>
                    <a:pt x="114" y="126"/>
                    <a:pt x="116" y="128"/>
                    <a:pt x="119" y="129"/>
                  </a:cubicBezTo>
                  <a:cubicBezTo>
                    <a:pt x="124" y="131"/>
                    <a:pt x="130" y="134"/>
                    <a:pt x="137" y="136"/>
                  </a:cubicBezTo>
                  <a:cubicBezTo>
                    <a:pt x="142" y="138"/>
                    <a:pt x="147" y="140"/>
                    <a:pt x="152" y="143"/>
                  </a:cubicBezTo>
                  <a:cubicBezTo>
                    <a:pt x="158" y="145"/>
                    <a:pt x="163" y="148"/>
                    <a:pt x="167" y="151"/>
                  </a:cubicBezTo>
                  <a:cubicBezTo>
                    <a:pt x="171" y="154"/>
                    <a:pt x="173" y="157"/>
                    <a:pt x="176" y="160"/>
                  </a:cubicBezTo>
                  <a:cubicBezTo>
                    <a:pt x="179" y="165"/>
                    <a:pt x="181" y="171"/>
                    <a:pt x="181" y="177"/>
                  </a:cubicBezTo>
                  <a:cubicBezTo>
                    <a:pt x="181" y="182"/>
                    <a:pt x="179" y="187"/>
                    <a:pt x="177" y="191"/>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a:defRPr/>
              </a:pPr>
              <a:endParaRPr lang="en-US" kern="0" dirty="0">
                <a:solidFill>
                  <a:srgbClr val="3A3A3A"/>
                </a:solidFill>
              </a:endParaRPr>
            </a:p>
          </p:txBody>
        </p:sp>
        <p:sp>
          <p:nvSpPr>
            <p:cNvPr id="22" name="Freeform 135">
              <a:extLst>
                <a:ext uri="{FF2B5EF4-FFF2-40B4-BE49-F238E27FC236}">
                  <a16:creationId xmlns:a16="http://schemas.microsoft.com/office/drawing/2014/main" id="{92E00CAB-8BB3-4413-8AB2-54BBA767E1B9}"/>
                </a:ext>
              </a:extLst>
            </p:cNvPr>
            <p:cNvSpPr>
              <a:spLocks/>
            </p:cNvSpPr>
            <p:nvPr/>
          </p:nvSpPr>
          <p:spPr bwMode="auto">
            <a:xfrm>
              <a:off x="1809845" y="1856325"/>
              <a:ext cx="148284" cy="275898"/>
            </a:xfrm>
            <a:custGeom>
              <a:avLst/>
              <a:gdLst>
                <a:gd name="T0" fmla="*/ 56 w 70"/>
                <a:gd name="T1" fmla="*/ 0 h 130"/>
                <a:gd name="T2" fmla="*/ 56 w 70"/>
                <a:gd name="T3" fmla="*/ 0 h 130"/>
                <a:gd name="T4" fmla="*/ 7 w 70"/>
                <a:gd name="T5" fmla="*/ 0 h 130"/>
                <a:gd name="T6" fmla="*/ 0 w 70"/>
                <a:gd name="T7" fmla="*/ 7 h 130"/>
                <a:gd name="T8" fmla="*/ 15 w 70"/>
                <a:gd name="T9" fmla="*/ 7 h 130"/>
                <a:gd name="T10" fmla="*/ 21 w 70"/>
                <a:gd name="T11" fmla="*/ 12 h 130"/>
                <a:gd name="T12" fmla="*/ 28 w 70"/>
                <a:gd name="T13" fmla="*/ 64 h 130"/>
                <a:gd name="T14" fmla="*/ 21 w 70"/>
                <a:gd name="T15" fmla="*/ 119 h 130"/>
                <a:gd name="T16" fmla="*/ 15 w 70"/>
                <a:gd name="T17" fmla="*/ 123 h 130"/>
                <a:gd name="T18" fmla="*/ 3 w 70"/>
                <a:gd name="T19" fmla="*/ 123 h 130"/>
                <a:gd name="T20" fmla="*/ 7 w 70"/>
                <a:gd name="T21" fmla="*/ 130 h 130"/>
                <a:gd name="T22" fmla="*/ 56 w 70"/>
                <a:gd name="T23" fmla="*/ 130 h 130"/>
                <a:gd name="T24" fmla="*/ 70 w 70"/>
                <a:gd name="T25" fmla="*/ 63 h 130"/>
                <a:gd name="T26" fmla="*/ 56 w 70"/>
                <a:gd name="T27"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130">
                  <a:moveTo>
                    <a:pt x="56" y="0"/>
                  </a:moveTo>
                  <a:cubicBezTo>
                    <a:pt x="56" y="0"/>
                    <a:pt x="56" y="0"/>
                    <a:pt x="56" y="0"/>
                  </a:cubicBezTo>
                  <a:cubicBezTo>
                    <a:pt x="7" y="0"/>
                    <a:pt x="7" y="0"/>
                    <a:pt x="7" y="0"/>
                  </a:cubicBezTo>
                  <a:cubicBezTo>
                    <a:pt x="4" y="1"/>
                    <a:pt x="2" y="3"/>
                    <a:pt x="0" y="7"/>
                  </a:cubicBezTo>
                  <a:cubicBezTo>
                    <a:pt x="15" y="7"/>
                    <a:pt x="15" y="7"/>
                    <a:pt x="15" y="7"/>
                  </a:cubicBezTo>
                  <a:cubicBezTo>
                    <a:pt x="17" y="7"/>
                    <a:pt x="20" y="9"/>
                    <a:pt x="21" y="12"/>
                  </a:cubicBezTo>
                  <a:cubicBezTo>
                    <a:pt x="21" y="12"/>
                    <a:pt x="28" y="33"/>
                    <a:pt x="28" y="64"/>
                  </a:cubicBezTo>
                  <a:cubicBezTo>
                    <a:pt x="28" y="80"/>
                    <a:pt x="26" y="99"/>
                    <a:pt x="21" y="119"/>
                  </a:cubicBezTo>
                  <a:cubicBezTo>
                    <a:pt x="20" y="121"/>
                    <a:pt x="18" y="123"/>
                    <a:pt x="15" y="123"/>
                  </a:cubicBezTo>
                  <a:cubicBezTo>
                    <a:pt x="3" y="123"/>
                    <a:pt x="3" y="123"/>
                    <a:pt x="3" y="123"/>
                  </a:cubicBezTo>
                  <a:cubicBezTo>
                    <a:pt x="4" y="126"/>
                    <a:pt x="4" y="128"/>
                    <a:pt x="7" y="130"/>
                  </a:cubicBezTo>
                  <a:cubicBezTo>
                    <a:pt x="7" y="130"/>
                    <a:pt x="56" y="130"/>
                    <a:pt x="56" y="130"/>
                  </a:cubicBezTo>
                  <a:cubicBezTo>
                    <a:pt x="64" y="128"/>
                    <a:pt x="70" y="96"/>
                    <a:pt x="70" y="63"/>
                  </a:cubicBezTo>
                  <a:cubicBezTo>
                    <a:pt x="70" y="30"/>
                    <a:pt x="64" y="3"/>
                    <a:pt x="56" y="0"/>
                  </a:cubicBezTo>
                  <a:close/>
                </a:path>
              </a:pathLst>
            </a:custGeom>
            <a:solidFill>
              <a:srgbClr val="00A9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3A3A3A"/>
                </a:solidFill>
              </a:endParaRPr>
            </a:p>
          </p:txBody>
        </p:sp>
        <p:sp>
          <p:nvSpPr>
            <p:cNvPr id="23" name="Freeform 136">
              <a:extLst>
                <a:ext uri="{FF2B5EF4-FFF2-40B4-BE49-F238E27FC236}">
                  <a16:creationId xmlns:a16="http://schemas.microsoft.com/office/drawing/2014/main" id="{0CFA0A77-4F70-4DD9-BE43-9C75DDAB0B15}"/>
                </a:ext>
              </a:extLst>
            </p:cNvPr>
            <p:cNvSpPr>
              <a:spLocks/>
            </p:cNvSpPr>
            <p:nvPr/>
          </p:nvSpPr>
          <p:spPr bwMode="auto">
            <a:xfrm>
              <a:off x="1347019" y="1820377"/>
              <a:ext cx="131209" cy="65605"/>
            </a:xfrm>
            <a:custGeom>
              <a:avLst/>
              <a:gdLst>
                <a:gd name="T0" fmla="*/ 17 w 62"/>
                <a:gd name="T1" fmla="*/ 31 h 31"/>
                <a:gd name="T2" fmla="*/ 34 w 62"/>
                <a:gd name="T3" fmla="*/ 31 h 31"/>
                <a:gd name="T4" fmla="*/ 55 w 62"/>
                <a:gd name="T5" fmla="*/ 8 h 31"/>
                <a:gd name="T6" fmla="*/ 62 w 62"/>
                <a:gd name="T7" fmla="*/ 0 h 31"/>
                <a:gd name="T8" fmla="*/ 62 w 62"/>
                <a:gd name="T9" fmla="*/ 0 h 31"/>
                <a:gd name="T10" fmla="*/ 17 w 62"/>
                <a:gd name="T11" fmla="*/ 0 h 31"/>
                <a:gd name="T12" fmla="*/ 0 w 62"/>
                <a:gd name="T13" fmla="*/ 15 h 31"/>
                <a:gd name="T14" fmla="*/ 17 w 62"/>
                <a:gd name="T15" fmla="*/ 3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31">
                  <a:moveTo>
                    <a:pt x="17" y="31"/>
                  </a:moveTo>
                  <a:cubicBezTo>
                    <a:pt x="34" y="31"/>
                    <a:pt x="34" y="31"/>
                    <a:pt x="34" y="31"/>
                  </a:cubicBezTo>
                  <a:cubicBezTo>
                    <a:pt x="40" y="25"/>
                    <a:pt x="48" y="16"/>
                    <a:pt x="55" y="8"/>
                  </a:cubicBezTo>
                  <a:cubicBezTo>
                    <a:pt x="58" y="5"/>
                    <a:pt x="60" y="3"/>
                    <a:pt x="62" y="0"/>
                  </a:cubicBezTo>
                  <a:cubicBezTo>
                    <a:pt x="62" y="0"/>
                    <a:pt x="62" y="0"/>
                    <a:pt x="62" y="0"/>
                  </a:cubicBezTo>
                  <a:cubicBezTo>
                    <a:pt x="17" y="0"/>
                    <a:pt x="17" y="0"/>
                    <a:pt x="17" y="0"/>
                  </a:cubicBezTo>
                  <a:cubicBezTo>
                    <a:pt x="6" y="0"/>
                    <a:pt x="0" y="7"/>
                    <a:pt x="0" y="15"/>
                  </a:cubicBezTo>
                  <a:cubicBezTo>
                    <a:pt x="0" y="24"/>
                    <a:pt x="6" y="31"/>
                    <a:pt x="17" y="31"/>
                  </a:cubicBezTo>
                  <a:close/>
                </a:path>
              </a:pathLst>
            </a:custGeom>
            <a:solidFill>
              <a:srgbClr val="00A9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3A3A3A"/>
                </a:solidFill>
              </a:endParaRPr>
            </a:p>
          </p:txBody>
        </p:sp>
        <p:sp>
          <p:nvSpPr>
            <p:cNvPr id="24" name="Freeform 137">
              <a:extLst>
                <a:ext uri="{FF2B5EF4-FFF2-40B4-BE49-F238E27FC236}">
                  <a16:creationId xmlns:a16="http://schemas.microsoft.com/office/drawing/2014/main" id="{A725CB81-F41F-4C5A-99DE-8B0BE6B1BE48}"/>
                </a:ext>
              </a:extLst>
            </p:cNvPr>
            <p:cNvSpPr>
              <a:spLocks/>
            </p:cNvSpPr>
            <p:nvPr/>
          </p:nvSpPr>
          <p:spPr bwMode="auto">
            <a:xfrm>
              <a:off x="1323653" y="1909348"/>
              <a:ext cx="157271" cy="65605"/>
            </a:xfrm>
            <a:custGeom>
              <a:avLst/>
              <a:gdLst>
                <a:gd name="T0" fmla="*/ 16 w 74"/>
                <a:gd name="T1" fmla="*/ 31 h 31"/>
                <a:gd name="T2" fmla="*/ 62 w 74"/>
                <a:gd name="T3" fmla="*/ 31 h 31"/>
                <a:gd name="T4" fmla="*/ 74 w 74"/>
                <a:gd name="T5" fmla="*/ 28 h 31"/>
                <a:gd name="T6" fmla="*/ 66 w 74"/>
                <a:gd name="T7" fmla="*/ 29 h 31"/>
                <a:gd name="T8" fmla="*/ 43 w 74"/>
                <a:gd name="T9" fmla="*/ 21 h 31"/>
                <a:gd name="T10" fmla="*/ 36 w 74"/>
                <a:gd name="T11" fmla="*/ 4 h 31"/>
                <a:gd name="T12" fmla="*/ 36 w 74"/>
                <a:gd name="T13" fmla="*/ 0 h 31"/>
                <a:gd name="T14" fmla="*/ 16 w 74"/>
                <a:gd name="T15" fmla="*/ 0 h 31"/>
                <a:gd name="T16" fmla="*/ 0 w 74"/>
                <a:gd name="T17" fmla="*/ 16 h 31"/>
                <a:gd name="T18" fmla="*/ 16 w 74"/>
                <a:gd name="T1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31">
                  <a:moveTo>
                    <a:pt x="16" y="31"/>
                  </a:moveTo>
                  <a:cubicBezTo>
                    <a:pt x="62" y="31"/>
                    <a:pt x="62" y="31"/>
                    <a:pt x="62" y="31"/>
                  </a:cubicBezTo>
                  <a:cubicBezTo>
                    <a:pt x="66" y="31"/>
                    <a:pt x="70" y="30"/>
                    <a:pt x="74" y="28"/>
                  </a:cubicBezTo>
                  <a:cubicBezTo>
                    <a:pt x="71" y="28"/>
                    <a:pt x="68" y="29"/>
                    <a:pt x="66" y="29"/>
                  </a:cubicBezTo>
                  <a:cubicBezTo>
                    <a:pt x="56" y="29"/>
                    <a:pt x="49" y="26"/>
                    <a:pt x="43" y="21"/>
                  </a:cubicBezTo>
                  <a:cubicBezTo>
                    <a:pt x="38" y="16"/>
                    <a:pt x="36" y="10"/>
                    <a:pt x="36" y="4"/>
                  </a:cubicBezTo>
                  <a:cubicBezTo>
                    <a:pt x="36" y="3"/>
                    <a:pt x="36" y="2"/>
                    <a:pt x="36" y="0"/>
                  </a:cubicBezTo>
                  <a:cubicBezTo>
                    <a:pt x="16" y="0"/>
                    <a:pt x="16" y="0"/>
                    <a:pt x="16" y="0"/>
                  </a:cubicBezTo>
                  <a:cubicBezTo>
                    <a:pt x="5" y="0"/>
                    <a:pt x="0" y="7"/>
                    <a:pt x="0" y="16"/>
                  </a:cubicBezTo>
                  <a:cubicBezTo>
                    <a:pt x="0" y="24"/>
                    <a:pt x="5" y="31"/>
                    <a:pt x="16" y="31"/>
                  </a:cubicBezTo>
                  <a:close/>
                </a:path>
              </a:pathLst>
            </a:custGeom>
            <a:solidFill>
              <a:srgbClr val="00A9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3A3A3A"/>
                </a:solidFill>
              </a:endParaRPr>
            </a:p>
          </p:txBody>
        </p:sp>
      </p:grpSp>
      <p:sp>
        <p:nvSpPr>
          <p:cNvPr id="26" name="Freeform 11">
            <a:extLst>
              <a:ext uri="{FF2B5EF4-FFF2-40B4-BE49-F238E27FC236}">
                <a16:creationId xmlns:a16="http://schemas.microsoft.com/office/drawing/2014/main" id="{BDC37A0E-C956-4950-8026-469CD6A3B70D}"/>
              </a:ext>
            </a:extLst>
          </p:cNvPr>
          <p:cNvSpPr>
            <a:spLocks noEditPoints="1"/>
          </p:cNvSpPr>
          <p:nvPr/>
        </p:nvSpPr>
        <p:spPr bwMode="auto">
          <a:xfrm flipH="1">
            <a:off x="2937305" y="4418589"/>
            <a:ext cx="633488" cy="613804"/>
          </a:xfrm>
          <a:custGeom>
            <a:avLst/>
            <a:gdLst>
              <a:gd name="T0" fmla="*/ 62 w 240"/>
              <a:gd name="T1" fmla="*/ 176 h 232"/>
              <a:gd name="T2" fmla="*/ 96 w 240"/>
              <a:gd name="T3" fmla="*/ 216 h 232"/>
              <a:gd name="T4" fmla="*/ 0 w 240"/>
              <a:gd name="T5" fmla="*/ 188 h 232"/>
              <a:gd name="T6" fmla="*/ 0 w 240"/>
              <a:gd name="T7" fmla="*/ 175 h 232"/>
              <a:gd name="T8" fmla="*/ 60 w 240"/>
              <a:gd name="T9" fmla="*/ 136 h 232"/>
              <a:gd name="T10" fmla="*/ 32 w 240"/>
              <a:gd name="T11" fmla="*/ 176 h 232"/>
              <a:gd name="T12" fmla="*/ 62 w 240"/>
              <a:gd name="T13" fmla="*/ 176 h 232"/>
              <a:gd name="T14" fmla="*/ 120 w 240"/>
              <a:gd name="T15" fmla="*/ 128 h 232"/>
              <a:gd name="T16" fmla="*/ 139 w 240"/>
              <a:gd name="T17" fmla="*/ 126 h 232"/>
              <a:gd name="T18" fmla="*/ 167 w 240"/>
              <a:gd name="T19" fmla="*/ 111 h 232"/>
              <a:gd name="T20" fmla="*/ 112 w 240"/>
              <a:gd name="T21" fmla="*/ 7 h 232"/>
              <a:gd name="T22" fmla="*/ 96 w 240"/>
              <a:gd name="T23" fmla="*/ 0 h 232"/>
              <a:gd name="T24" fmla="*/ 24 w 240"/>
              <a:gd name="T25" fmla="*/ 112 h 232"/>
              <a:gd name="T26" fmla="*/ 72 w 240"/>
              <a:gd name="T27" fmla="*/ 128 h 232"/>
              <a:gd name="T28" fmla="*/ 72 w 240"/>
              <a:gd name="T29" fmla="*/ 137 h 232"/>
              <a:gd name="T30" fmla="*/ 96 w 240"/>
              <a:gd name="T31" fmla="*/ 216 h 232"/>
              <a:gd name="T32" fmla="*/ 120 w 240"/>
              <a:gd name="T33" fmla="*/ 137 h 232"/>
              <a:gd name="T34" fmla="*/ 120 w 240"/>
              <a:gd name="T35" fmla="*/ 128 h 232"/>
              <a:gd name="T36" fmla="*/ 118 w 240"/>
              <a:gd name="T37" fmla="*/ 190 h 232"/>
              <a:gd name="T38" fmla="*/ 96 w 240"/>
              <a:gd name="T39" fmla="*/ 216 h 232"/>
              <a:gd name="T40" fmla="*/ 128 w 240"/>
              <a:gd name="T41" fmla="*/ 214 h 232"/>
              <a:gd name="T42" fmla="*/ 118 w 240"/>
              <a:gd name="T43" fmla="*/ 190 h 232"/>
              <a:gd name="T44" fmla="*/ 240 w 240"/>
              <a:gd name="T45" fmla="*/ 176 h 232"/>
              <a:gd name="T46" fmla="*/ 184 w 240"/>
              <a:gd name="T47" fmla="*/ 232 h 232"/>
              <a:gd name="T48" fmla="*/ 128 w 240"/>
              <a:gd name="T49" fmla="*/ 176 h 232"/>
              <a:gd name="T50" fmla="*/ 184 w 240"/>
              <a:gd name="T51" fmla="*/ 120 h 232"/>
              <a:gd name="T52" fmla="*/ 240 w 240"/>
              <a:gd name="T53" fmla="*/ 176 h 232"/>
              <a:gd name="T54" fmla="*/ 225 w 240"/>
              <a:gd name="T55" fmla="*/ 176 h 232"/>
              <a:gd name="T56" fmla="*/ 184 w 240"/>
              <a:gd name="T57" fmla="*/ 135 h 232"/>
              <a:gd name="T58" fmla="*/ 143 w 240"/>
              <a:gd name="T59" fmla="*/ 176 h 232"/>
              <a:gd name="T60" fmla="*/ 184 w 240"/>
              <a:gd name="T61" fmla="*/ 217 h 232"/>
              <a:gd name="T62" fmla="*/ 225 w 240"/>
              <a:gd name="T63" fmla="*/ 176 h 232"/>
              <a:gd name="T64" fmla="*/ 211 w 240"/>
              <a:gd name="T65" fmla="*/ 158 h 232"/>
              <a:gd name="T66" fmla="*/ 205 w 240"/>
              <a:gd name="T67" fmla="*/ 153 h 232"/>
              <a:gd name="T68" fmla="*/ 201 w 240"/>
              <a:gd name="T69" fmla="*/ 153 h 232"/>
              <a:gd name="T70" fmla="*/ 179 w 240"/>
              <a:gd name="T71" fmla="*/ 179 h 232"/>
              <a:gd name="T72" fmla="*/ 167 w 240"/>
              <a:gd name="T73" fmla="*/ 167 h 232"/>
              <a:gd name="T74" fmla="*/ 163 w 240"/>
              <a:gd name="T75" fmla="*/ 167 h 232"/>
              <a:gd name="T76" fmla="*/ 157 w 240"/>
              <a:gd name="T77" fmla="*/ 172 h 232"/>
              <a:gd name="T78" fmla="*/ 157 w 240"/>
              <a:gd name="T79" fmla="*/ 178 h 232"/>
              <a:gd name="T80" fmla="*/ 177 w 240"/>
              <a:gd name="T81" fmla="*/ 199 h 232"/>
              <a:gd name="T82" fmla="*/ 182 w 240"/>
              <a:gd name="T83" fmla="*/ 199 h 232"/>
              <a:gd name="T84" fmla="*/ 211 w 240"/>
              <a:gd name="T85" fmla="*/ 163 h 232"/>
              <a:gd name="T86" fmla="*/ 211 w 240"/>
              <a:gd name="T87" fmla="*/ 158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0" h="232">
                <a:moveTo>
                  <a:pt x="62" y="176"/>
                </a:moveTo>
                <a:cubicBezTo>
                  <a:pt x="96" y="216"/>
                  <a:pt x="96" y="216"/>
                  <a:pt x="96" y="216"/>
                </a:cubicBezTo>
                <a:cubicBezTo>
                  <a:pt x="44" y="216"/>
                  <a:pt x="0" y="197"/>
                  <a:pt x="0" y="188"/>
                </a:cubicBezTo>
                <a:cubicBezTo>
                  <a:pt x="0" y="180"/>
                  <a:pt x="0" y="186"/>
                  <a:pt x="0" y="175"/>
                </a:cubicBezTo>
                <a:cubicBezTo>
                  <a:pt x="0" y="146"/>
                  <a:pt x="38" y="150"/>
                  <a:pt x="60" y="136"/>
                </a:cubicBezTo>
                <a:cubicBezTo>
                  <a:pt x="32" y="176"/>
                  <a:pt x="32" y="176"/>
                  <a:pt x="32" y="176"/>
                </a:cubicBezTo>
                <a:lnTo>
                  <a:pt x="62" y="176"/>
                </a:lnTo>
                <a:close/>
                <a:moveTo>
                  <a:pt x="120" y="128"/>
                </a:moveTo>
                <a:cubicBezTo>
                  <a:pt x="127" y="128"/>
                  <a:pt x="134" y="127"/>
                  <a:pt x="139" y="126"/>
                </a:cubicBezTo>
                <a:cubicBezTo>
                  <a:pt x="147" y="119"/>
                  <a:pt x="156" y="114"/>
                  <a:pt x="167" y="111"/>
                </a:cubicBezTo>
                <a:cubicBezTo>
                  <a:pt x="126" y="77"/>
                  <a:pt x="168" y="7"/>
                  <a:pt x="112" y="7"/>
                </a:cubicBezTo>
                <a:cubicBezTo>
                  <a:pt x="112" y="7"/>
                  <a:pt x="110" y="0"/>
                  <a:pt x="96" y="0"/>
                </a:cubicBezTo>
                <a:cubicBezTo>
                  <a:pt x="20" y="0"/>
                  <a:pt x="63" y="92"/>
                  <a:pt x="24" y="112"/>
                </a:cubicBezTo>
                <a:cubicBezTo>
                  <a:pt x="24" y="112"/>
                  <a:pt x="32" y="128"/>
                  <a:pt x="72" y="128"/>
                </a:cubicBezTo>
                <a:cubicBezTo>
                  <a:pt x="72" y="137"/>
                  <a:pt x="72" y="137"/>
                  <a:pt x="72" y="137"/>
                </a:cubicBezTo>
                <a:cubicBezTo>
                  <a:pt x="96" y="216"/>
                  <a:pt x="96" y="216"/>
                  <a:pt x="96" y="216"/>
                </a:cubicBezTo>
                <a:cubicBezTo>
                  <a:pt x="120" y="137"/>
                  <a:pt x="120" y="137"/>
                  <a:pt x="120" y="137"/>
                </a:cubicBezTo>
                <a:lnTo>
                  <a:pt x="120" y="128"/>
                </a:lnTo>
                <a:close/>
                <a:moveTo>
                  <a:pt x="118" y="190"/>
                </a:moveTo>
                <a:cubicBezTo>
                  <a:pt x="96" y="216"/>
                  <a:pt x="96" y="216"/>
                  <a:pt x="96" y="216"/>
                </a:cubicBezTo>
                <a:cubicBezTo>
                  <a:pt x="107" y="216"/>
                  <a:pt x="118" y="215"/>
                  <a:pt x="128" y="214"/>
                </a:cubicBezTo>
                <a:cubicBezTo>
                  <a:pt x="124" y="207"/>
                  <a:pt x="120" y="199"/>
                  <a:pt x="118" y="190"/>
                </a:cubicBezTo>
                <a:close/>
                <a:moveTo>
                  <a:pt x="240" y="176"/>
                </a:moveTo>
                <a:cubicBezTo>
                  <a:pt x="240" y="207"/>
                  <a:pt x="215" y="232"/>
                  <a:pt x="184" y="232"/>
                </a:cubicBezTo>
                <a:cubicBezTo>
                  <a:pt x="153" y="232"/>
                  <a:pt x="128" y="207"/>
                  <a:pt x="128" y="176"/>
                </a:cubicBezTo>
                <a:cubicBezTo>
                  <a:pt x="128" y="145"/>
                  <a:pt x="153" y="120"/>
                  <a:pt x="184" y="120"/>
                </a:cubicBezTo>
                <a:cubicBezTo>
                  <a:pt x="215" y="120"/>
                  <a:pt x="240" y="145"/>
                  <a:pt x="240" y="176"/>
                </a:cubicBezTo>
                <a:close/>
                <a:moveTo>
                  <a:pt x="225" y="176"/>
                </a:moveTo>
                <a:cubicBezTo>
                  <a:pt x="225" y="153"/>
                  <a:pt x="207" y="135"/>
                  <a:pt x="184" y="135"/>
                </a:cubicBezTo>
                <a:cubicBezTo>
                  <a:pt x="162" y="135"/>
                  <a:pt x="143" y="153"/>
                  <a:pt x="143" y="176"/>
                </a:cubicBezTo>
                <a:cubicBezTo>
                  <a:pt x="143" y="198"/>
                  <a:pt x="162" y="217"/>
                  <a:pt x="184" y="217"/>
                </a:cubicBezTo>
                <a:cubicBezTo>
                  <a:pt x="207" y="217"/>
                  <a:pt x="225" y="198"/>
                  <a:pt x="225" y="176"/>
                </a:cubicBezTo>
                <a:close/>
                <a:moveTo>
                  <a:pt x="211" y="158"/>
                </a:moveTo>
                <a:cubicBezTo>
                  <a:pt x="205" y="153"/>
                  <a:pt x="205" y="153"/>
                  <a:pt x="205" y="153"/>
                </a:cubicBezTo>
                <a:cubicBezTo>
                  <a:pt x="204" y="152"/>
                  <a:pt x="202" y="152"/>
                  <a:pt x="201" y="153"/>
                </a:cubicBezTo>
                <a:cubicBezTo>
                  <a:pt x="179" y="179"/>
                  <a:pt x="179" y="179"/>
                  <a:pt x="179" y="179"/>
                </a:cubicBezTo>
                <a:cubicBezTo>
                  <a:pt x="167" y="167"/>
                  <a:pt x="167" y="167"/>
                  <a:pt x="167" y="167"/>
                </a:cubicBezTo>
                <a:cubicBezTo>
                  <a:pt x="166" y="165"/>
                  <a:pt x="164" y="165"/>
                  <a:pt x="163" y="167"/>
                </a:cubicBezTo>
                <a:cubicBezTo>
                  <a:pt x="157" y="172"/>
                  <a:pt x="157" y="172"/>
                  <a:pt x="157" y="172"/>
                </a:cubicBezTo>
                <a:cubicBezTo>
                  <a:pt x="156" y="174"/>
                  <a:pt x="156" y="176"/>
                  <a:pt x="157" y="178"/>
                </a:cubicBezTo>
                <a:cubicBezTo>
                  <a:pt x="177" y="199"/>
                  <a:pt x="177" y="199"/>
                  <a:pt x="177" y="199"/>
                </a:cubicBezTo>
                <a:cubicBezTo>
                  <a:pt x="178" y="200"/>
                  <a:pt x="180" y="200"/>
                  <a:pt x="182" y="199"/>
                </a:cubicBezTo>
                <a:cubicBezTo>
                  <a:pt x="211" y="163"/>
                  <a:pt x="211" y="163"/>
                  <a:pt x="211" y="163"/>
                </a:cubicBezTo>
                <a:cubicBezTo>
                  <a:pt x="212" y="162"/>
                  <a:pt x="212" y="160"/>
                  <a:pt x="211" y="15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3" name="Group 2">
            <a:extLst>
              <a:ext uri="{FF2B5EF4-FFF2-40B4-BE49-F238E27FC236}">
                <a16:creationId xmlns:a16="http://schemas.microsoft.com/office/drawing/2014/main" id="{AD94AB60-91A6-468A-A8BC-B94A3C7ADAA4}"/>
              </a:ext>
            </a:extLst>
          </p:cNvPr>
          <p:cNvGrpSpPr/>
          <p:nvPr/>
        </p:nvGrpSpPr>
        <p:grpSpPr>
          <a:xfrm>
            <a:off x="2624486" y="4418590"/>
            <a:ext cx="613804" cy="613804"/>
            <a:chOff x="-68623" y="3203456"/>
            <a:chExt cx="544513" cy="544513"/>
          </a:xfrm>
        </p:grpSpPr>
        <p:sp>
          <p:nvSpPr>
            <p:cNvPr id="27" name="Freeform 10">
              <a:extLst>
                <a:ext uri="{FF2B5EF4-FFF2-40B4-BE49-F238E27FC236}">
                  <a16:creationId xmlns:a16="http://schemas.microsoft.com/office/drawing/2014/main" id="{314CDFA2-D577-4CBA-897C-4FDA7DE9C0F9}"/>
                </a:ext>
              </a:extLst>
            </p:cNvPr>
            <p:cNvSpPr>
              <a:spLocks noEditPoints="1"/>
            </p:cNvSpPr>
            <p:nvPr/>
          </p:nvSpPr>
          <p:spPr bwMode="auto">
            <a:xfrm>
              <a:off x="-68623" y="3203456"/>
              <a:ext cx="544513" cy="544513"/>
            </a:xfrm>
            <a:custGeom>
              <a:avLst/>
              <a:gdLst>
                <a:gd name="T0" fmla="*/ 151 w 232"/>
                <a:gd name="T1" fmla="*/ 70 h 232"/>
                <a:gd name="T2" fmla="*/ 138 w 232"/>
                <a:gd name="T3" fmla="*/ 87 h 232"/>
                <a:gd name="T4" fmla="*/ 96 w 232"/>
                <a:gd name="T5" fmla="*/ 128 h 232"/>
                <a:gd name="T6" fmla="*/ 54 w 232"/>
                <a:gd name="T7" fmla="*/ 87 h 232"/>
                <a:gd name="T8" fmla="*/ 41 w 232"/>
                <a:gd name="T9" fmla="*/ 70 h 232"/>
                <a:gd name="T10" fmla="*/ 49 w 232"/>
                <a:gd name="T11" fmla="*/ 56 h 232"/>
                <a:gd name="T12" fmla="*/ 82 w 232"/>
                <a:gd name="T13" fmla="*/ 8 h 232"/>
                <a:gd name="T14" fmla="*/ 93 w 232"/>
                <a:gd name="T15" fmla="*/ 0 h 232"/>
                <a:gd name="T16" fmla="*/ 143 w 232"/>
                <a:gd name="T17" fmla="*/ 56 h 232"/>
                <a:gd name="T18" fmla="*/ 151 w 232"/>
                <a:gd name="T19" fmla="*/ 70 h 232"/>
                <a:gd name="T20" fmla="*/ 109 w 232"/>
                <a:gd name="T21" fmla="*/ 180 h 232"/>
                <a:gd name="T22" fmla="*/ 102 w 232"/>
                <a:gd name="T23" fmla="*/ 162 h 232"/>
                <a:gd name="T24" fmla="*/ 112 w 232"/>
                <a:gd name="T25" fmla="*/ 146 h 232"/>
                <a:gd name="T26" fmla="*/ 96 w 232"/>
                <a:gd name="T27" fmla="*/ 136 h 232"/>
                <a:gd name="T28" fmla="*/ 80 w 232"/>
                <a:gd name="T29" fmla="*/ 146 h 232"/>
                <a:gd name="T30" fmla="*/ 90 w 232"/>
                <a:gd name="T31" fmla="*/ 162 h 232"/>
                <a:gd name="T32" fmla="*/ 80 w 232"/>
                <a:gd name="T33" fmla="*/ 188 h 232"/>
                <a:gd name="T34" fmla="*/ 59 w 232"/>
                <a:gd name="T35" fmla="*/ 136 h 232"/>
                <a:gd name="T36" fmla="*/ 0 w 232"/>
                <a:gd name="T37" fmla="*/ 175 h 232"/>
                <a:gd name="T38" fmla="*/ 0 w 232"/>
                <a:gd name="T39" fmla="*/ 188 h 232"/>
                <a:gd name="T40" fmla="*/ 96 w 232"/>
                <a:gd name="T41" fmla="*/ 216 h 232"/>
                <a:gd name="T42" fmla="*/ 121 w 232"/>
                <a:gd name="T43" fmla="*/ 215 h 232"/>
                <a:gd name="T44" fmla="*/ 109 w 232"/>
                <a:gd name="T45" fmla="*/ 180 h 232"/>
                <a:gd name="T46" fmla="*/ 232 w 232"/>
                <a:gd name="T47" fmla="*/ 176 h 232"/>
                <a:gd name="T48" fmla="*/ 176 w 232"/>
                <a:gd name="T49" fmla="*/ 232 h 232"/>
                <a:gd name="T50" fmla="*/ 120 w 232"/>
                <a:gd name="T51" fmla="*/ 176 h 232"/>
                <a:gd name="T52" fmla="*/ 176 w 232"/>
                <a:gd name="T53" fmla="*/ 120 h 232"/>
                <a:gd name="T54" fmla="*/ 232 w 232"/>
                <a:gd name="T55" fmla="*/ 176 h 232"/>
                <a:gd name="T56" fmla="*/ 217 w 232"/>
                <a:gd name="T57" fmla="*/ 176 h 232"/>
                <a:gd name="T58" fmla="*/ 176 w 232"/>
                <a:gd name="T59" fmla="*/ 135 h 232"/>
                <a:gd name="T60" fmla="*/ 135 w 232"/>
                <a:gd name="T61" fmla="*/ 176 h 232"/>
                <a:gd name="T62" fmla="*/ 176 w 232"/>
                <a:gd name="T63" fmla="*/ 217 h 232"/>
                <a:gd name="T64" fmla="*/ 217 w 232"/>
                <a:gd name="T65" fmla="*/ 176 h 232"/>
                <a:gd name="T66" fmla="*/ 203 w 232"/>
                <a:gd name="T67" fmla="*/ 158 h 232"/>
                <a:gd name="T68" fmla="*/ 197 w 232"/>
                <a:gd name="T69" fmla="*/ 153 h 232"/>
                <a:gd name="T70" fmla="*/ 193 w 232"/>
                <a:gd name="T71" fmla="*/ 153 h 232"/>
                <a:gd name="T72" fmla="*/ 171 w 232"/>
                <a:gd name="T73" fmla="*/ 179 h 232"/>
                <a:gd name="T74" fmla="*/ 159 w 232"/>
                <a:gd name="T75" fmla="*/ 167 h 232"/>
                <a:gd name="T76" fmla="*/ 155 w 232"/>
                <a:gd name="T77" fmla="*/ 167 h 232"/>
                <a:gd name="T78" fmla="*/ 149 w 232"/>
                <a:gd name="T79" fmla="*/ 172 h 232"/>
                <a:gd name="T80" fmla="*/ 149 w 232"/>
                <a:gd name="T81" fmla="*/ 178 h 232"/>
                <a:gd name="T82" fmla="*/ 169 w 232"/>
                <a:gd name="T83" fmla="*/ 199 h 232"/>
                <a:gd name="T84" fmla="*/ 174 w 232"/>
                <a:gd name="T85" fmla="*/ 199 h 232"/>
                <a:gd name="T86" fmla="*/ 203 w 232"/>
                <a:gd name="T87" fmla="*/ 163 h 232"/>
                <a:gd name="T88" fmla="*/ 203 w 232"/>
                <a:gd name="T89" fmla="*/ 158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2" h="232">
                  <a:moveTo>
                    <a:pt x="151" y="70"/>
                  </a:moveTo>
                  <a:cubicBezTo>
                    <a:pt x="149" y="84"/>
                    <a:pt x="145" y="87"/>
                    <a:pt x="138" y="87"/>
                  </a:cubicBezTo>
                  <a:cubicBezTo>
                    <a:pt x="135" y="110"/>
                    <a:pt x="112" y="128"/>
                    <a:pt x="96" y="128"/>
                  </a:cubicBezTo>
                  <a:cubicBezTo>
                    <a:pt x="80" y="128"/>
                    <a:pt x="57" y="110"/>
                    <a:pt x="54" y="87"/>
                  </a:cubicBezTo>
                  <a:cubicBezTo>
                    <a:pt x="47" y="87"/>
                    <a:pt x="43" y="84"/>
                    <a:pt x="41" y="70"/>
                  </a:cubicBezTo>
                  <a:cubicBezTo>
                    <a:pt x="38" y="58"/>
                    <a:pt x="43" y="56"/>
                    <a:pt x="49" y="56"/>
                  </a:cubicBezTo>
                  <a:cubicBezTo>
                    <a:pt x="45" y="19"/>
                    <a:pt x="59" y="8"/>
                    <a:pt x="82" y="8"/>
                  </a:cubicBezTo>
                  <a:cubicBezTo>
                    <a:pt x="82" y="8"/>
                    <a:pt x="81" y="0"/>
                    <a:pt x="93" y="0"/>
                  </a:cubicBezTo>
                  <a:cubicBezTo>
                    <a:pt x="116" y="0"/>
                    <a:pt x="148" y="14"/>
                    <a:pt x="143" y="56"/>
                  </a:cubicBezTo>
                  <a:cubicBezTo>
                    <a:pt x="149" y="56"/>
                    <a:pt x="154" y="58"/>
                    <a:pt x="151" y="70"/>
                  </a:cubicBezTo>
                  <a:close/>
                  <a:moveTo>
                    <a:pt x="109" y="180"/>
                  </a:moveTo>
                  <a:cubicBezTo>
                    <a:pt x="102" y="162"/>
                    <a:pt x="102" y="162"/>
                    <a:pt x="102" y="162"/>
                  </a:cubicBezTo>
                  <a:cubicBezTo>
                    <a:pt x="107" y="159"/>
                    <a:pt x="112" y="153"/>
                    <a:pt x="112" y="146"/>
                  </a:cubicBezTo>
                  <a:cubicBezTo>
                    <a:pt x="112" y="139"/>
                    <a:pt x="108" y="136"/>
                    <a:pt x="96" y="136"/>
                  </a:cubicBezTo>
                  <a:cubicBezTo>
                    <a:pt x="85" y="136"/>
                    <a:pt x="80" y="139"/>
                    <a:pt x="80" y="146"/>
                  </a:cubicBezTo>
                  <a:cubicBezTo>
                    <a:pt x="80" y="153"/>
                    <a:pt x="85" y="159"/>
                    <a:pt x="90" y="162"/>
                  </a:cubicBezTo>
                  <a:cubicBezTo>
                    <a:pt x="80" y="188"/>
                    <a:pt x="80" y="188"/>
                    <a:pt x="80" y="188"/>
                  </a:cubicBezTo>
                  <a:cubicBezTo>
                    <a:pt x="59" y="136"/>
                    <a:pt x="59" y="136"/>
                    <a:pt x="59" y="136"/>
                  </a:cubicBezTo>
                  <a:cubicBezTo>
                    <a:pt x="37" y="150"/>
                    <a:pt x="0" y="146"/>
                    <a:pt x="0" y="175"/>
                  </a:cubicBezTo>
                  <a:cubicBezTo>
                    <a:pt x="0" y="186"/>
                    <a:pt x="0" y="180"/>
                    <a:pt x="0" y="188"/>
                  </a:cubicBezTo>
                  <a:cubicBezTo>
                    <a:pt x="0" y="197"/>
                    <a:pt x="44" y="216"/>
                    <a:pt x="96" y="216"/>
                  </a:cubicBezTo>
                  <a:cubicBezTo>
                    <a:pt x="105" y="216"/>
                    <a:pt x="113" y="215"/>
                    <a:pt x="121" y="215"/>
                  </a:cubicBezTo>
                  <a:cubicBezTo>
                    <a:pt x="114" y="205"/>
                    <a:pt x="110" y="193"/>
                    <a:pt x="109" y="180"/>
                  </a:cubicBezTo>
                  <a:close/>
                  <a:moveTo>
                    <a:pt x="232" y="176"/>
                  </a:moveTo>
                  <a:cubicBezTo>
                    <a:pt x="232" y="207"/>
                    <a:pt x="207" y="232"/>
                    <a:pt x="176" y="232"/>
                  </a:cubicBezTo>
                  <a:cubicBezTo>
                    <a:pt x="145" y="232"/>
                    <a:pt x="120" y="207"/>
                    <a:pt x="120" y="176"/>
                  </a:cubicBezTo>
                  <a:cubicBezTo>
                    <a:pt x="120" y="145"/>
                    <a:pt x="145" y="120"/>
                    <a:pt x="176" y="120"/>
                  </a:cubicBezTo>
                  <a:cubicBezTo>
                    <a:pt x="207" y="120"/>
                    <a:pt x="232" y="145"/>
                    <a:pt x="232" y="176"/>
                  </a:cubicBezTo>
                  <a:close/>
                  <a:moveTo>
                    <a:pt x="217" y="176"/>
                  </a:moveTo>
                  <a:cubicBezTo>
                    <a:pt x="217" y="153"/>
                    <a:pt x="199" y="135"/>
                    <a:pt x="176" y="135"/>
                  </a:cubicBezTo>
                  <a:cubicBezTo>
                    <a:pt x="154" y="135"/>
                    <a:pt x="135" y="153"/>
                    <a:pt x="135" y="176"/>
                  </a:cubicBezTo>
                  <a:cubicBezTo>
                    <a:pt x="135" y="198"/>
                    <a:pt x="154" y="217"/>
                    <a:pt x="176" y="217"/>
                  </a:cubicBezTo>
                  <a:cubicBezTo>
                    <a:pt x="199" y="217"/>
                    <a:pt x="217" y="198"/>
                    <a:pt x="217" y="176"/>
                  </a:cubicBezTo>
                  <a:close/>
                  <a:moveTo>
                    <a:pt x="203" y="158"/>
                  </a:moveTo>
                  <a:cubicBezTo>
                    <a:pt x="197" y="153"/>
                    <a:pt x="197" y="153"/>
                    <a:pt x="197" y="153"/>
                  </a:cubicBezTo>
                  <a:cubicBezTo>
                    <a:pt x="196" y="152"/>
                    <a:pt x="194" y="152"/>
                    <a:pt x="193" y="153"/>
                  </a:cubicBezTo>
                  <a:cubicBezTo>
                    <a:pt x="171" y="179"/>
                    <a:pt x="171" y="179"/>
                    <a:pt x="171" y="179"/>
                  </a:cubicBezTo>
                  <a:cubicBezTo>
                    <a:pt x="159" y="167"/>
                    <a:pt x="159" y="167"/>
                    <a:pt x="159" y="167"/>
                  </a:cubicBezTo>
                  <a:cubicBezTo>
                    <a:pt x="158" y="165"/>
                    <a:pt x="156" y="165"/>
                    <a:pt x="155" y="167"/>
                  </a:cubicBezTo>
                  <a:cubicBezTo>
                    <a:pt x="149" y="172"/>
                    <a:pt x="149" y="172"/>
                    <a:pt x="149" y="172"/>
                  </a:cubicBezTo>
                  <a:cubicBezTo>
                    <a:pt x="148" y="174"/>
                    <a:pt x="148" y="176"/>
                    <a:pt x="149" y="178"/>
                  </a:cubicBezTo>
                  <a:cubicBezTo>
                    <a:pt x="169" y="199"/>
                    <a:pt x="169" y="199"/>
                    <a:pt x="169" y="199"/>
                  </a:cubicBezTo>
                  <a:cubicBezTo>
                    <a:pt x="170" y="200"/>
                    <a:pt x="172" y="200"/>
                    <a:pt x="174" y="199"/>
                  </a:cubicBezTo>
                  <a:cubicBezTo>
                    <a:pt x="203" y="163"/>
                    <a:pt x="203" y="163"/>
                    <a:pt x="203" y="163"/>
                  </a:cubicBezTo>
                  <a:cubicBezTo>
                    <a:pt x="204" y="162"/>
                    <a:pt x="204" y="160"/>
                    <a:pt x="203" y="158"/>
                  </a:cubicBezTo>
                  <a:close/>
                </a:path>
              </a:pathLst>
            </a:custGeom>
            <a:solidFill>
              <a:schemeClr val="tx2"/>
            </a:solidFill>
            <a:ln w="5715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28" name="Freeform 10">
              <a:extLst>
                <a:ext uri="{FF2B5EF4-FFF2-40B4-BE49-F238E27FC236}">
                  <a16:creationId xmlns:a16="http://schemas.microsoft.com/office/drawing/2014/main" id="{754D3EF6-39AF-4179-A77C-72C8621A3786}"/>
                </a:ext>
              </a:extLst>
            </p:cNvPr>
            <p:cNvSpPr>
              <a:spLocks noEditPoints="1"/>
            </p:cNvSpPr>
            <p:nvPr/>
          </p:nvSpPr>
          <p:spPr bwMode="auto">
            <a:xfrm>
              <a:off x="-68623" y="3203456"/>
              <a:ext cx="544513" cy="544513"/>
            </a:xfrm>
            <a:custGeom>
              <a:avLst/>
              <a:gdLst>
                <a:gd name="T0" fmla="*/ 151 w 232"/>
                <a:gd name="T1" fmla="*/ 70 h 232"/>
                <a:gd name="T2" fmla="*/ 138 w 232"/>
                <a:gd name="T3" fmla="*/ 87 h 232"/>
                <a:gd name="T4" fmla="*/ 96 w 232"/>
                <a:gd name="T5" fmla="*/ 128 h 232"/>
                <a:gd name="T6" fmla="*/ 54 w 232"/>
                <a:gd name="T7" fmla="*/ 87 h 232"/>
                <a:gd name="T8" fmla="*/ 41 w 232"/>
                <a:gd name="T9" fmla="*/ 70 h 232"/>
                <a:gd name="T10" fmla="*/ 49 w 232"/>
                <a:gd name="T11" fmla="*/ 56 h 232"/>
                <a:gd name="T12" fmla="*/ 82 w 232"/>
                <a:gd name="T13" fmla="*/ 8 h 232"/>
                <a:gd name="T14" fmla="*/ 93 w 232"/>
                <a:gd name="T15" fmla="*/ 0 h 232"/>
                <a:gd name="T16" fmla="*/ 143 w 232"/>
                <a:gd name="T17" fmla="*/ 56 h 232"/>
                <a:gd name="T18" fmla="*/ 151 w 232"/>
                <a:gd name="T19" fmla="*/ 70 h 232"/>
                <a:gd name="T20" fmla="*/ 109 w 232"/>
                <a:gd name="T21" fmla="*/ 180 h 232"/>
                <a:gd name="T22" fmla="*/ 102 w 232"/>
                <a:gd name="T23" fmla="*/ 162 h 232"/>
                <a:gd name="T24" fmla="*/ 112 w 232"/>
                <a:gd name="T25" fmla="*/ 146 h 232"/>
                <a:gd name="T26" fmla="*/ 96 w 232"/>
                <a:gd name="T27" fmla="*/ 136 h 232"/>
                <a:gd name="T28" fmla="*/ 80 w 232"/>
                <a:gd name="T29" fmla="*/ 146 h 232"/>
                <a:gd name="T30" fmla="*/ 90 w 232"/>
                <a:gd name="T31" fmla="*/ 162 h 232"/>
                <a:gd name="T32" fmla="*/ 80 w 232"/>
                <a:gd name="T33" fmla="*/ 188 h 232"/>
                <a:gd name="T34" fmla="*/ 59 w 232"/>
                <a:gd name="T35" fmla="*/ 136 h 232"/>
                <a:gd name="T36" fmla="*/ 0 w 232"/>
                <a:gd name="T37" fmla="*/ 175 h 232"/>
                <a:gd name="T38" fmla="*/ 0 w 232"/>
                <a:gd name="T39" fmla="*/ 188 h 232"/>
                <a:gd name="T40" fmla="*/ 96 w 232"/>
                <a:gd name="T41" fmla="*/ 216 h 232"/>
                <a:gd name="T42" fmla="*/ 121 w 232"/>
                <a:gd name="T43" fmla="*/ 215 h 232"/>
                <a:gd name="T44" fmla="*/ 109 w 232"/>
                <a:gd name="T45" fmla="*/ 180 h 232"/>
                <a:gd name="T46" fmla="*/ 232 w 232"/>
                <a:gd name="T47" fmla="*/ 176 h 232"/>
                <a:gd name="T48" fmla="*/ 176 w 232"/>
                <a:gd name="T49" fmla="*/ 232 h 232"/>
                <a:gd name="T50" fmla="*/ 120 w 232"/>
                <a:gd name="T51" fmla="*/ 176 h 232"/>
                <a:gd name="T52" fmla="*/ 176 w 232"/>
                <a:gd name="T53" fmla="*/ 120 h 232"/>
                <a:gd name="T54" fmla="*/ 232 w 232"/>
                <a:gd name="T55" fmla="*/ 176 h 232"/>
                <a:gd name="T56" fmla="*/ 217 w 232"/>
                <a:gd name="T57" fmla="*/ 176 h 232"/>
                <a:gd name="T58" fmla="*/ 176 w 232"/>
                <a:gd name="T59" fmla="*/ 135 h 232"/>
                <a:gd name="T60" fmla="*/ 135 w 232"/>
                <a:gd name="T61" fmla="*/ 176 h 232"/>
                <a:gd name="T62" fmla="*/ 176 w 232"/>
                <a:gd name="T63" fmla="*/ 217 h 232"/>
                <a:gd name="T64" fmla="*/ 217 w 232"/>
                <a:gd name="T65" fmla="*/ 176 h 232"/>
                <a:gd name="T66" fmla="*/ 203 w 232"/>
                <a:gd name="T67" fmla="*/ 158 h 232"/>
                <a:gd name="T68" fmla="*/ 197 w 232"/>
                <a:gd name="T69" fmla="*/ 153 h 232"/>
                <a:gd name="T70" fmla="*/ 193 w 232"/>
                <a:gd name="T71" fmla="*/ 153 h 232"/>
                <a:gd name="T72" fmla="*/ 171 w 232"/>
                <a:gd name="T73" fmla="*/ 179 h 232"/>
                <a:gd name="T74" fmla="*/ 159 w 232"/>
                <a:gd name="T75" fmla="*/ 167 h 232"/>
                <a:gd name="T76" fmla="*/ 155 w 232"/>
                <a:gd name="T77" fmla="*/ 167 h 232"/>
                <a:gd name="T78" fmla="*/ 149 w 232"/>
                <a:gd name="T79" fmla="*/ 172 h 232"/>
                <a:gd name="T80" fmla="*/ 149 w 232"/>
                <a:gd name="T81" fmla="*/ 178 h 232"/>
                <a:gd name="T82" fmla="*/ 169 w 232"/>
                <a:gd name="T83" fmla="*/ 199 h 232"/>
                <a:gd name="T84" fmla="*/ 174 w 232"/>
                <a:gd name="T85" fmla="*/ 199 h 232"/>
                <a:gd name="T86" fmla="*/ 203 w 232"/>
                <a:gd name="T87" fmla="*/ 163 h 232"/>
                <a:gd name="T88" fmla="*/ 203 w 232"/>
                <a:gd name="T89" fmla="*/ 158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2" h="232">
                  <a:moveTo>
                    <a:pt x="151" y="70"/>
                  </a:moveTo>
                  <a:cubicBezTo>
                    <a:pt x="149" y="84"/>
                    <a:pt x="145" y="87"/>
                    <a:pt x="138" y="87"/>
                  </a:cubicBezTo>
                  <a:cubicBezTo>
                    <a:pt x="135" y="110"/>
                    <a:pt x="112" y="128"/>
                    <a:pt x="96" y="128"/>
                  </a:cubicBezTo>
                  <a:cubicBezTo>
                    <a:pt x="80" y="128"/>
                    <a:pt x="57" y="110"/>
                    <a:pt x="54" y="87"/>
                  </a:cubicBezTo>
                  <a:cubicBezTo>
                    <a:pt x="47" y="87"/>
                    <a:pt x="43" y="84"/>
                    <a:pt x="41" y="70"/>
                  </a:cubicBezTo>
                  <a:cubicBezTo>
                    <a:pt x="38" y="58"/>
                    <a:pt x="43" y="56"/>
                    <a:pt x="49" y="56"/>
                  </a:cubicBezTo>
                  <a:cubicBezTo>
                    <a:pt x="45" y="19"/>
                    <a:pt x="59" y="8"/>
                    <a:pt x="82" y="8"/>
                  </a:cubicBezTo>
                  <a:cubicBezTo>
                    <a:pt x="82" y="8"/>
                    <a:pt x="81" y="0"/>
                    <a:pt x="93" y="0"/>
                  </a:cubicBezTo>
                  <a:cubicBezTo>
                    <a:pt x="116" y="0"/>
                    <a:pt x="148" y="14"/>
                    <a:pt x="143" y="56"/>
                  </a:cubicBezTo>
                  <a:cubicBezTo>
                    <a:pt x="149" y="56"/>
                    <a:pt x="154" y="58"/>
                    <a:pt x="151" y="70"/>
                  </a:cubicBezTo>
                  <a:close/>
                  <a:moveTo>
                    <a:pt x="109" y="180"/>
                  </a:moveTo>
                  <a:cubicBezTo>
                    <a:pt x="102" y="162"/>
                    <a:pt x="102" y="162"/>
                    <a:pt x="102" y="162"/>
                  </a:cubicBezTo>
                  <a:cubicBezTo>
                    <a:pt x="107" y="159"/>
                    <a:pt x="112" y="153"/>
                    <a:pt x="112" y="146"/>
                  </a:cubicBezTo>
                  <a:cubicBezTo>
                    <a:pt x="112" y="139"/>
                    <a:pt x="108" y="136"/>
                    <a:pt x="96" y="136"/>
                  </a:cubicBezTo>
                  <a:cubicBezTo>
                    <a:pt x="85" y="136"/>
                    <a:pt x="80" y="139"/>
                    <a:pt x="80" y="146"/>
                  </a:cubicBezTo>
                  <a:cubicBezTo>
                    <a:pt x="80" y="153"/>
                    <a:pt x="85" y="159"/>
                    <a:pt x="90" y="162"/>
                  </a:cubicBezTo>
                  <a:cubicBezTo>
                    <a:pt x="80" y="188"/>
                    <a:pt x="80" y="188"/>
                    <a:pt x="80" y="188"/>
                  </a:cubicBezTo>
                  <a:cubicBezTo>
                    <a:pt x="59" y="136"/>
                    <a:pt x="59" y="136"/>
                    <a:pt x="59" y="136"/>
                  </a:cubicBezTo>
                  <a:cubicBezTo>
                    <a:pt x="37" y="150"/>
                    <a:pt x="0" y="146"/>
                    <a:pt x="0" y="175"/>
                  </a:cubicBezTo>
                  <a:cubicBezTo>
                    <a:pt x="0" y="186"/>
                    <a:pt x="0" y="180"/>
                    <a:pt x="0" y="188"/>
                  </a:cubicBezTo>
                  <a:cubicBezTo>
                    <a:pt x="0" y="197"/>
                    <a:pt x="44" y="216"/>
                    <a:pt x="96" y="216"/>
                  </a:cubicBezTo>
                  <a:cubicBezTo>
                    <a:pt x="105" y="216"/>
                    <a:pt x="113" y="215"/>
                    <a:pt x="121" y="215"/>
                  </a:cubicBezTo>
                  <a:cubicBezTo>
                    <a:pt x="114" y="205"/>
                    <a:pt x="110" y="193"/>
                    <a:pt x="109" y="180"/>
                  </a:cubicBezTo>
                  <a:close/>
                  <a:moveTo>
                    <a:pt x="232" y="176"/>
                  </a:moveTo>
                  <a:cubicBezTo>
                    <a:pt x="232" y="207"/>
                    <a:pt x="207" y="232"/>
                    <a:pt x="176" y="232"/>
                  </a:cubicBezTo>
                  <a:cubicBezTo>
                    <a:pt x="145" y="232"/>
                    <a:pt x="120" y="207"/>
                    <a:pt x="120" y="176"/>
                  </a:cubicBezTo>
                  <a:cubicBezTo>
                    <a:pt x="120" y="145"/>
                    <a:pt x="145" y="120"/>
                    <a:pt x="176" y="120"/>
                  </a:cubicBezTo>
                  <a:cubicBezTo>
                    <a:pt x="207" y="120"/>
                    <a:pt x="232" y="145"/>
                    <a:pt x="232" y="176"/>
                  </a:cubicBezTo>
                  <a:close/>
                  <a:moveTo>
                    <a:pt x="217" y="176"/>
                  </a:moveTo>
                  <a:cubicBezTo>
                    <a:pt x="217" y="153"/>
                    <a:pt x="199" y="135"/>
                    <a:pt x="176" y="135"/>
                  </a:cubicBezTo>
                  <a:cubicBezTo>
                    <a:pt x="154" y="135"/>
                    <a:pt x="135" y="153"/>
                    <a:pt x="135" y="176"/>
                  </a:cubicBezTo>
                  <a:cubicBezTo>
                    <a:pt x="135" y="198"/>
                    <a:pt x="154" y="217"/>
                    <a:pt x="176" y="217"/>
                  </a:cubicBezTo>
                  <a:cubicBezTo>
                    <a:pt x="199" y="217"/>
                    <a:pt x="217" y="198"/>
                    <a:pt x="217" y="176"/>
                  </a:cubicBezTo>
                  <a:close/>
                  <a:moveTo>
                    <a:pt x="203" y="158"/>
                  </a:moveTo>
                  <a:cubicBezTo>
                    <a:pt x="197" y="153"/>
                    <a:pt x="197" y="153"/>
                    <a:pt x="197" y="153"/>
                  </a:cubicBezTo>
                  <a:cubicBezTo>
                    <a:pt x="196" y="152"/>
                    <a:pt x="194" y="152"/>
                    <a:pt x="193" y="153"/>
                  </a:cubicBezTo>
                  <a:cubicBezTo>
                    <a:pt x="171" y="179"/>
                    <a:pt x="171" y="179"/>
                    <a:pt x="171" y="179"/>
                  </a:cubicBezTo>
                  <a:cubicBezTo>
                    <a:pt x="159" y="167"/>
                    <a:pt x="159" y="167"/>
                    <a:pt x="159" y="167"/>
                  </a:cubicBezTo>
                  <a:cubicBezTo>
                    <a:pt x="158" y="165"/>
                    <a:pt x="156" y="165"/>
                    <a:pt x="155" y="167"/>
                  </a:cubicBezTo>
                  <a:cubicBezTo>
                    <a:pt x="149" y="172"/>
                    <a:pt x="149" y="172"/>
                    <a:pt x="149" y="172"/>
                  </a:cubicBezTo>
                  <a:cubicBezTo>
                    <a:pt x="148" y="174"/>
                    <a:pt x="148" y="176"/>
                    <a:pt x="149" y="178"/>
                  </a:cubicBezTo>
                  <a:cubicBezTo>
                    <a:pt x="169" y="199"/>
                    <a:pt x="169" y="199"/>
                    <a:pt x="169" y="199"/>
                  </a:cubicBezTo>
                  <a:cubicBezTo>
                    <a:pt x="170" y="200"/>
                    <a:pt x="172" y="200"/>
                    <a:pt x="174" y="199"/>
                  </a:cubicBezTo>
                  <a:cubicBezTo>
                    <a:pt x="203" y="163"/>
                    <a:pt x="203" y="163"/>
                    <a:pt x="203" y="163"/>
                  </a:cubicBezTo>
                  <a:cubicBezTo>
                    <a:pt x="204" y="162"/>
                    <a:pt x="204" y="160"/>
                    <a:pt x="203" y="15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9" name="Oval 8">
            <a:extLst>
              <a:ext uri="{FF2B5EF4-FFF2-40B4-BE49-F238E27FC236}">
                <a16:creationId xmlns:a16="http://schemas.microsoft.com/office/drawing/2014/main" id="{55779C9F-4456-4BD8-9765-40472BA791C8}"/>
              </a:ext>
            </a:extLst>
          </p:cNvPr>
          <p:cNvSpPr/>
          <p:nvPr/>
        </p:nvSpPr>
        <p:spPr>
          <a:xfrm>
            <a:off x="3003609" y="4817425"/>
            <a:ext cx="174669" cy="13004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 name="Group 6">
            <a:extLst>
              <a:ext uri="{FF2B5EF4-FFF2-40B4-BE49-F238E27FC236}">
                <a16:creationId xmlns:a16="http://schemas.microsoft.com/office/drawing/2014/main" id="{6AB4512F-F5DF-47CD-BC63-0C1222EC48D9}"/>
              </a:ext>
            </a:extLst>
          </p:cNvPr>
          <p:cNvGrpSpPr/>
          <p:nvPr/>
        </p:nvGrpSpPr>
        <p:grpSpPr>
          <a:xfrm>
            <a:off x="3020828" y="4777355"/>
            <a:ext cx="215823" cy="210180"/>
            <a:chOff x="1483263" y="3906597"/>
            <a:chExt cx="215823" cy="210180"/>
          </a:xfrm>
        </p:grpSpPr>
        <p:sp>
          <p:nvSpPr>
            <p:cNvPr id="6" name="Oval 5">
              <a:extLst>
                <a:ext uri="{FF2B5EF4-FFF2-40B4-BE49-F238E27FC236}">
                  <a16:creationId xmlns:a16="http://schemas.microsoft.com/office/drawing/2014/main" id="{880EBFEE-FF44-4B5B-BA5E-C4388715A264}"/>
                </a:ext>
              </a:extLst>
            </p:cNvPr>
            <p:cNvSpPr/>
            <p:nvPr/>
          </p:nvSpPr>
          <p:spPr>
            <a:xfrm>
              <a:off x="1483263" y="3945063"/>
              <a:ext cx="171714" cy="1717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reeform 102">
              <a:extLst>
                <a:ext uri="{FF2B5EF4-FFF2-40B4-BE49-F238E27FC236}">
                  <a16:creationId xmlns:a16="http://schemas.microsoft.com/office/drawing/2014/main" id="{FA9996AF-33FE-4390-8D80-81AE31E94881}"/>
                </a:ext>
              </a:extLst>
            </p:cNvPr>
            <p:cNvSpPr>
              <a:spLocks/>
            </p:cNvSpPr>
            <p:nvPr/>
          </p:nvSpPr>
          <p:spPr bwMode="auto">
            <a:xfrm>
              <a:off x="1491738" y="3906597"/>
              <a:ext cx="207348" cy="194183"/>
            </a:xfrm>
            <a:custGeom>
              <a:avLst/>
              <a:gdLst>
                <a:gd name="T0" fmla="*/ 107 w 107"/>
                <a:gd name="T1" fmla="*/ 10 h 100"/>
                <a:gd name="T2" fmla="*/ 100 w 107"/>
                <a:gd name="T3" fmla="*/ 25 h 100"/>
                <a:gd name="T4" fmla="*/ 100 w 107"/>
                <a:gd name="T5" fmla="*/ 26 h 100"/>
                <a:gd name="T6" fmla="*/ 58 w 107"/>
                <a:gd name="T7" fmla="*/ 70 h 100"/>
                <a:gd name="T8" fmla="*/ 35 w 107"/>
                <a:gd name="T9" fmla="*/ 92 h 100"/>
                <a:gd name="T10" fmla="*/ 22 w 107"/>
                <a:gd name="T11" fmla="*/ 100 h 100"/>
                <a:gd name="T12" fmla="*/ 11 w 107"/>
                <a:gd name="T13" fmla="*/ 96 h 100"/>
                <a:gd name="T14" fmla="*/ 4 w 107"/>
                <a:gd name="T15" fmla="*/ 88 h 100"/>
                <a:gd name="T16" fmla="*/ 1 w 107"/>
                <a:gd name="T17" fmla="*/ 74 h 100"/>
                <a:gd name="T18" fmla="*/ 0 w 107"/>
                <a:gd name="T19" fmla="*/ 50 h 100"/>
                <a:gd name="T20" fmla="*/ 5 w 107"/>
                <a:gd name="T21" fmla="*/ 37 h 100"/>
                <a:gd name="T22" fmla="*/ 18 w 107"/>
                <a:gd name="T23" fmla="*/ 31 h 100"/>
                <a:gd name="T24" fmla="*/ 26 w 107"/>
                <a:gd name="T25" fmla="*/ 43 h 100"/>
                <a:gd name="T26" fmla="*/ 26 w 107"/>
                <a:gd name="T27" fmla="*/ 45 h 100"/>
                <a:gd name="T28" fmla="*/ 29 w 107"/>
                <a:gd name="T29" fmla="*/ 59 h 100"/>
                <a:gd name="T30" fmla="*/ 33 w 107"/>
                <a:gd name="T31" fmla="*/ 62 h 100"/>
                <a:gd name="T32" fmla="*/ 37 w 107"/>
                <a:gd name="T33" fmla="*/ 60 h 100"/>
                <a:gd name="T34" fmla="*/ 43 w 107"/>
                <a:gd name="T35" fmla="*/ 54 h 100"/>
                <a:gd name="T36" fmla="*/ 86 w 107"/>
                <a:gd name="T37" fmla="*/ 11 h 100"/>
                <a:gd name="T38" fmla="*/ 96 w 107"/>
                <a:gd name="T39" fmla="*/ 3 h 100"/>
                <a:gd name="T40" fmla="*/ 103 w 107"/>
                <a:gd name="T41" fmla="*/ 0 h 100"/>
                <a:gd name="T42" fmla="*/ 107 w 107"/>
                <a:gd name="T43" fmla="*/ 2 h 100"/>
                <a:gd name="T44" fmla="*/ 107 w 107"/>
                <a:gd name="T45" fmla="*/ 8 h 100"/>
                <a:gd name="T46" fmla="*/ 107 w 107"/>
                <a:gd name="T47" fmla="*/ 1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100">
                  <a:moveTo>
                    <a:pt x="107" y="10"/>
                  </a:moveTo>
                  <a:cubicBezTo>
                    <a:pt x="107" y="15"/>
                    <a:pt x="105" y="20"/>
                    <a:pt x="100" y="25"/>
                  </a:cubicBezTo>
                  <a:cubicBezTo>
                    <a:pt x="100" y="26"/>
                    <a:pt x="100" y="26"/>
                    <a:pt x="100" y="26"/>
                  </a:cubicBezTo>
                  <a:cubicBezTo>
                    <a:pt x="58" y="70"/>
                    <a:pt x="58" y="70"/>
                    <a:pt x="58" y="70"/>
                  </a:cubicBezTo>
                  <a:cubicBezTo>
                    <a:pt x="49" y="80"/>
                    <a:pt x="41" y="87"/>
                    <a:pt x="35" y="92"/>
                  </a:cubicBezTo>
                  <a:cubicBezTo>
                    <a:pt x="29" y="97"/>
                    <a:pt x="24" y="100"/>
                    <a:pt x="22" y="100"/>
                  </a:cubicBezTo>
                  <a:cubicBezTo>
                    <a:pt x="19" y="100"/>
                    <a:pt x="15" y="99"/>
                    <a:pt x="11" y="96"/>
                  </a:cubicBezTo>
                  <a:cubicBezTo>
                    <a:pt x="7" y="93"/>
                    <a:pt x="5" y="91"/>
                    <a:pt x="4" y="88"/>
                  </a:cubicBezTo>
                  <a:cubicBezTo>
                    <a:pt x="3" y="86"/>
                    <a:pt x="2" y="81"/>
                    <a:pt x="1" y="74"/>
                  </a:cubicBezTo>
                  <a:cubicBezTo>
                    <a:pt x="0" y="66"/>
                    <a:pt x="0" y="58"/>
                    <a:pt x="0" y="50"/>
                  </a:cubicBezTo>
                  <a:cubicBezTo>
                    <a:pt x="0" y="45"/>
                    <a:pt x="1" y="41"/>
                    <a:pt x="5" y="37"/>
                  </a:cubicBezTo>
                  <a:cubicBezTo>
                    <a:pt x="9" y="33"/>
                    <a:pt x="14" y="31"/>
                    <a:pt x="18" y="31"/>
                  </a:cubicBezTo>
                  <a:cubicBezTo>
                    <a:pt x="23" y="31"/>
                    <a:pt x="25" y="35"/>
                    <a:pt x="26" y="43"/>
                  </a:cubicBezTo>
                  <a:cubicBezTo>
                    <a:pt x="26" y="44"/>
                    <a:pt x="26" y="45"/>
                    <a:pt x="26" y="45"/>
                  </a:cubicBezTo>
                  <a:cubicBezTo>
                    <a:pt x="27" y="52"/>
                    <a:pt x="28" y="56"/>
                    <a:pt x="29" y="59"/>
                  </a:cubicBezTo>
                  <a:cubicBezTo>
                    <a:pt x="30" y="61"/>
                    <a:pt x="31" y="62"/>
                    <a:pt x="33" y="62"/>
                  </a:cubicBezTo>
                  <a:cubicBezTo>
                    <a:pt x="34" y="62"/>
                    <a:pt x="35" y="62"/>
                    <a:pt x="37" y="60"/>
                  </a:cubicBezTo>
                  <a:cubicBezTo>
                    <a:pt x="39" y="59"/>
                    <a:pt x="41" y="57"/>
                    <a:pt x="43" y="54"/>
                  </a:cubicBezTo>
                  <a:cubicBezTo>
                    <a:pt x="86" y="11"/>
                    <a:pt x="86" y="11"/>
                    <a:pt x="86" y="11"/>
                  </a:cubicBezTo>
                  <a:cubicBezTo>
                    <a:pt x="90" y="8"/>
                    <a:pt x="93" y="5"/>
                    <a:pt x="96" y="3"/>
                  </a:cubicBezTo>
                  <a:cubicBezTo>
                    <a:pt x="99" y="1"/>
                    <a:pt x="101" y="0"/>
                    <a:pt x="103" y="0"/>
                  </a:cubicBezTo>
                  <a:cubicBezTo>
                    <a:pt x="105" y="0"/>
                    <a:pt x="106" y="1"/>
                    <a:pt x="107" y="2"/>
                  </a:cubicBezTo>
                  <a:cubicBezTo>
                    <a:pt x="107" y="3"/>
                    <a:pt x="107" y="5"/>
                    <a:pt x="107" y="8"/>
                  </a:cubicBezTo>
                  <a:lnTo>
                    <a:pt x="107" y="10"/>
                  </a:lnTo>
                  <a:close/>
                </a:path>
              </a:pathLst>
            </a:custGeom>
            <a:solidFill>
              <a:schemeClr val="accent4"/>
            </a:solidFill>
            <a:ln w="28575">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32" name="Freeform 102">
              <a:extLst>
                <a:ext uri="{FF2B5EF4-FFF2-40B4-BE49-F238E27FC236}">
                  <a16:creationId xmlns:a16="http://schemas.microsoft.com/office/drawing/2014/main" id="{8627DD19-B04A-403A-9FE6-38AFAC995C3E}"/>
                </a:ext>
              </a:extLst>
            </p:cNvPr>
            <p:cNvSpPr>
              <a:spLocks/>
            </p:cNvSpPr>
            <p:nvPr/>
          </p:nvSpPr>
          <p:spPr bwMode="auto">
            <a:xfrm>
              <a:off x="1491738" y="3906597"/>
              <a:ext cx="207348" cy="194183"/>
            </a:xfrm>
            <a:custGeom>
              <a:avLst/>
              <a:gdLst>
                <a:gd name="T0" fmla="*/ 107 w 107"/>
                <a:gd name="T1" fmla="*/ 10 h 100"/>
                <a:gd name="T2" fmla="*/ 100 w 107"/>
                <a:gd name="T3" fmla="*/ 25 h 100"/>
                <a:gd name="T4" fmla="*/ 100 w 107"/>
                <a:gd name="T5" fmla="*/ 26 h 100"/>
                <a:gd name="T6" fmla="*/ 58 w 107"/>
                <a:gd name="T7" fmla="*/ 70 h 100"/>
                <a:gd name="T8" fmla="*/ 35 w 107"/>
                <a:gd name="T9" fmla="*/ 92 h 100"/>
                <a:gd name="T10" fmla="*/ 22 w 107"/>
                <a:gd name="T11" fmla="*/ 100 h 100"/>
                <a:gd name="T12" fmla="*/ 11 w 107"/>
                <a:gd name="T13" fmla="*/ 96 h 100"/>
                <a:gd name="T14" fmla="*/ 4 w 107"/>
                <a:gd name="T15" fmla="*/ 88 h 100"/>
                <a:gd name="T16" fmla="*/ 1 w 107"/>
                <a:gd name="T17" fmla="*/ 74 h 100"/>
                <a:gd name="T18" fmla="*/ 0 w 107"/>
                <a:gd name="T19" fmla="*/ 50 h 100"/>
                <a:gd name="T20" fmla="*/ 5 w 107"/>
                <a:gd name="T21" fmla="*/ 37 h 100"/>
                <a:gd name="T22" fmla="*/ 18 w 107"/>
                <a:gd name="T23" fmla="*/ 31 h 100"/>
                <a:gd name="T24" fmla="*/ 26 w 107"/>
                <a:gd name="T25" fmla="*/ 43 h 100"/>
                <a:gd name="T26" fmla="*/ 26 w 107"/>
                <a:gd name="T27" fmla="*/ 45 h 100"/>
                <a:gd name="T28" fmla="*/ 29 w 107"/>
                <a:gd name="T29" fmla="*/ 59 h 100"/>
                <a:gd name="T30" fmla="*/ 33 w 107"/>
                <a:gd name="T31" fmla="*/ 62 h 100"/>
                <a:gd name="T32" fmla="*/ 37 w 107"/>
                <a:gd name="T33" fmla="*/ 60 h 100"/>
                <a:gd name="T34" fmla="*/ 43 w 107"/>
                <a:gd name="T35" fmla="*/ 54 h 100"/>
                <a:gd name="T36" fmla="*/ 86 w 107"/>
                <a:gd name="T37" fmla="*/ 11 h 100"/>
                <a:gd name="T38" fmla="*/ 96 w 107"/>
                <a:gd name="T39" fmla="*/ 3 h 100"/>
                <a:gd name="T40" fmla="*/ 103 w 107"/>
                <a:gd name="T41" fmla="*/ 0 h 100"/>
                <a:gd name="T42" fmla="*/ 107 w 107"/>
                <a:gd name="T43" fmla="*/ 2 h 100"/>
                <a:gd name="T44" fmla="*/ 107 w 107"/>
                <a:gd name="T45" fmla="*/ 8 h 100"/>
                <a:gd name="T46" fmla="*/ 107 w 107"/>
                <a:gd name="T47" fmla="*/ 1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100">
                  <a:moveTo>
                    <a:pt x="107" y="10"/>
                  </a:moveTo>
                  <a:cubicBezTo>
                    <a:pt x="107" y="15"/>
                    <a:pt x="105" y="20"/>
                    <a:pt x="100" y="25"/>
                  </a:cubicBezTo>
                  <a:cubicBezTo>
                    <a:pt x="100" y="26"/>
                    <a:pt x="100" y="26"/>
                    <a:pt x="100" y="26"/>
                  </a:cubicBezTo>
                  <a:cubicBezTo>
                    <a:pt x="58" y="70"/>
                    <a:pt x="58" y="70"/>
                    <a:pt x="58" y="70"/>
                  </a:cubicBezTo>
                  <a:cubicBezTo>
                    <a:pt x="49" y="80"/>
                    <a:pt x="41" y="87"/>
                    <a:pt x="35" y="92"/>
                  </a:cubicBezTo>
                  <a:cubicBezTo>
                    <a:pt x="29" y="97"/>
                    <a:pt x="24" y="100"/>
                    <a:pt x="22" y="100"/>
                  </a:cubicBezTo>
                  <a:cubicBezTo>
                    <a:pt x="19" y="100"/>
                    <a:pt x="15" y="99"/>
                    <a:pt x="11" y="96"/>
                  </a:cubicBezTo>
                  <a:cubicBezTo>
                    <a:pt x="7" y="93"/>
                    <a:pt x="5" y="91"/>
                    <a:pt x="4" y="88"/>
                  </a:cubicBezTo>
                  <a:cubicBezTo>
                    <a:pt x="3" y="86"/>
                    <a:pt x="2" y="81"/>
                    <a:pt x="1" y="74"/>
                  </a:cubicBezTo>
                  <a:cubicBezTo>
                    <a:pt x="0" y="66"/>
                    <a:pt x="0" y="58"/>
                    <a:pt x="0" y="50"/>
                  </a:cubicBezTo>
                  <a:cubicBezTo>
                    <a:pt x="0" y="45"/>
                    <a:pt x="1" y="41"/>
                    <a:pt x="5" y="37"/>
                  </a:cubicBezTo>
                  <a:cubicBezTo>
                    <a:pt x="9" y="33"/>
                    <a:pt x="14" y="31"/>
                    <a:pt x="18" y="31"/>
                  </a:cubicBezTo>
                  <a:cubicBezTo>
                    <a:pt x="23" y="31"/>
                    <a:pt x="25" y="35"/>
                    <a:pt x="26" y="43"/>
                  </a:cubicBezTo>
                  <a:cubicBezTo>
                    <a:pt x="26" y="44"/>
                    <a:pt x="26" y="45"/>
                    <a:pt x="26" y="45"/>
                  </a:cubicBezTo>
                  <a:cubicBezTo>
                    <a:pt x="27" y="52"/>
                    <a:pt x="28" y="56"/>
                    <a:pt x="29" y="59"/>
                  </a:cubicBezTo>
                  <a:cubicBezTo>
                    <a:pt x="30" y="61"/>
                    <a:pt x="31" y="62"/>
                    <a:pt x="33" y="62"/>
                  </a:cubicBezTo>
                  <a:cubicBezTo>
                    <a:pt x="34" y="62"/>
                    <a:pt x="35" y="62"/>
                    <a:pt x="37" y="60"/>
                  </a:cubicBezTo>
                  <a:cubicBezTo>
                    <a:pt x="39" y="59"/>
                    <a:pt x="41" y="57"/>
                    <a:pt x="43" y="54"/>
                  </a:cubicBezTo>
                  <a:cubicBezTo>
                    <a:pt x="86" y="11"/>
                    <a:pt x="86" y="11"/>
                    <a:pt x="86" y="11"/>
                  </a:cubicBezTo>
                  <a:cubicBezTo>
                    <a:pt x="90" y="8"/>
                    <a:pt x="93" y="5"/>
                    <a:pt x="96" y="3"/>
                  </a:cubicBezTo>
                  <a:cubicBezTo>
                    <a:pt x="99" y="1"/>
                    <a:pt x="101" y="0"/>
                    <a:pt x="103" y="0"/>
                  </a:cubicBezTo>
                  <a:cubicBezTo>
                    <a:pt x="105" y="0"/>
                    <a:pt x="106" y="1"/>
                    <a:pt x="107" y="2"/>
                  </a:cubicBezTo>
                  <a:cubicBezTo>
                    <a:pt x="107" y="3"/>
                    <a:pt x="107" y="5"/>
                    <a:pt x="107" y="8"/>
                  </a:cubicBezTo>
                  <a:lnTo>
                    <a:pt x="107" y="1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226955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FC7499-C05B-4976-8745-6943FD72E414}"/>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9C1F2379-7DC1-43C1-9C08-5C78B7D630A0}"/>
              </a:ext>
            </a:extLst>
          </p:cNvPr>
          <p:cNvPicPr>
            <a:picLocks noChangeAspect="1"/>
          </p:cNvPicPr>
          <p:nvPr/>
        </p:nvPicPr>
        <p:blipFill>
          <a:blip r:embed="rId2"/>
          <a:stretch>
            <a:fillRect/>
          </a:stretch>
        </p:blipFill>
        <p:spPr>
          <a:xfrm>
            <a:off x="-1" y="0"/>
            <a:ext cx="12087498" cy="6858000"/>
          </a:xfrm>
          <a:prstGeom prst="rect">
            <a:avLst/>
          </a:prstGeom>
        </p:spPr>
      </p:pic>
    </p:spTree>
    <p:extLst>
      <p:ext uri="{BB962C8B-B14F-4D97-AF65-F5344CB8AC3E}">
        <p14:creationId xmlns:p14="http://schemas.microsoft.com/office/powerpoint/2010/main" val="10455472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964D9122-7304-4ACD-A4A0-A55FB9B09894}"/>
              </a:ext>
            </a:extLst>
          </p:cNvPr>
          <p:cNvSpPr>
            <a:spLocks noGrp="1"/>
          </p:cNvSpPr>
          <p:nvPr>
            <p:ph type="pic" sz="quarter" idx="10"/>
          </p:nvPr>
        </p:nvSpPr>
        <p:spPr/>
      </p:sp>
      <p:sp>
        <p:nvSpPr>
          <p:cNvPr id="5" name="Title 4">
            <a:extLst>
              <a:ext uri="{FF2B5EF4-FFF2-40B4-BE49-F238E27FC236}">
                <a16:creationId xmlns:a16="http://schemas.microsoft.com/office/drawing/2014/main" id="{E6621B92-495A-4091-A8EC-412B6DDBF0A1}"/>
              </a:ext>
            </a:extLst>
          </p:cNvPr>
          <p:cNvSpPr>
            <a:spLocks noGrp="1"/>
          </p:cNvSpPr>
          <p:nvPr>
            <p:ph type="ctrTitle"/>
          </p:nvPr>
        </p:nvSpPr>
        <p:spPr>
          <a:xfrm>
            <a:off x="912874" y="5272728"/>
            <a:ext cx="10363200" cy="806939"/>
          </a:xfrm>
        </p:spPr>
        <p:txBody>
          <a:bodyPr/>
          <a:lstStyle/>
          <a:p>
            <a:r>
              <a:rPr lang="en-US" sz="4000" b="0" kern="1200" dirty="0">
                <a:latin typeface="+mn-lt"/>
                <a:ea typeface="+mn-ea"/>
                <a:cs typeface="+mn-cs"/>
              </a:rPr>
              <a:t>We are Protectors: </a:t>
            </a:r>
            <a:br>
              <a:rPr lang="en-US" sz="4000" b="0" kern="1200" dirty="0">
                <a:latin typeface="+mn-lt"/>
                <a:ea typeface="+mn-ea"/>
                <a:cs typeface="+mn-cs"/>
              </a:rPr>
            </a:br>
            <a:r>
              <a:rPr lang="en-US" sz="4000" b="0" kern="1200" dirty="0">
                <a:latin typeface="+mn-lt"/>
                <a:ea typeface="+mn-ea"/>
                <a:cs typeface="+mn-cs"/>
              </a:rPr>
              <a:t>Index Choice UL – Guaranteed Death Benefit with Cash</a:t>
            </a:r>
            <a:endParaRPr lang="en-US" sz="4000" dirty="0"/>
          </a:p>
        </p:txBody>
      </p:sp>
    </p:spTree>
    <p:extLst>
      <p:ext uri="{BB962C8B-B14F-4D97-AF65-F5344CB8AC3E}">
        <p14:creationId xmlns:p14="http://schemas.microsoft.com/office/powerpoint/2010/main" val="36244530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17BA4-3491-4EA6-A829-FA0C2B48EA41}"/>
              </a:ext>
            </a:extLst>
          </p:cNvPr>
          <p:cNvSpPr>
            <a:spLocks noGrp="1"/>
          </p:cNvSpPr>
          <p:nvPr>
            <p:ph type="title"/>
          </p:nvPr>
        </p:nvSpPr>
        <p:spPr/>
        <p:txBody>
          <a:bodyPr/>
          <a:lstStyle/>
          <a:p>
            <a:r>
              <a:rPr lang="en-US" dirty="0"/>
              <a:t>Foundation of Protection: </a:t>
            </a:r>
            <a:r>
              <a:rPr lang="en-US" i="1" u="sng" dirty="0"/>
              <a:t>Index Choice G-IUL</a:t>
            </a:r>
          </a:p>
        </p:txBody>
      </p:sp>
      <p:sp>
        <p:nvSpPr>
          <p:cNvPr id="3" name="Text Placeholder 2">
            <a:extLst>
              <a:ext uri="{FF2B5EF4-FFF2-40B4-BE49-F238E27FC236}">
                <a16:creationId xmlns:a16="http://schemas.microsoft.com/office/drawing/2014/main" id="{A12D551C-E306-46D1-893C-C5F1A810B92F}"/>
              </a:ext>
            </a:extLst>
          </p:cNvPr>
          <p:cNvSpPr>
            <a:spLocks noGrp="1"/>
          </p:cNvSpPr>
          <p:nvPr>
            <p:ph type="body" sz="quarter" idx="10"/>
          </p:nvPr>
        </p:nvSpPr>
        <p:spPr>
          <a:xfrm>
            <a:off x="609600" y="1147149"/>
            <a:ext cx="10962217" cy="4358827"/>
          </a:xfrm>
        </p:spPr>
        <p:txBody>
          <a:bodyPr/>
          <a:lstStyle/>
          <a:p>
            <a:pPr marL="0" indent="0">
              <a:buNone/>
            </a:pPr>
            <a:r>
              <a:rPr lang="en-US" sz="2800" b="1" u="sng" dirty="0"/>
              <a:t>Index Choice IUL:</a:t>
            </a:r>
            <a:r>
              <a:rPr lang="en-US" sz="2800" b="1" dirty="0"/>
              <a:t>  </a:t>
            </a:r>
          </a:p>
          <a:p>
            <a:pPr>
              <a:buFont typeface="Wingdings" panose="05000000000000000000" pitchFamily="2" charset="2"/>
              <a:buChar char="Ø"/>
            </a:pPr>
            <a:r>
              <a:rPr lang="en-US" sz="2800" b="1" dirty="0"/>
              <a:t>  </a:t>
            </a:r>
            <a:r>
              <a:rPr lang="en-US" sz="2400" dirty="0"/>
              <a:t>Simple Index UL with Death Benefit Guarantees to age 90 and </a:t>
            </a:r>
            <a:r>
              <a:rPr lang="en-US" dirty="0"/>
              <a:t>SUPERIOR      Cash Value beyond the Guarantee</a:t>
            </a:r>
            <a:r>
              <a:rPr lang="en-US" sz="2400" dirty="0"/>
              <a:t> Period</a:t>
            </a:r>
          </a:p>
          <a:p>
            <a:r>
              <a:rPr lang="en-US" sz="2400" b="1" i="1" dirty="0"/>
              <a:t>Low internal cost structure yields superior cash accumulation and better guarantee durations vs. competitors</a:t>
            </a:r>
          </a:p>
          <a:p>
            <a:r>
              <a:rPr lang="en-US" sz="2400" dirty="0"/>
              <a:t>2 year rolling target</a:t>
            </a:r>
          </a:p>
          <a:p>
            <a:r>
              <a:rPr lang="en-US" sz="2400" dirty="0"/>
              <a:t>Best suited to compete directly with Life Expectancy GUL products</a:t>
            </a:r>
          </a:p>
          <a:p>
            <a:r>
              <a:rPr lang="en-US" sz="2400" dirty="0"/>
              <a:t>Accepts Term Conversions</a:t>
            </a:r>
          </a:p>
          <a:p>
            <a:pPr>
              <a:spcBef>
                <a:spcPts val="1200"/>
              </a:spcBef>
              <a:buFont typeface="Wingdings" panose="05000000000000000000" pitchFamily="2" charset="2"/>
              <a:buChar char="Ø"/>
            </a:pPr>
            <a:endParaRPr lang="en-US" dirty="0"/>
          </a:p>
        </p:txBody>
      </p:sp>
    </p:spTree>
    <p:extLst>
      <p:ext uri="{BB962C8B-B14F-4D97-AF65-F5344CB8AC3E}">
        <p14:creationId xmlns:p14="http://schemas.microsoft.com/office/powerpoint/2010/main" val="1270967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17BA4-3491-4EA6-A829-FA0C2B48EA41}"/>
              </a:ext>
            </a:extLst>
          </p:cNvPr>
          <p:cNvSpPr>
            <a:spLocks noGrp="1"/>
          </p:cNvSpPr>
          <p:nvPr>
            <p:ph type="title"/>
          </p:nvPr>
        </p:nvSpPr>
        <p:spPr/>
        <p:txBody>
          <a:bodyPr/>
          <a:lstStyle/>
          <a:p>
            <a:r>
              <a:rPr lang="en-US" dirty="0"/>
              <a:t>Foundation of Protection: </a:t>
            </a:r>
            <a:r>
              <a:rPr lang="en-US" i="1" u="sng" dirty="0"/>
              <a:t>Advantage Choice GUL</a:t>
            </a:r>
          </a:p>
        </p:txBody>
      </p:sp>
      <p:sp>
        <p:nvSpPr>
          <p:cNvPr id="3" name="Text Placeholder 2">
            <a:extLst>
              <a:ext uri="{FF2B5EF4-FFF2-40B4-BE49-F238E27FC236}">
                <a16:creationId xmlns:a16="http://schemas.microsoft.com/office/drawing/2014/main" id="{A12D551C-E306-46D1-893C-C5F1A810B92F}"/>
              </a:ext>
            </a:extLst>
          </p:cNvPr>
          <p:cNvSpPr>
            <a:spLocks noGrp="1"/>
          </p:cNvSpPr>
          <p:nvPr>
            <p:ph type="body" sz="quarter" idx="10"/>
          </p:nvPr>
        </p:nvSpPr>
        <p:spPr>
          <a:xfrm>
            <a:off x="609600" y="1147149"/>
            <a:ext cx="10962217" cy="4358827"/>
          </a:xfrm>
        </p:spPr>
        <p:txBody>
          <a:bodyPr/>
          <a:lstStyle/>
          <a:p>
            <a:pPr marL="0" indent="0">
              <a:buNone/>
            </a:pPr>
            <a:r>
              <a:rPr lang="en-US" sz="2800" b="1" u="sng" dirty="0"/>
              <a:t>Advantage Choice UL</a:t>
            </a:r>
            <a:r>
              <a:rPr lang="en-US" sz="2800" dirty="0"/>
              <a:t>: GUL with cash accumulation</a:t>
            </a:r>
          </a:p>
          <a:p>
            <a:r>
              <a:rPr lang="en-US" sz="2800" dirty="0"/>
              <a:t>Great Guarantee and Great Cash Accumulation that can yield ROP</a:t>
            </a:r>
          </a:p>
          <a:p>
            <a:r>
              <a:rPr lang="en-US" sz="2800" dirty="0"/>
              <a:t>Great for Lifetime pay, 1035 Exchanges and Short pays</a:t>
            </a:r>
          </a:p>
          <a:p>
            <a:r>
              <a:rPr lang="en-US" sz="2800" dirty="0"/>
              <a:t>2 Year Rolling Target</a:t>
            </a:r>
          </a:p>
          <a:p>
            <a:r>
              <a:rPr lang="en-US" sz="2800" dirty="0"/>
              <a:t>Accepts term conversions</a:t>
            </a:r>
          </a:p>
          <a:p>
            <a:pPr>
              <a:spcBef>
                <a:spcPts val="1200"/>
              </a:spcBef>
              <a:buFont typeface="Wingdings" panose="05000000000000000000" pitchFamily="2" charset="2"/>
              <a:buChar char="Ø"/>
            </a:pPr>
            <a:endParaRPr lang="en-US" dirty="0"/>
          </a:p>
        </p:txBody>
      </p:sp>
    </p:spTree>
    <p:extLst>
      <p:ext uri="{BB962C8B-B14F-4D97-AF65-F5344CB8AC3E}">
        <p14:creationId xmlns:p14="http://schemas.microsoft.com/office/powerpoint/2010/main" val="2800522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964D9122-7304-4ACD-A4A0-A55FB9B09894}"/>
              </a:ext>
            </a:extLst>
          </p:cNvPr>
          <p:cNvSpPr>
            <a:spLocks noGrp="1"/>
          </p:cNvSpPr>
          <p:nvPr>
            <p:ph type="pic" sz="quarter" idx="10"/>
          </p:nvPr>
        </p:nvSpPr>
        <p:spPr/>
      </p:sp>
      <p:sp>
        <p:nvSpPr>
          <p:cNvPr id="5" name="Title 4">
            <a:extLst>
              <a:ext uri="{FF2B5EF4-FFF2-40B4-BE49-F238E27FC236}">
                <a16:creationId xmlns:a16="http://schemas.microsoft.com/office/drawing/2014/main" id="{E6621B92-495A-4091-A8EC-412B6DDBF0A1}"/>
              </a:ext>
            </a:extLst>
          </p:cNvPr>
          <p:cNvSpPr>
            <a:spLocks noGrp="1"/>
          </p:cNvSpPr>
          <p:nvPr>
            <p:ph type="ctrTitle"/>
          </p:nvPr>
        </p:nvSpPr>
        <p:spPr>
          <a:xfrm>
            <a:off x="912874" y="5272728"/>
            <a:ext cx="10363200" cy="806939"/>
          </a:xfrm>
        </p:spPr>
        <p:txBody>
          <a:bodyPr/>
          <a:lstStyle/>
          <a:p>
            <a:r>
              <a:rPr lang="en-US" sz="4000" b="0" kern="1200" dirty="0">
                <a:latin typeface="+mn-lt"/>
                <a:ea typeface="+mn-ea"/>
                <a:cs typeface="+mn-cs"/>
              </a:rPr>
              <a:t>We are Protectors: </a:t>
            </a:r>
            <a:br>
              <a:rPr lang="en-US" sz="4000" b="0" kern="1200" dirty="0">
                <a:latin typeface="+mn-lt"/>
                <a:ea typeface="+mn-ea"/>
                <a:cs typeface="+mn-cs"/>
              </a:rPr>
            </a:br>
            <a:r>
              <a:rPr lang="en-US" sz="4000" b="0" kern="1200" dirty="0">
                <a:latin typeface="+mn-lt"/>
                <a:ea typeface="+mn-ea"/>
                <a:cs typeface="+mn-cs"/>
              </a:rPr>
              <a:t>Extend Care Rider – Chronic Illness</a:t>
            </a:r>
            <a:endParaRPr lang="en-US" sz="4000" dirty="0"/>
          </a:p>
        </p:txBody>
      </p:sp>
    </p:spTree>
    <p:extLst>
      <p:ext uri="{BB962C8B-B14F-4D97-AF65-F5344CB8AC3E}">
        <p14:creationId xmlns:p14="http://schemas.microsoft.com/office/powerpoint/2010/main" val="18535975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05B3D731-A0E7-4251-A957-4B150AAE87E6}"/>
              </a:ext>
            </a:extLst>
          </p:cNvPr>
          <p:cNvGrpSpPr/>
          <p:nvPr/>
        </p:nvGrpSpPr>
        <p:grpSpPr>
          <a:xfrm>
            <a:off x="5265381" y="5069458"/>
            <a:ext cx="5531828" cy="640080"/>
            <a:chOff x="5332919" y="5243456"/>
            <a:chExt cx="5531828" cy="640080"/>
          </a:xfrm>
        </p:grpSpPr>
        <p:sp>
          <p:nvSpPr>
            <p:cNvPr id="28" name="Content Placeholder 9">
              <a:extLst>
                <a:ext uri="{FF2B5EF4-FFF2-40B4-BE49-F238E27FC236}">
                  <a16:creationId xmlns:a16="http://schemas.microsoft.com/office/drawing/2014/main" id="{4BBB6629-E625-4A06-9544-5DE25F4001E0}"/>
                </a:ext>
              </a:extLst>
            </p:cNvPr>
            <p:cNvSpPr txBox="1">
              <a:spLocks/>
            </p:cNvSpPr>
            <p:nvPr/>
          </p:nvSpPr>
          <p:spPr bwMode="auto">
            <a:xfrm>
              <a:off x="6016909" y="5243456"/>
              <a:ext cx="4847838" cy="64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5716" rIns="91430" bIns="45716" anchor="ctr" anchorCtr="0"/>
            <a:lstStyle/>
            <a:p>
              <a:pPr>
                <a:lnSpc>
                  <a:spcPct val="90000"/>
                </a:lnSpc>
                <a:spcAft>
                  <a:spcPts val="1200"/>
                </a:spcAft>
              </a:pPr>
              <a:r>
                <a:rPr lang="en-US" sz="1600" dirty="0">
                  <a:solidFill>
                    <a:srgbClr val="151515"/>
                  </a:solidFill>
                  <a:hlinkClick r:id="rId3">
                    <a:extLst>
                      <a:ext uri="{A12FA001-AC4F-418D-AE19-62706E023703}">
                        <ahyp:hlinkClr xmlns:ahyp="http://schemas.microsoft.com/office/drawing/2018/hyperlinkcolor" val="tx"/>
                      </a:ext>
                    </a:extLst>
                  </a:hlinkClick>
                </a:rPr>
                <a:t>2 years</a:t>
              </a:r>
              <a:r>
                <a:rPr lang="en-US" sz="1600" dirty="0">
                  <a:solidFill>
                    <a:srgbClr val="151515"/>
                  </a:solidFill>
                </a:rPr>
                <a:t>: Average number of years that individuals age 65 and older will have a high long-term care need during their lifetimes.</a:t>
              </a:r>
              <a:endParaRPr lang="en-US" sz="1600" dirty="0">
                <a:solidFill>
                  <a:srgbClr val="000000"/>
                </a:solidFill>
              </a:endParaRPr>
            </a:p>
          </p:txBody>
        </p:sp>
        <p:sp>
          <p:nvSpPr>
            <p:cNvPr id="30" name="Oval 29">
              <a:extLst>
                <a:ext uri="{FF2B5EF4-FFF2-40B4-BE49-F238E27FC236}">
                  <a16:creationId xmlns:a16="http://schemas.microsoft.com/office/drawing/2014/main" id="{EABE2143-918C-4FB6-9664-86BD8414DF57}"/>
                </a:ext>
              </a:extLst>
            </p:cNvPr>
            <p:cNvSpPr/>
            <p:nvPr/>
          </p:nvSpPr>
          <p:spPr>
            <a:xfrm>
              <a:off x="5332919" y="5308296"/>
              <a:ext cx="539496" cy="53949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srgbClr val="FFFFFF"/>
                </a:solidFill>
                <a:latin typeface="Arial"/>
              </a:endParaRPr>
            </a:p>
          </p:txBody>
        </p:sp>
      </p:grpSp>
      <p:cxnSp>
        <p:nvCxnSpPr>
          <p:cNvPr id="12" name="Straight Connector 11">
            <a:extLst>
              <a:ext uri="{FF2B5EF4-FFF2-40B4-BE49-F238E27FC236}">
                <a16:creationId xmlns:a16="http://schemas.microsoft.com/office/drawing/2014/main" id="{CC32296B-8D89-48F4-B65D-3B915DD79844}"/>
              </a:ext>
            </a:extLst>
          </p:cNvPr>
          <p:cNvCxnSpPr/>
          <p:nvPr/>
        </p:nvCxnSpPr>
        <p:spPr>
          <a:xfrm>
            <a:off x="5265381" y="3964520"/>
            <a:ext cx="5402618"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4338724-46D4-46D6-BE0A-EE87F92044BF}"/>
              </a:ext>
            </a:extLst>
          </p:cNvPr>
          <p:cNvCxnSpPr/>
          <p:nvPr/>
        </p:nvCxnSpPr>
        <p:spPr>
          <a:xfrm>
            <a:off x="5265380" y="3004834"/>
            <a:ext cx="5402618"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3911F71-07F0-4922-8F83-524DA42181F0}"/>
              </a:ext>
            </a:extLst>
          </p:cNvPr>
          <p:cNvCxnSpPr/>
          <p:nvPr/>
        </p:nvCxnSpPr>
        <p:spPr>
          <a:xfrm>
            <a:off x="5265381" y="4924206"/>
            <a:ext cx="5402618"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42EF45F7-059C-48E2-8E15-20116AB6B7E8}"/>
              </a:ext>
            </a:extLst>
          </p:cNvPr>
          <p:cNvGrpSpPr/>
          <p:nvPr/>
        </p:nvGrpSpPr>
        <p:grpSpPr>
          <a:xfrm>
            <a:off x="5265381" y="3164637"/>
            <a:ext cx="5114384" cy="640080"/>
            <a:chOff x="5332919" y="3252450"/>
            <a:chExt cx="5114384" cy="640080"/>
          </a:xfrm>
        </p:grpSpPr>
        <p:sp>
          <p:nvSpPr>
            <p:cNvPr id="17" name="Content Placeholder 9">
              <a:extLst>
                <a:ext uri="{FF2B5EF4-FFF2-40B4-BE49-F238E27FC236}">
                  <a16:creationId xmlns:a16="http://schemas.microsoft.com/office/drawing/2014/main" id="{9D976F41-AFDB-42C8-B4D0-590F3E2A88CF}"/>
                </a:ext>
              </a:extLst>
            </p:cNvPr>
            <p:cNvSpPr txBox="1">
              <a:spLocks/>
            </p:cNvSpPr>
            <p:nvPr/>
          </p:nvSpPr>
          <p:spPr bwMode="auto">
            <a:xfrm>
              <a:off x="6016909" y="3252450"/>
              <a:ext cx="4430394" cy="64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5716" rIns="91430" bIns="45716" anchor="ctr" anchorCtr="0"/>
            <a:lstStyle/>
            <a:p>
              <a:pPr>
                <a:lnSpc>
                  <a:spcPct val="90000"/>
                </a:lnSpc>
                <a:spcAft>
                  <a:spcPts val="1200"/>
                </a:spcAft>
              </a:pPr>
              <a:r>
                <a:rPr lang="en-US" sz="1600" dirty="0">
                  <a:solidFill>
                    <a:srgbClr val="151515"/>
                  </a:solidFill>
                  <a:hlinkClick r:id="rId3">
                    <a:extLst>
                      <a:ext uri="{A12FA001-AC4F-418D-AE19-62706E023703}">
                        <ahyp:hlinkClr xmlns:ahyp="http://schemas.microsoft.com/office/drawing/2018/hyperlinkcolor" val="tx"/>
                      </a:ext>
                    </a:extLst>
                  </a:hlinkClick>
                </a:rPr>
                <a:t>52.3%</a:t>
              </a:r>
              <a:r>
                <a:rPr lang="en-US" sz="1600" dirty="0">
                  <a:solidFill>
                    <a:srgbClr val="151515"/>
                  </a:solidFill>
                </a:rPr>
                <a:t>: The expected percentage of people turning 65 who will have a long-term care need during their lifetimes. </a:t>
              </a:r>
              <a:endParaRPr lang="en-US" sz="1600" dirty="0">
                <a:solidFill>
                  <a:srgbClr val="000000"/>
                </a:solidFill>
              </a:endParaRPr>
            </a:p>
          </p:txBody>
        </p:sp>
        <p:sp>
          <p:nvSpPr>
            <p:cNvPr id="18" name="Oval 17">
              <a:extLst>
                <a:ext uri="{FF2B5EF4-FFF2-40B4-BE49-F238E27FC236}">
                  <a16:creationId xmlns:a16="http://schemas.microsoft.com/office/drawing/2014/main" id="{A59A5E9D-8788-4B25-BDB6-F800CBADFB96}"/>
                </a:ext>
              </a:extLst>
            </p:cNvPr>
            <p:cNvSpPr/>
            <p:nvPr/>
          </p:nvSpPr>
          <p:spPr>
            <a:xfrm>
              <a:off x="5332919" y="3302742"/>
              <a:ext cx="524910" cy="53949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srgbClr val="FFFFFF"/>
                </a:solidFill>
                <a:latin typeface="Arial"/>
              </a:endParaRPr>
            </a:p>
          </p:txBody>
        </p:sp>
      </p:grpSp>
      <p:grpSp>
        <p:nvGrpSpPr>
          <p:cNvPr id="21" name="Group 20">
            <a:extLst>
              <a:ext uri="{FF2B5EF4-FFF2-40B4-BE49-F238E27FC236}">
                <a16:creationId xmlns:a16="http://schemas.microsoft.com/office/drawing/2014/main" id="{6E3EC1C8-7CF0-4AE1-8152-5E68082DAD4C}"/>
              </a:ext>
            </a:extLst>
          </p:cNvPr>
          <p:cNvGrpSpPr/>
          <p:nvPr/>
        </p:nvGrpSpPr>
        <p:grpSpPr>
          <a:xfrm>
            <a:off x="5265382" y="2204951"/>
            <a:ext cx="4965297" cy="640080"/>
            <a:chOff x="5332919" y="2085096"/>
            <a:chExt cx="4965297" cy="640080"/>
          </a:xfrm>
        </p:grpSpPr>
        <p:sp>
          <p:nvSpPr>
            <p:cNvPr id="25" name="Content Placeholder 9">
              <a:extLst>
                <a:ext uri="{FF2B5EF4-FFF2-40B4-BE49-F238E27FC236}">
                  <a16:creationId xmlns:a16="http://schemas.microsoft.com/office/drawing/2014/main" id="{212F9039-33F2-4EE4-B199-D6A42C49564A}"/>
                </a:ext>
              </a:extLst>
            </p:cNvPr>
            <p:cNvSpPr txBox="1">
              <a:spLocks/>
            </p:cNvSpPr>
            <p:nvPr/>
          </p:nvSpPr>
          <p:spPr bwMode="auto">
            <a:xfrm>
              <a:off x="6016909" y="2085096"/>
              <a:ext cx="4281307" cy="64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5716" rIns="91430" bIns="45716" anchor="ctr" anchorCtr="0"/>
            <a:lstStyle/>
            <a:p>
              <a:pPr>
                <a:lnSpc>
                  <a:spcPct val="90000"/>
                </a:lnSpc>
                <a:spcAft>
                  <a:spcPts val="1200"/>
                </a:spcAft>
              </a:pPr>
              <a:r>
                <a:rPr lang="en-US" sz="1600" dirty="0">
                  <a:solidFill>
                    <a:srgbClr val="151515"/>
                  </a:solidFill>
                  <a:hlinkClick r:id="rId3">
                    <a:extLst>
                      <a:ext uri="{A12FA001-AC4F-418D-AE19-62706E023703}">
                        <ahyp:hlinkClr xmlns:ahyp="http://schemas.microsoft.com/office/drawing/2018/hyperlinkcolor" val="tx"/>
                      </a:ext>
                    </a:extLst>
                  </a:hlinkClick>
                </a:rPr>
                <a:t>15 million</a:t>
              </a:r>
              <a:r>
                <a:rPr lang="en-US" sz="1600" dirty="0">
                  <a:solidFill>
                    <a:srgbClr val="151515"/>
                  </a:solidFill>
                </a:rPr>
                <a:t>: The number of Americans expected to have a high long-term care need by 2050.</a:t>
              </a:r>
              <a:endParaRPr lang="en-US" sz="1600" dirty="0">
                <a:solidFill>
                  <a:srgbClr val="000000"/>
                </a:solidFill>
              </a:endParaRPr>
            </a:p>
          </p:txBody>
        </p:sp>
        <p:sp>
          <p:nvSpPr>
            <p:cNvPr id="26" name="Oval 25">
              <a:extLst>
                <a:ext uri="{FF2B5EF4-FFF2-40B4-BE49-F238E27FC236}">
                  <a16:creationId xmlns:a16="http://schemas.microsoft.com/office/drawing/2014/main" id="{334FEEE4-86AB-44AF-B93A-64C6AEECBE9D}"/>
                </a:ext>
              </a:extLst>
            </p:cNvPr>
            <p:cNvSpPr/>
            <p:nvPr/>
          </p:nvSpPr>
          <p:spPr>
            <a:xfrm>
              <a:off x="5332919" y="2135388"/>
              <a:ext cx="539496" cy="53949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srgbClr val="FFFFFF"/>
                </a:solidFill>
                <a:latin typeface="Arial"/>
              </a:endParaRPr>
            </a:p>
          </p:txBody>
        </p:sp>
      </p:grpSp>
      <p:grpSp>
        <p:nvGrpSpPr>
          <p:cNvPr id="22" name="Group 21">
            <a:extLst>
              <a:ext uri="{FF2B5EF4-FFF2-40B4-BE49-F238E27FC236}">
                <a16:creationId xmlns:a16="http://schemas.microsoft.com/office/drawing/2014/main" id="{37FED67A-7876-444B-AC39-1F41D5E8C033}"/>
              </a:ext>
            </a:extLst>
          </p:cNvPr>
          <p:cNvGrpSpPr/>
          <p:nvPr/>
        </p:nvGrpSpPr>
        <p:grpSpPr>
          <a:xfrm>
            <a:off x="5378847" y="5222505"/>
            <a:ext cx="325900" cy="316954"/>
            <a:chOff x="4270742" y="1384596"/>
            <a:chExt cx="325900" cy="316954"/>
          </a:xfrm>
          <a:solidFill>
            <a:schemeClr val="bg1"/>
          </a:solidFill>
        </p:grpSpPr>
        <p:sp>
          <p:nvSpPr>
            <p:cNvPr id="23" name="Freeform 23">
              <a:extLst>
                <a:ext uri="{FF2B5EF4-FFF2-40B4-BE49-F238E27FC236}">
                  <a16:creationId xmlns:a16="http://schemas.microsoft.com/office/drawing/2014/main" id="{E5088527-0631-4C02-808C-2385CE794BEC}"/>
                </a:ext>
              </a:extLst>
            </p:cNvPr>
            <p:cNvSpPr>
              <a:spLocks noEditPoints="1"/>
            </p:cNvSpPr>
            <p:nvPr/>
          </p:nvSpPr>
          <p:spPr bwMode="auto">
            <a:xfrm>
              <a:off x="4270742" y="1498342"/>
              <a:ext cx="325900" cy="203208"/>
            </a:xfrm>
            <a:custGeom>
              <a:avLst/>
              <a:gdLst>
                <a:gd name="T0" fmla="*/ 27 w 108"/>
                <a:gd name="T1" fmla="*/ 67 h 67"/>
                <a:gd name="T2" fmla="*/ 52 w 108"/>
                <a:gd name="T3" fmla="*/ 67 h 67"/>
                <a:gd name="T4" fmla="*/ 52 w 108"/>
                <a:gd name="T5" fmla="*/ 47 h 67"/>
                <a:gd name="T6" fmla="*/ 27 w 108"/>
                <a:gd name="T7" fmla="*/ 47 h 67"/>
                <a:gd name="T8" fmla="*/ 27 w 108"/>
                <a:gd name="T9" fmla="*/ 67 h 67"/>
                <a:gd name="T10" fmla="*/ 56 w 108"/>
                <a:gd name="T11" fmla="*/ 67 h 67"/>
                <a:gd name="T12" fmla="*/ 81 w 108"/>
                <a:gd name="T13" fmla="*/ 67 h 67"/>
                <a:gd name="T14" fmla="*/ 81 w 108"/>
                <a:gd name="T15" fmla="*/ 47 h 67"/>
                <a:gd name="T16" fmla="*/ 56 w 108"/>
                <a:gd name="T17" fmla="*/ 47 h 67"/>
                <a:gd name="T18" fmla="*/ 56 w 108"/>
                <a:gd name="T19" fmla="*/ 67 h 67"/>
                <a:gd name="T20" fmla="*/ 27 w 108"/>
                <a:gd name="T21" fmla="*/ 20 h 67"/>
                <a:gd name="T22" fmla="*/ 52 w 108"/>
                <a:gd name="T23" fmla="*/ 20 h 67"/>
                <a:gd name="T24" fmla="*/ 52 w 108"/>
                <a:gd name="T25" fmla="*/ 0 h 67"/>
                <a:gd name="T26" fmla="*/ 27 w 108"/>
                <a:gd name="T27" fmla="*/ 0 h 67"/>
                <a:gd name="T28" fmla="*/ 27 w 108"/>
                <a:gd name="T29" fmla="*/ 20 h 67"/>
                <a:gd name="T30" fmla="*/ 27 w 108"/>
                <a:gd name="T31" fmla="*/ 42 h 67"/>
                <a:gd name="T32" fmla="*/ 52 w 108"/>
                <a:gd name="T33" fmla="*/ 42 h 67"/>
                <a:gd name="T34" fmla="*/ 52 w 108"/>
                <a:gd name="T35" fmla="*/ 24 h 67"/>
                <a:gd name="T36" fmla="*/ 27 w 108"/>
                <a:gd name="T37" fmla="*/ 24 h 67"/>
                <a:gd name="T38" fmla="*/ 27 w 108"/>
                <a:gd name="T39" fmla="*/ 42 h 67"/>
                <a:gd name="T40" fmla="*/ 56 w 108"/>
                <a:gd name="T41" fmla="*/ 42 h 67"/>
                <a:gd name="T42" fmla="*/ 81 w 108"/>
                <a:gd name="T43" fmla="*/ 42 h 67"/>
                <a:gd name="T44" fmla="*/ 81 w 108"/>
                <a:gd name="T45" fmla="*/ 24 h 67"/>
                <a:gd name="T46" fmla="*/ 56 w 108"/>
                <a:gd name="T47" fmla="*/ 24 h 67"/>
                <a:gd name="T48" fmla="*/ 56 w 108"/>
                <a:gd name="T49" fmla="*/ 42 h 67"/>
                <a:gd name="T50" fmla="*/ 0 w 108"/>
                <a:gd name="T51" fmla="*/ 42 h 67"/>
                <a:gd name="T52" fmla="*/ 23 w 108"/>
                <a:gd name="T53" fmla="*/ 42 h 67"/>
                <a:gd name="T54" fmla="*/ 23 w 108"/>
                <a:gd name="T55" fmla="*/ 24 h 67"/>
                <a:gd name="T56" fmla="*/ 0 w 108"/>
                <a:gd name="T57" fmla="*/ 24 h 67"/>
                <a:gd name="T58" fmla="*/ 0 w 108"/>
                <a:gd name="T59" fmla="*/ 42 h 67"/>
                <a:gd name="T60" fmla="*/ 0 w 108"/>
                <a:gd name="T61" fmla="*/ 65 h 67"/>
                <a:gd name="T62" fmla="*/ 2 w 108"/>
                <a:gd name="T63" fmla="*/ 67 h 67"/>
                <a:gd name="T64" fmla="*/ 23 w 108"/>
                <a:gd name="T65" fmla="*/ 67 h 67"/>
                <a:gd name="T66" fmla="*/ 23 w 108"/>
                <a:gd name="T67" fmla="*/ 47 h 67"/>
                <a:gd name="T68" fmla="*/ 0 w 108"/>
                <a:gd name="T69" fmla="*/ 47 h 67"/>
                <a:gd name="T70" fmla="*/ 0 w 108"/>
                <a:gd name="T71" fmla="*/ 65 h 67"/>
                <a:gd name="T72" fmla="*/ 85 w 108"/>
                <a:gd name="T73" fmla="*/ 67 h 67"/>
                <a:gd name="T74" fmla="*/ 106 w 108"/>
                <a:gd name="T75" fmla="*/ 67 h 67"/>
                <a:gd name="T76" fmla="*/ 108 w 108"/>
                <a:gd name="T77" fmla="*/ 65 h 67"/>
                <a:gd name="T78" fmla="*/ 108 w 108"/>
                <a:gd name="T79" fmla="*/ 47 h 67"/>
                <a:gd name="T80" fmla="*/ 85 w 108"/>
                <a:gd name="T81" fmla="*/ 47 h 67"/>
                <a:gd name="T82" fmla="*/ 85 w 108"/>
                <a:gd name="T83" fmla="*/ 67 h 67"/>
                <a:gd name="T84" fmla="*/ 0 w 108"/>
                <a:gd name="T85" fmla="*/ 20 h 67"/>
                <a:gd name="T86" fmla="*/ 23 w 108"/>
                <a:gd name="T87" fmla="*/ 20 h 67"/>
                <a:gd name="T88" fmla="*/ 23 w 108"/>
                <a:gd name="T89" fmla="*/ 0 h 67"/>
                <a:gd name="T90" fmla="*/ 0 w 108"/>
                <a:gd name="T91" fmla="*/ 0 h 67"/>
                <a:gd name="T92" fmla="*/ 0 w 108"/>
                <a:gd name="T93" fmla="*/ 20 h 67"/>
                <a:gd name="T94" fmla="*/ 85 w 108"/>
                <a:gd name="T95" fmla="*/ 0 h 67"/>
                <a:gd name="T96" fmla="*/ 85 w 108"/>
                <a:gd name="T97" fmla="*/ 20 h 67"/>
                <a:gd name="T98" fmla="*/ 108 w 108"/>
                <a:gd name="T99" fmla="*/ 20 h 67"/>
                <a:gd name="T100" fmla="*/ 108 w 108"/>
                <a:gd name="T101" fmla="*/ 0 h 67"/>
                <a:gd name="T102" fmla="*/ 85 w 108"/>
                <a:gd name="T103" fmla="*/ 0 h 67"/>
                <a:gd name="T104" fmla="*/ 56 w 108"/>
                <a:gd name="T105" fmla="*/ 20 h 67"/>
                <a:gd name="T106" fmla="*/ 81 w 108"/>
                <a:gd name="T107" fmla="*/ 20 h 67"/>
                <a:gd name="T108" fmla="*/ 81 w 108"/>
                <a:gd name="T109" fmla="*/ 0 h 67"/>
                <a:gd name="T110" fmla="*/ 56 w 108"/>
                <a:gd name="T111" fmla="*/ 0 h 67"/>
                <a:gd name="T112" fmla="*/ 56 w 108"/>
                <a:gd name="T113" fmla="*/ 20 h 67"/>
                <a:gd name="T114" fmla="*/ 85 w 108"/>
                <a:gd name="T115" fmla="*/ 42 h 67"/>
                <a:gd name="T116" fmla="*/ 108 w 108"/>
                <a:gd name="T117" fmla="*/ 42 h 67"/>
                <a:gd name="T118" fmla="*/ 108 w 108"/>
                <a:gd name="T119" fmla="*/ 24 h 67"/>
                <a:gd name="T120" fmla="*/ 85 w 108"/>
                <a:gd name="T121" fmla="*/ 24 h 67"/>
                <a:gd name="T122" fmla="*/ 85 w 108"/>
                <a:gd name="T123" fmla="*/ 4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 h="67">
                  <a:moveTo>
                    <a:pt x="27" y="67"/>
                  </a:moveTo>
                  <a:cubicBezTo>
                    <a:pt x="52" y="67"/>
                    <a:pt x="52" y="67"/>
                    <a:pt x="52" y="67"/>
                  </a:cubicBezTo>
                  <a:cubicBezTo>
                    <a:pt x="52" y="47"/>
                    <a:pt x="52" y="47"/>
                    <a:pt x="52" y="47"/>
                  </a:cubicBezTo>
                  <a:cubicBezTo>
                    <a:pt x="27" y="47"/>
                    <a:pt x="27" y="47"/>
                    <a:pt x="27" y="47"/>
                  </a:cubicBezTo>
                  <a:lnTo>
                    <a:pt x="27" y="67"/>
                  </a:lnTo>
                  <a:close/>
                  <a:moveTo>
                    <a:pt x="56" y="67"/>
                  </a:moveTo>
                  <a:cubicBezTo>
                    <a:pt x="81" y="67"/>
                    <a:pt x="81" y="67"/>
                    <a:pt x="81" y="67"/>
                  </a:cubicBezTo>
                  <a:cubicBezTo>
                    <a:pt x="81" y="47"/>
                    <a:pt x="81" y="47"/>
                    <a:pt x="81" y="47"/>
                  </a:cubicBezTo>
                  <a:cubicBezTo>
                    <a:pt x="56" y="47"/>
                    <a:pt x="56" y="47"/>
                    <a:pt x="56" y="47"/>
                  </a:cubicBezTo>
                  <a:lnTo>
                    <a:pt x="56" y="67"/>
                  </a:lnTo>
                  <a:close/>
                  <a:moveTo>
                    <a:pt x="27" y="20"/>
                  </a:moveTo>
                  <a:cubicBezTo>
                    <a:pt x="52" y="20"/>
                    <a:pt x="52" y="20"/>
                    <a:pt x="52" y="20"/>
                  </a:cubicBezTo>
                  <a:cubicBezTo>
                    <a:pt x="52" y="0"/>
                    <a:pt x="52" y="0"/>
                    <a:pt x="52" y="0"/>
                  </a:cubicBezTo>
                  <a:cubicBezTo>
                    <a:pt x="27" y="0"/>
                    <a:pt x="27" y="0"/>
                    <a:pt x="27" y="0"/>
                  </a:cubicBezTo>
                  <a:lnTo>
                    <a:pt x="27" y="20"/>
                  </a:lnTo>
                  <a:close/>
                  <a:moveTo>
                    <a:pt x="27" y="42"/>
                  </a:moveTo>
                  <a:cubicBezTo>
                    <a:pt x="52" y="42"/>
                    <a:pt x="52" y="42"/>
                    <a:pt x="52" y="42"/>
                  </a:cubicBezTo>
                  <a:cubicBezTo>
                    <a:pt x="52" y="24"/>
                    <a:pt x="52" y="24"/>
                    <a:pt x="52" y="24"/>
                  </a:cubicBezTo>
                  <a:cubicBezTo>
                    <a:pt x="27" y="24"/>
                    <a:pt x="27" y="24"/>
                    <a:pt x="27" y="24"/>
                  </a:cubicBezTo>
                  <a:lnTo>
                    <a:pt x="27" y="42"/>
                  </a:lnTo>
                  <a:close/>
                  <a:moveTo>
                    <a:pt x="56" y="42"/>
                  </a:moveTo>
                  <a:cubicBezTo>
                    <a:pt x="81" y="42"/>
                    <a:pt x="81" y="42"/>
                    <a:pt x="81" y="42"/>
                  </a:cubicBezTo>
                  <a:cubicBezTo>
                    <a:pt x="81" y="24"/>
                    <a:pt x="81" y="24"/>
                    <a:pt x="81" y="24"/>
                  </a:cubicBezTo>
                  <a:cubicBezTo>
                    <a:pt x="56" y="24"/>
                    <a:pt x="56" y="24"/>
                    <a:pt x="56" y="24"/>
                  </a:cubicBezTo>
                  <a:lnTo>
                    <a:pt x="56" y="42"/>
                  </a:lnTo>
                  <a:close/>
                  <a:moveTo>
                    <a:pt x="0" y="42"/>
                  </a:moveTo>
                  <a:cubicBezTo>
                    <a:pt x="23" y="42"/>
                    <a:pt x="23" y="42"/>
                    <a:pt x="23" y="42"/>
                  </a:cubicBezTo>
                  <a:cubicBezTo>
                    <a:pt x="23" y="24"/>
                    <a:pt x="23" y="24"/>
                    <a:pt x="23" y="24"/>
                  </a:cubicBezTo>
                  <a:cubicBezTo>
                    <a:pt x="0" y="24"/>
                    <a:pt x="0" y="24"/>
                    <a:pt x="0" y="24"/>
                  </a:cubicBezTo>
                  <a:lnTo>
                    <a:pt x="0" y="42"/>
                  </a:lnTo>
                  <a:close/>
                  <a:moveTo>
                    <a:pt x="0" y="65"/>
                  </a:moveTo>
                  <a:cubicBezTo>
                    <a:pt x="0" y="66"/>
                    <a:pt x="1" y="67"/>
                    <a:pt x="2" y="67"/>
                  </a:cubicBezTo>
                  <a:cubicBezTo>
                    <a:pt x="23" y="67"/>
                    <a:pt x="23" y="67"/>
                    <a:pt x="23" y="67"/>
                  </a:cubicBezTo>
                  <a:cubicBezTo>
                    <a:pt x="23" y="47"/>
                    <a:pt x="23" y="47"/>
                    <a:pt x="23" y="47"/>
                  </a:cubicBezTo>
                  <a:cubicBezTo>
                    <a:pt x="0" y="47"/>
                    <a:pt x="0" y="47"/>
                    <a:pt x="0" y="47"/>
                  </a:cubicBezTo>
                  <a:lnTo>
                    <a:pt x="0" y="65"/>
                  </a:lnTo>
                  <a:close/>
                  <a:moveTo>
                    <a:pt x="85" y="67"/>
                  </a:moveTo>
                  <a:cubicBezTo>
                    <a:pt x="106" y="67"/>
                    <a:pt x="106" y="67"/>
                    <a:pt x="106" y="67"/>
                  </a:cubicBezTo>
                  <a:cubicBezTo>
                    <a:pt x="107" y="67"/>
                    <a:pt x="108" y="66"/>
                    <a:pt x="108" y="65"/>
                  </a:cubicBezTo>
                  <a:cubicBezTo>
                    <a:pt x="108" y="47"/>
                    <a:pt x="108" y="47"/>
                    <a:pt x="108" y="47"/>
                  </a:cubicBezTo>
                  <a:cubicBezTo>
                    <a:pt x="85" y="47"/>
                    <a:pt x="85" y="47"/>
                    <a:pt x="85" y="47"/>
                  </a:cubicBezTo>
                  <a:lnTo>
                    <a:pt x="85" y="67"/>
                  </a:lnTo>
                  <a:close/>
                  <a:moveTo>
                    <a:pt x="0" y="20"/>
                  </a:moveTo>
                  <a:cubicBezTo>
                    <a:pt x="23" y="20"/>
                    <a:pt x="23" y="20"/>
                    <a:pt x="23" y="20"/>
                  </a:cubicBezTo>
                  <a:cubicBezTo>
                    <a:pt x="23" y="0"/>
                    <a:pt x="23" y="0"/>
                    <a:pt x="23" y="0"/>
                  </a:cubicBezTo>
                  <a:cubicBezTo>
                    <a:pt x="0" y="0"/>
                    <a:pt x="0" y="0"/>
                    <a:pt x="0" y="0"/>
                  </a:cubicBezTo>
                  <a:lnTo>
                    <a:pt x="0" y="20"/>
                  </a:lnTo>
                  <a:close/>
                  <a:moveTo>
                    <a:pt x="85" y="0"/>
                  </a:moveTo>
                  <a:cubicBezTo>
                    <a:pt x="85" y="20"/>
                    <a:pt x="85" y="20"/>
                    <a:pt x="85" y="20"/>
                  </a:cubicBezTo>
                  <a:cubicBezTo>
                    <a:pt x="108" y="20"/>
                    <a:pt x="108" y="20"/>
                    <a:pt x="108" y="20"/>
                  </a:cubicBezTo>
                  <a:cubicBezTo>
                    <a:pt x="108" y="0"/>
                    <a:pt x="108" y="0"/>
                    <a:pt x="108" y="0"/>
                  </a:cubicBezTo>
                  <a:lnTo>
                    <a:pt x="85" y="0"/>
                  </a:lnTo>
                  <a:close/>
                  <a:moveTo>
                    <a:pt x="56" y="20"/>
                  </a:moveTo>
                  <a:cubicBezTo>
                    <a:pt x="81" y="20"/>
                    <a:pt x="81" y="20"/>
                    <a:pt x="81" y="20"/>
                  </a:cubicBezTo>
                  <a:cubicBezTo>
                    <a:pt x="81" y="0"/>
                    <a:pt x="81" y="0"/>
                    <a:pt x="81" y="0"/>
                  </a:cubicBezTo>
                  <a:cubicBezTo>
                    <a:pt x="56" y="0"/>
                    <a:pt x="56" y="0"/>
                    <a:pt x="56" y="0"/>
                  </a:cubicBezTo>
                  <a:lnTo>
                    <a:pt x="56" y="20"/>
                  </a:lnTo>
                  <a:close/>
                  <a:moveTo>
                    <a:pt x="85" y="42"/>
                  </a:moveTo>
                  <a:cubicBezTo>
                    <a:pt x="108" y="42"/>
                    <a:pt x="108" y="42"/>
                    <a:pt x="108" y="42"/>
                  </a:cubicBezTo>
                  <a:cubicBezTo>
                    <a:pt x="108" y="24"/>
                    <a:pt x="108" y="24"/>
                    <a:pt x="108" y="24"/>
                  </a:cubicBezTo>
                  <a:cubicBezTo>
                    <a:pt x="85" y="24"/>
                    <a:pt x="85" y="24"/>
                    <a:pt x="85" y="24"/>
                  </a:cubicBezTo>
                  <a:lnTo>
                    <a:pt x="85"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3A3A3A"/>
                </a:solidFill>
                <a:latin typeface="Arial"/>
              </a:endParaRPr>
            </a:p>
          </p:txBody>
        </p:sp>
        <p:sp>
          <p:nvSpPr>
            <p:cNvPr id="24" name="Freeform 24">
              <a:extLst>
                <a:ext uri="{FF2B5EF4-FFF2-40B4-BE49-F238E27FC236}">
                  <a16:creationId xmlns:a16="http://schemas.microsoft.com/office/drawing/2014/main" id="{5126589B-F86E-4F50-A1F1-4AC9F6B3DC25}"/>
                </a:ext>
              </a:extLst>
            </p:cNvPr>
            <p:cNvSpPr>
              <a:spLocks noEditPoints="1"/>
            </p:cNvSpPr>
            <p:nvPr/>
          </p:nvSpPr>
          <p:spPr bwMode="auto">
            <a:xfrm>
              <a:off x="4270742" y="1384596"/>
              <a:ext cx="325900" cy="95853"/>
            </a:xfrm>
            <a:custGeom>
              <a:avLst/>
              <a:gdLst>
                <a:gd name="T0" fmla="*/ 106 w 108"/>
                <a:gd name="T1" fmla="*/ 17 h 32"/>
                <a:gd name="T2" fmla="*/ 97 w 108"/>
                <a:gd name="T3" fmla="*/ 17 h 32"/>
                <a:gd name="T4" fmla="*/ 97 w 108"/>
                <a:gd name="T5" fmla="*/ 19 h 32"/>
                <a:gd name="T6" fmla="*/ 86 w 108"/>
                <a:gd name="T7" fmla="*/ 28 h 32"/>
                <a:gd name="T8" fmla="*/ 76 w 108"/>
                <a:gd name="T9" fmla="*/ 19 h 32"/>
                <a:gd name="T10" fmla="*/ 76 w 108"/>
                <a:gd name="T11" fmla="*/ 17 h 32"/>
                <a:gd name="T12" fmla="*/ 32 w 108"/>
                <a:gd name="T13" fmla="*/ 17 h 32"/>
                <a:gd name="T14" fmla="*/ 32 w 108"/>
                <a:gd name="T15" fmla="*/ 19 h 32"/>
                <a:gd name="T16" fmla="*/ 22 w 108"/>
                <a:gd name="T17" fmla="*/ 28 h 32"/>
                <a:gd name="T18" fmla="*/ 11 w 108"/>
                <a:gd name="T19" fmla="*/ 19 h 32"/>
                <a:gd name="T20" fmla="*/ 11 w 108"/>
                <a:gd name="T21" fmla="*/ 17 h 32"/>
                <a:gd name="T22" fmla="*/ 2 w 108"/>
                <a:gd name="T23" fmla="*/ 17 h 32"/>
                <a:gd name="T24" fmla="*/ 0 w 108"/>
                <a:gd name="T25" fmla="*/ 19 h 32"/>
                <a:gd name="T26" fmla="*/ 0 w 108"/>
                <a:gd name="T27" fmla="*/ 32 h 32"/>
                <a:gd name="T28" fmla="*/ 108 w 108"/>
                <a:gd name="T29" fmla="*/ 32 h 32"/>
                <a:gd name="T30" fmla="*/ 108 w 108"/>
                <a:gd name="T31" fmla="*/ 19 h 32"/>
                <a:gd name="T32" fmla="*/ 106 w 108"/>
                <a:gd name="T33" fmla="*/ 17 h 32"/>
                <a:gd name="T34" fmla="*/ 86 w 108"/>
                <a:gd name="T35" fmla="*/ 23 h 32"/>
                <a:gd name="T36" fmla="*/ 92 w 108"/>
                <a:gd name="T37" fmla="*/ 19 h 32"/>
                <a:gd name="T38" fmla="*/ 92 w 108"/>
                <a:gd name="T39" fmla="*/ 5 h 32"/>
                <a:gd name="T40" fmla="*/ 86 w 108"/>
                <a:gd name="T41" fmla="*/ 0 h 32"/>
                <a:gd name="T42" fmla="*/ 81 w 108"/>
                <a:gd name="T43" fmla="*/ 5 h 32"/>
                <a:gd name="T44" fmla="*/ 81 w 108"/>
                <a:gd name="T45" fmla="*/ 19 h 32"/>
                <a:gd name="T46" fmla="*/ 86 w 108"/>
                <a:gd name="T47" fmla="*/ 23 h 32"/>
                <a:gd name="T48" fmla="*/ 22 w 108"/>
                <a:gd name="T49" fmla="*/ 23 h 32"/>
                <a:gd name="T50" fmla="*/ 27 w 108"/>
                <a:gd name="T51" fmla="*/ 19 h 32"/>
                <a:gd name="T52" fmla="*/ 27 w 108"/>
                <a:gd name="T53" fmla="*/ 5 h 32"/>
                <a:gd name="T54" fmla="*/ 22 w 108"/>
                <a:gd name="T55" fmla="*/ 0 h 32"/>
                <a:gd name="T56" fmla="*/ 16 w 108"/>
                <a:gd name="T57" fmla="*/ 5 h 32"/>
                <a:gd name="T58" fmla="*/ 16 w 108"/>
                <a:gd name="T59" fmla="*/ 19 h 32"/>
                <a:gd name="T60" fmla="*/ 22 w 108"/>
                <a:gd name="T61"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8" h="32">
                  <a:moveTo>
                    <a:pt x="106" y="17"/>
                  </a:moveTo>
                  <a:cubicBezTo>
                    <a:pt x="97" y="17"/>
                    <a:pt x="97" y="17"/>
                    <a:pt x="97" y="17"/>
                  </a:cubicBezTo>
                  <a:cubicBezTo>
                    <a:pt x="97" y="19"/>
                    <a:pt x="97" y="19"/>
                    <a:pt x="97" y="19"/>
                  </a:cubicBezTo>
                  <a:cubicBezTo>
                    <a:pt x="97" y="24"/>
                    <a:pt x="92" y="28"/>
                    <a:pt x="86" y="28"/>
                  </a:cubicBezTo>
                  <a:cubicBezTo>
                    <a:pt x="81" y="28"/>
                    <a:pt x="76" y="24"/>
                    <a:pt x="76" y="19"/>
                  </a:cubicBezTo>
                  <a:cubicBezTo>
                    <a:pt x="76" y="17"/>
                    <a:pt x="76" y="17"/>
                    <a:pt x="76" y="17"/>
                  </a:cubicBezTo>
                  <a:cubicBezTo>
                    <a:pt x="32" y="17"/>
                    <a:pt x="32" y="17"/>
                    <a:pt x="32" y="17"/>
                  </a:cubicBezTo>
                  <a:cubicBezTo>
                    <a:pt x="32" y="19"/>
                    <a:pt x="32" y="19"/>
                    <a:pt x="32" y="19"/>
                  </a:cubicBezTo>
                  <a:cubicBezTo>
                    <a:pt x="32" y="24"/>
                    <a:pt x="27" y="28"/>
                    <a:pt x="22" y="28"/>
                  </a:cubicBezTo>
                  <a:cubicBezTo>
                    <a:pt x="16" y="28"/>
                    <a:pt x="11" y="24"/>
                    <a:pt x="11" y="19"/>
                  </a:cubicBezTo>
                  <a:cubicBezTo>
                    <a:pt x="11" y="17"/>
                    <a:pt x="11" y="17"/>
                    <a:pt x="11" y="17"/>
                  </a:cubicBezTo>
                  <a:cubicBezTo>
                    <a:pt x="2" y="17"/>
                    <a:pt x="2" y="17"/>
                    <a:pt x="2" y="17"/>
                  </a:cubicBezTo>
                  <a:cubicBezTo>
                    <a:pt x="1" y="17"/>
                    <a:pt x="0" y="18"/>
                    <a:pt x="0" y="19"/>
                  </a:cubicBezTo>
                  <a:cubicBezTo>
                    <a:pt x="0" y="32"/>
                    <a:pt x="0" y="32"/>
                    <a:pt x="0" y="32"/>
                  </a:cubicBezTo>
                  <a:cubicBezTo>
                    <a:pt x="108" y="32"/>
                    <a:pt x="108" y="32"/>
                    <a:pt x="108" y="32"/>
                  </a:cubicBezTo>
                  <a:cubicBezTo>
                    <a:pt x="108" y="19"/>
                    <a:pt x="108" y="19"/>
                    <a:pt x="108" y="19"/>
                  </a:cubicBezTo>
                  <a:cubicBezTo>
                    <a:pt x="108" y="18"/>
                    <a:pt x="107" y="17"/>
                    <a:pt x="106" y="17"/>
                  </a:cubicBezTo>
                  <a:close/>
                  <a:moveTo>
                    <a:pt x="86" y="23"/>
                  </a:moveTo>
                  <a:cubicBezTo>
                    <a:pt x="89" y="23"/>
                    <a:pt x="92" y="21"/>
                    <a:pt x="92" y="19"/>
                  </a:cubicBezTo>
                  <a:cubicBezTo>
                    <a:pt x="92" y="5"/>
                    <a:pt x="92" y="5"/>
                    <a:pt x="92" y="5"/>
                  </a:cubicBezTo>
                  <a:cubicBezTo>
                    <a:pt x="92" y="2"/>
                    <a:pt x="89" y="0"/>
                    <a:pt x="86" y="0"/>
                  </a:cubicBezTo>
                  <a:cubicBezTo>
                    <a:pt x="84" y="0"/>
                    <a:pt x="81" y="2"/>
                    <a:pt x="81" y="5"/>
                  </a:cubicBezTo>
                  <a:cubicBezTo>
                    <a:pt x="81" y="19"/>
                    <a:pt x="81" y="19"/>
                    <a:pt x="81" y="19"/>
                  </a:cubicBezTo>
                  <a:cubicBezTo>
                    <a:pt x="81" y="21"/>
                    <a:pt x="84" y="23"/>
                    <a:pt x="86" y="23"/>
                  </a:cubicBezTo>
                  <a:close/>
                  <a:moveTo>
                    <a:pt x="22" y="23"/>
                  </a:moveTo>
                  <a:cubicBezTo>
                    <a:pt x="24" y="23"/>
                    <a:pt x="27" y="21"/>
                    <a:pt x="27" y="19"/>
                  </a:cubicBezTo>
                  <a:cubicBezTo>
                    <a:pt x="27" y="5"/>
                    <a:pt x="27" y="5"/>
                    <a:pt x="27" y="5"/>
                  </a:cubicBezTo>
                  <a:cubicBezTo>
                    <a:pt x="27" y="2"/>
                    <a:pt x="24" y="0"/>
                    <a:pt x="22" y="0"/>
                  </a:cubicBezTo>
                  <a:cubicBezTo>
                    <a:pt x="19" y="0"/>
                    <a:pt x="16" y="2"/>
                    <a:pt x="16" y="5"/>
                  </a:cubicBezTo>
                  <a:cubicBezTo>
                    <a:pt x="16" y="19"/>
                    <a:pt x="16" y="19"/>
                    <a:pt x="16" y="19"/>
                  </a:cubicBezTo>
                  <a:cubicBezTo>
                    <a:pt x="16" y="21"/>
                    <a:pt x="19" y="23"/>
                    <a:pt x="2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3A3A3A"/>
                </a:solidFill>
                <a:latin typeface="Arial"/>
              </a:endParaRPr>
            </a:p>
          </p:txBody>
        </p:sp>
      </p:grpSp>
      <p:grpSp>
        <p:nvGrpSpPr>
          <p:cNvPr id="33" name="Group 32">
            <a:extLst>
              <a:ext uri="{FF2B5EF4-FFF2-40B4-BE49-F238E27FC236}">
                <a16:creationId xmlns:a16="http://schemas.microsoft.com/office/drawing/2014/main" id="{3A5A1880-9323-45CD-A9A4-C612739A7644}"/>
              </a:ext>
            </a:extLst>
          </p:cNvPr>
          <p:cNvGrpSpPr/>
          <p:nvPr/>
        </p:nvGrpSpPr>
        <p:grpSpPr>
          <a:xfrm>
            <a:off x="5265382" y="4124323"/>
            <a:ext cx="4965297" cy="640080"/>
            <a:chOff x="5332919" y="4419804"/>
            <a:chExt cx="4965297" cy="640080"/>
          </a:xfrm>
        </p:grpSpPr>
        <p:sp>
          <p:nvSpPr>
            <p:cNvPr id="39" name="Content Placeholder 9">
              <a:extLst>
                <a:ext uri="{FF2B5EF4-FFF2-40B4-BE49-F238E27FC236}">
                  <a16:creationId xmlns:a16="http://schemas.microsoft.com/office/drawing/2014/main" id="{294021B5-91FB-4F40-AC76-E7F61B0E03FB}"/>
                </a:ext>
              </a:extLst>
            </p:cNvPr>
            <p:cNvSpPr txBox="1">
              <a:spLocks/>
            </p:cNvSpPr>
            <p:nvPr/>
          </p:nvSpPr>
          <p:spPr bwMode="auto">
            <a:xfrm>
              <a:off x="6016909" y="4419804"/>
              <a:ext cx="4281307" cy="64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5716" rIns="91430" bIns="45716" anchor="ctr" anchorCtr="0"/>
            <a:lstStyle/>
            <a:p>
              <a:pPr>
                <a:lnSpc>
                  <a:spcPct val="90000"/>
                </a:lnSpc>
                <a:spcAft>
                  <a:spcPts val="1200"/>
                </a:spcAft>
              </a:pPr>
              <a:r>
                <a:rPr lang="en-US" sz="1600" dirty="0">
                  <a:solidFill>
                    <a:srgbClr val="151515"/>
                  </a:solidFill>
                  <a:hlinkClick r:id="rId4">
                    <a:extLst>
                      <a:ext uri="{A12FA001-AC4F-418D-AE19-62706E023703}">
                        <ahyp:hlinkClr xmlns:ahyp="http://schemas.microsoft.com/office/drawing/2018/hyperlinkcolor" val="tx"/>
                      </a:ext>
                    </a:extLst>
                  </a:hlinkClick>
                </a:rPr>
                <a:t>35%</a:t>
              </a:r>
              <a:r>
                <a:rPr lang="en-US" sz="1600" dirty="0">
                  <a:solidFill>
                    <a:srgbClr val="151515"/>
                  </a:solidFill>
                </a:rPr>
                <a:t>: Projected increase in number of people with Alzheimer's dementia between 2017 and 2030.</a:t>
              </a:r>
              <a:endParaRPr lang="en-US" sz="1600" dirty="0">
                <a:solidFill>
                  <a:srgbClr val="000000"/>
                </a:solidFill>
              </a:endParaRPr>
            </a:p>
          </p:txBody>
        </p:sp>
        <p:sp>
          <p:nvSpPr>
            <p:cNvPr id="40" name="Oval 39">
              <a:extLst>
                <a:ext uri="{FF2B5EF4-FFF2-40B4-BE49-F238E27FC236}">
                  <a16:creationId xmlns:a16="http://schemas.microsoft.com/office/drawing/2014/main" id="{B77B6B82-1D69-4F99-A2C7-D2F29B6BADC1}"/>
                </a:ext>
              </a:extLst>
            </p:cNvPr>
            <p:cNvSpPr/>
            <p:nvPr/>
          </p:nvSpPr>
          <p:spPr>
            <a:xfrm>
              <a:off x="5332919" y="4470096"/>
              <a:ext cx="539496" cy="53949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dirty="0">
                <a:solidFill>
                  <a:srgbClr val="FFFFFF"/>
                </a:solidFill>
                <a:latin typeface="Arial"/>
              </a:endParaRPr>
            </a:p>
          </p:txBody>
        </p:sp>
      </p:grpSp>
      <p:sp>
        <p:nvSpPr>
          <p:cNvPr id="41" name="Rectangle 40">
            <a:extLst>
              <a:ext uri="{FF2B5EF4-FFF2-40B4-BE49-F238E27FC236}">
                <a16:creationId xmlns:a16="http://schemas.microsoft.com/office/drawing/2014/main" id="{47CFE2D5-7D38-4585-8BB0-EC2DCF0F65D8}"/>
              </a:ext>
            </a:extLst>
          </p:cNvPr>
          <p:cNvSpPr/>
          <p:nvPr/>
        </p:nvSpPr>
        <p:spPr>
          <a:xfrm>
            <a:off x="5087963" y="1521282"/>
            <a:ext cx="5580037" cy="461665"/>
          </a:xfrm>
          <a:prstGeom prst="rect">
            <a:avLst/>
          </a:prstGeom>
          <a:solidFill>
            <a:schemeClr val="accent4">
              <a:lumMod val="40000"/>
              <a:lumOff val="60000"/>
            </a:schemeClr>
          </a:solidFill>
        </p:spPr>
        <p:txBody>
          <a:bodyPr wrap="square">
            <a:spAutoFit/>
          </a:bodyPr>
          <a:lstStyle/>
          <a:p>
            <a:pPr>
              <a:defRPr/>
            </a:pPr>
            <a:r>
              <a:rPr lang="en-US" sz="2400" dirty="0">
                <a:solidFill>
                  <a:srgbClr val="000000"/>
                </a:solidFill>
                <a:latin typeface="Arial"/>
              </a:rPr>
              <a:t>The Use of Long-Term Care</a:t>
            </a:r>
            <a:r>
              <a:rPr lang="en-US" sz="2400" baseline="30000" dirty="0">
                <a:solidFill>
                  <a:srgbClr val="000000"/>
                </a:solidFill>
                <a:latin typeface="Arial"/>
              </a:rPr>
              <a:t>1</a:t>
            </a:r>
          </a:p>
        </p:txBody>
      </p:sp>
      <p:sp>
        <p:nvSpPr>
          <p:cNvPr id="43" name="Title 1">
            <a:extLst>
              <a:ext uri="{FF2B5EF4-FFF2-40B4-BE49-F238E27FC236}">
                <a16:creationId xmlns:a16="http://schemas.microsoft.com/office/drawing/2014/main" id="{5E755F64-553A-4588-A887-39FFC8E7F7A3}"/>
              </a:ext>
            </a:extLst>
          </p:cNvPr>
          <p:cNvSpPr txBox="1">
            <a:spLocks/>
          </p:cNvSpPr>
          <p:nvPr/>
        </p:nvSpPr>
        <p:spPr>
          <a:xfrm>
            <a:off x="5101549" y="719894"/>
            <a:ext cx="6054993" cy="686416"/>
          </a:xfrm>
          <a:prstGeom prst="rect">
            <a:avLst/>
          </a:prstGeom>
        </p:spPr>
        <p:txBody>
          <a:bodyPr vert="horz" lIns="0" tIns="0" rIns="0" bIns="0" rtlCol="0" anchor="ctr">
            <a:normAutofit/>
          </a:bodyPr>
          <a:lstStyle>
            <a:lvl1pPr algn="l" defTabSz="914400" rtl="0" eaLnBrk="1" latinLnBrk="0" hangingPunct="1">
              <a:spcBef>
                <a:spcPct val="0"/>
              </a:spcBef>
              <a:buNone/>
              <a:defRPr sz="3200" b="0" kern="1200">
                <a:solidFill>
                  <a:schemeClr val="tx2"/>
                </a:solidFill>
                <a:latin typeface="Arial" panose="020B0604020202020204" pitchFamily="34" charset="0"/>
                <a:ea typeface="+mj-ea"/>
                <a:cs typeface="Arial" panose="020B0604020202020204" pitchFamily="34" charset="0"/>
              </a:defRPr>
            </a:lvl1pPr>
          </a:lstStyle>
          <a:p>
            <a:pPr>
              <a:defRPr/>
            </a:pPr>
            <a:r>
              <a:rPr lang="en-US" sz="2400" b="1" dirty="0">
                <a:solidFill>
                  <a:schemeClr val="accent1"/>
                </a:solidFill>
              </a:rPr>
              <a:t>Client Risk</a:t>
            </a:r>
            <a:endParaRPr lang="en-US" sz="2400" dirty="0">
              <a:solidFill>
                <a:schemeClr val="accent1"/>
              </a:solidFill>
            </a:endParaRPr>
          </a:p>
        </p:txBody>
      </p:sp>
      <p:cxnSp>
        <p:nvCxnSpPr>
          <p:cNvPr id="45" name="Straight Connector 44"/>
          <p:cNvCxnSpPr/>
          <p:nvPr/>
        </p:nvCxnSpPr>
        <p:spPr>
          <a:xfrm>
            <a:off x="5101548" y="1371600"/>
            <a:ext cx="5566452"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4854819C-B78E-457B-A072-A3AD6F833882}"/>
              </a:ext>
            </a:extLst>
          </p:cNvPr>
          <p:cNvSpPr txBox="1"/>
          <p:nvPr/>
        </p:nvSpPr>
        <p:spPr>
          <a:xfrm>
            <a:off x="5829585" y="5957742"/>
            <a:ext cx="4847838" cy="215444"/>
          </a:xfrm>
          <a:prstGeom prst="rect">
            <a:avLst/>
          </a:prstGeom>
          <a:noFill/>
        </p:spPr>
        <p:txBody>
          <a:bodyPr wrap="square" rtlCol="0">
            <a:spAutoFit/>
          </a:bodyPr>
          <a:lstStyle/>
          <a:p>
            <a:r>
              <a:rPr lang="en-US" sz="800" dirty="0"/>
              <a:t>1. Benz, Christine. “75 Must-Know Statistics About Long-Term Care.” Morningstar, August 31, 2017.</a:t>
            </a:r>
          </a:p>
        </p:txBody>
      </p:sp>
      <p:pic>
        <p:nvPicPr>
          <p:cNvPr id="4" name="Picture 3">
            <a:extLst>
              <a:ext uri="{FF2B5EF4-FFF2-40B4-BE49-F238E27FC236}">
                <a16:creationId xmlns:a16="http://schemas.microsoft.com/office/drawing/2014/main" id="{3225E55C-016D-43C9-96C9-B8521457AD23}"/>
              </a:ext>
            </a:extLst>
          </p:cNvPr>
          <p:cNvPicPr>
            <a:picLocks noChangeAspect="1"/>
          </p:cNvPicPr>
          <p:nvPr/>
        </p:nvPicPr>
        <p:blipFill>
          <a:blip r:embed="rId5">
            <a:biLevel thresh="50000"/>
          </a:blip>
          <a:stretch>
            <a:fillRect/>
          </a:stretch>
        </p:blipFill>
        <p:spPr>
          <a:xfrm>
            <a:off x="5362462" y="2355781"/>
            <a:ext cx="333727" cy="325487"/>
          </a:xfrm>
          <a:prstGeom prst="rect">
            <a:avLst/>
          </a:prstGeom>
        </p:spPr>
      </p:pic>
      <p:pic>
        <p:nvPicPr>
          <p:cNvPr id="5" name="Picture 4">
            <a:extLst>
              <a:ext uri="{FF2B5EF4-FFF2-40B4-BE49-F238E27FC236}">
                <a16:creationId xmlns:a16="http://schemas.microsoft.com/office/drawing/2014/main" id="{2F8B5FB2-0393-48C5-94CD-52436398CF38}"/>
              </a:ext>
            </a:extLst>
          </p:cNvPr>
          <p:cNvPicPr>
            <a:picLocks noChangeAspect="1"/>
          </p:cNvPicPr>
          <p:nvPr/>
        </p:nvPicPr>
        <p:blipFill>
          <a:blip r:embed="rId6"/>
          <a:stretch>
            <a:fillRect/>
          </a:stretch>
        </p:blipFill>
        <p:spPr>
          <a:xfrm>
            <a:off x="5378685" y="3279528"/>
            <a:ext cx="344917" cy="392166"/>
          </a:xfrm>
          <a:prstGeom prst="rect">
            <a:avLst/>
          </a:prstGeom>
        </p:spPr>
      </p:pic>
      <p:pic>
        <p:nvPicPr>
          <p:cNvPr id="6" name="Picture 5">
            <a:extLst>
              <a:ext uri="{FF2B5EF4-FFF2-40B4-BE49-F238E27FC236}">
                <a16:creationId xmlns:a16="http://schemas.microsoft.com/office/drawing/2014/main" id="{DD1CF0A3-5A5D-4AB8-BC5B-9682969AA48C}"/>
              </a:ext>
            </a:extLst>
          </p:cNvPr>
          <p:cNvPicPr>
            <a:picLocks noChangeAspect="1"/>
          </p:cNvPicPr>
          <p:nvPr/>
        </p:nvPicPr>
        <p:blipFill>
          <a:blip r:embed="rId7"/>
          <a:stretch>
            <a:fillRect/>
          </a:stretch>
        </p:blipFill>
        <p:spPr>
          <a:xfrm>
            <a:off x="5314197" y="4211847"/>
            <a:ext cx="457240" cy="457240"/>
          </a:xfrm>
          <a:prstGeom prst="rect">
            <a:avLst/>
          </a:prstGeom>
        </p:spPr>
      </p:pic>
    </p:spTree>
    <p:extLst>
      <p:ext uri="{BB962C8B-B14F-4D97-AF65-F5344CB8AC3E}">
        <p14:creationId xmlns:p14="http://schemas.microsoft.com/office/powerpoint/2010/main" val="1607032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423B4C1-D314-4E7C-A530-B2F046EC8A3B}"/>
              </a:ext>
            </a:extLst>
          </p:cNvPr>
          <p:cNvSpPr>
            <a:spLocks noGrp="1"/>
          </p:cNvSpPr>
          <p:nvPr>
            <p:ph type="ctrTitle"/>
          </p:nvPr>
        </p:nvSpPr>
        <p:spPr>
          <a:xfrm>
            <a:off x="3204753" y="287383"/>
            <a:ext cx="10363200" cy="717914"/>
          </a:xfrm>
        </p:spPr>
        <p:txBody>
          <a:bodyPr/>
          <a:lstStyle/>
          <a:p>
            <a:r>
              <a:rPr lang="en-US" dirty="0"/>
              <a:t>My Story: Elder Care</a:t>
            </a:r>
          </a:p>
        </p:txBody>
      </p:sp>
      <p:pic>
        <p:nvPicPr>
          <p:cNvPr id="2" name="Picture 1">
            <a:extLst>
              <a:ext uri="{FF2B5EF4-FFF2-40B4-BE49-F238E27FC236}">
                <a16:creationId xmlns:a16="http://schemas.microsoft.com/office/drawing/2014/main" id="{01087DF9-8E49-4F10-A5A6-9A8405951203}"/>
              </a:ext>
            </a:extLst>
          </p:cNvPr>
          <p:cNvPicPr>
            <a:picLocks noChangeAspect="1"/>
          </p:cNvPicPr>
          <p:nvPr/>
        </p:nvPicPr>
        <p:blipFill>
          <a:blip r:embed="rId2"/>
          <a:stretch>
            <a:fillRect/>
          </a:stretch>
        </p:blipFill>
        <p:spPr>
          <a:xfrm>
            <a:off x="0" y="1910220"/>
            <a:ext cx="6096000" cy="4947780"/>
          </a:xfrm>
          <a:prstGeom prst="rect">
            <a:avLst/>
          </a:prstGeom>
        </p:spPr>
      </p:pic>
    </p:spTree>
    <p:extLst>
      <p:ext uri="{BB962C8B-B14F-4D97-AF65-F5344CB8AC3E}">
        <p14:creationId xmlns:p14="http://schemas.microsoft.com/office/powerpoint/2010/main" val="23691666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17BA4-3491-4EA6-A829-FA0C2B48EA41}"/>
              </a:ext>
            </a:extLst>
          </p:cNvPr>
          <p:cNvSpPr>
            <a:spLocks noGrp="1"/>
          </p:cNvSpPr>
          <p:nvPr>
            <p:ph type="title"/>
          </p:nvPr>
        </p:nvSpPr>
        <p:spPr>
          <a:xfrm>
            <a:off x="609598" y="444727"/>
            <a:ext cx="10962219" cy="498475"/>
          </a:xfrm>
        </p:spPr>
        <p:txBody>
          <a:bodyPr/>
          <a:lstStyle/>
          <a:p>
            <a:r>
              <a:rPr lang="en-US" dirty="0"/>
              <a:t>Foundation of Protection: </a:t>
            </a:r>
            <a:r>
              <a:rPr lang="en-US" i="1" u="sng" dirty="0"/>
              <a:t>Extend Care, Chronic Illness Rider</a:t>
            </a:r>
          </a:p>
        </p:txBody>
      </p:sp>
      <p:sp>
        <p:nvSpPr>
          <p:cNvPr id="3" name="Text Placeholder 2">
            <a:extLst>
              <a:ext uri="{FF2B5EF4-FFF2-40B4-BE49-F238E27FC236}">
                <a16:creationId xmlns:a16="http://schemas.microsoft.com/office/drawing/2014/main" id="{A12D551C-E306-46D1-893C-C5F1A810B92F}"/>
              </a:ext>
            </a:extLst>
          </p:cNvPr>
          <p:cNvSpPr>
            <a:spLocks noGrp="1"/>
          </p:cNvSpPr>
          <p:nvPr>
            <p:ph type="body" sz="quarter" idx="10"/>
          </p:nvPr>
        </p:nvSpPr>
        <p:spPr>
          <a:xfrm>
            <a:off x="670560" y="2340224"/>
            <a:ext cx="10962217" cy="4358827"/>
          </a:xfrm>
        </p:spPr>
        <p:txBody>
          <a:bodyPr/>
          <a:lstStyle/>
          <a:p>
            <a:pPr marL="0" indent="0">
              <a:buNone/>
            </a:pPr>
            <a:r>
              <a:rPr lang="en-US" sz="2800" b="1" u="sng" dirty="0"/>
              <a:t>Extend Care</a:t>
            </a:r>
            <a:r>
              <a:rPr lang="en-US" sz="2800" dirty="0"/>
              <a:t>: Indemnity Chronic Illness Rider</a:t>
            </a:r>
          </a:p>
          <a:p>
            <a:pPr>
              <a:spcBef>
                <a:spcPts val="1200"/>
              </a:spcBef>
            </a:pPr>
            <a:r>
              <a:rPr lang="en-US" sz="2800" dirty="0"/>
              <a:t>$11,700 Monthly Benefit </a:t>
            </a:r>
            <a:r>
              <a:rPr lang="en-US" sz="2800" b="1" i="1" dirty="0">
                <a:solidFill>
                  <a:schemeClr val="accent1"/>
                </a:solidFill>
              </a:rPr>
              <a:t>up to 5% of Death Benefit</a:t>
            </a:r>
          </a:p>
          <a:p>
            <a:pPr>
              <a:spcBef>
                <a:spcPts val="1200"/>
              </a:spcBef>
            </a:pPr>
            <a:r>
              <a:rPr lang="en-US" sz="2800" dirty="0"/>
              <a:t>Accelerates the Policy Death Benefit Dollar for Dollar</a:t>
            </a:r>
          </a:p>
          <a:p>
            <a:pPr>
              <a:spcBef>
                <a:spcPts val="1200"/>
              </a:spcBef>
            </a:pPr>
            <a:r>
              <a:rPr lang="en-US" sz="2800" dirty="0"/>
              <a:t>90 Day Elimination Period</a:t>
            </a:r>
          </a:p>
          <a:p>
            <a:pPr>
              <a:spcBef>
                <a:spcPts val="1200"/>
              </a:spcBef>
            </a:pPr>
            <a:r>
              <a:rPr lang="en-US" sz="2800" b="1" i="1" dirty="0">
                <a:solidFill>
                  <a:schemeClr val="accent1"/>
                </a:solidFill>
              </a:rPr>
              <a:t>Waiver of Premium</a:t>
            </a:r>
          </a:p>
          <a:p>
            <a:pPr>
              <a:spcBef>
                <a:spcPts val="1200"/>
              </a:spcBef>
            </a:pPr>
            <a:r>
              <a:rPr lang="en-US" sz="2800" dirty="0"/>
              <a:t>No Receipts or Proof of Care, only Certification by their Doctor</a:t>
            </a:r>
          </a:p>
          <a:p>
            <a:pPr>
              <a:spcBef>
                <a:spcPts val="1200"/>
              </a:spcBef>
            </a:pPr>
            <a:r>
              <a:rPr lang="en-US" sz="2800" dirty="0"/>
              <a:t>Can Receive up to Table 4</a:t>
            </a:r>
          </a:p>
          <a:p>
            <a:pPr>
              <a:spcBef>
                <a:spcPts val="1200"/>
              </a:spcBef>
            </a:pPr>
            <a:r>
              <a:rPr lang="en-US" sz="2800" dirty="0"/>
              <a:t>Maximum Benefit can be achieved with a low DB of $234,000</a:t>
            </a:r>
          </a:p>
          <a:p>
            <a:pPr marL="0" indent="0">
              <a:buNone/>
            </a:pPr>
            <a:endParaRPr lang="en-US" sz="2800" dirty="0"/>
          </a:p>
          <a:p>
            <a:pPr marL="0" indent="0">
              <a:buNone/>
            </a:pPr>
            <a:endParaRPr lang="en-US" sz="2800" dirty="0"/>
          </a:p>
          <a:p>
            <a:pPr>
              <a:spcBef>
                <a:spcPts val="1200"/>
              </a:spcBef>
              <a:buFont typeface="Wingdings" panose="05000000000000000000" pitchFamily="2" charset="2"/>
              <a:buChar char="Ø"/>
            </a:pPr>
            <a:endParaRPr lang="en-US" dirty="0"/>
          </a:p>
        </p:txBody>
      </p:sp>
    </p:spTree>
    <p:extLst>
      <p:ext uri="{BB962C8B-B14F-4D97-AF65-F5344CB8AC3E}">
        <p14:creationId xmlns:p14="http://schemas.microsoft.com/office/powerpoint/2010/main" val="577134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423B4C1-D314-4E7C-A530-B2F046EC8A3B}"/>
              </a:ext>
            </a:extLst>
          </p:cNvPr>
          <p:cNvSpPr>
            <a:spLocks noGrp="1"/>
          </p:cNvSpPr>
          <p:nvPr>
            <p:ph type="ctrTitle"/>
          </p:nvPr>
        </p:nvSpPr>
        <p:spPr/>
        <p:txBody>
          <a:bodyPr/>
          <a:lstStyle/>
          <a:p>
            <a:r>
              <a:rPr lang="en-US" dirty="0"/>
              <a:t>Why Life Insurance?</a:t>
            </a:r>
          </a:p>
        </p:txBody>
      </p:sp>
    </p:spTree>
    <p:extLst>
      <p:ext uri="{BB962C8B-B14F-4D97-AF65-F5344CB8AC3E}">
        <p14:creationId xmlns:p14="http://schemas.microsoft.com/office/powerpoint/2010/main" val="294158985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A1A2893-4E00-49C3-875D-5ED3040BBCFE}"/>
              </a:ext>
            </a:extLst>
          </p:cNvPr>
          <p:cNvSpPr>
            <a:spLocks noGrp="1"/>
          </p:cNvSpPr>
          <p:nvPr>
            <p:ph idx="1"/>
          </p:nvPr>
        </p:nvSpPr>
        <p:spPr/>
        <p:txBody>
          <a:bodyPr/>
          <a:lstStyle/>
          <a:p>
            <a:r>
              <a:rPr lang="en-US" dirty="0">
                <a:solidFill>
                  <a:schemeClr val="accent1"/>
                </a:solidFill>
              </a:rPr>
              <a:t>Questions</a:t>
            </a:r>
          </a:p>
        </p:txBody>
      </p:sp>
      <p:pic>
        <p:nvPicPr>
          <p:cNvPr id="5" name="Picture 4">
            <a:extLst>
              <a:ext uri="{FF2B5EF4-FFF2-40B4-BE49-F238E27FC236}">
                <a16:creationId xmlns:a16="http://schemas.microsoft.com/office/drawing/2014/main" id="{2A768AB7-A576-4334-8648-77C87236CAB8}"/>
              </a:ext>
            </a:extLst>
          </p:cNvPr>
          <p:cNvPicPr>
            <a:picLocks noChangeAspect="1"/>
          </p:cNvPicPr>
          <p:nvPr/>
        </p:nvPicPr>
        <p:blipFill>
          <a:blip r:embed="rId2"/>
          <a:stretch>
            <a:fillRect/>
          </a:stretch>
        </p:blipFill>
        <p:spPr>
          <a:xfrm>
            <a:off x="-95794" y="0"/>
            <a:ext cx="12287794" cy="6934200"/>
          </a:xfrm>
          <a:prstGeom prst="rect">
            <a:avLst/>
          </a:prstGeom>
        </p:spPr>
      </p:pic>
    </p:spTree>
    <p:extLst>
      <p:ext uri="{BB962C8B-B14F-4D97-AF65-F5344CB8AC3E}">
        <p14:creationId xmlns:p14="http://schemas.microsoft.com/office/powerpoint/2010/main" val="41287518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476BEF-C4F1-4956-ABE1-7F804274BF62}"/>
              </a:ext>
            </a:extLst>
          </p:cNvPr>
          <p:cNvSpPr>
            <a:spLocks noGrp="1"/>
          </p:cNvSpPr>
          <p:nvPr>
            <p:ph type="title"/>
          </p:nvPr>
        </p:nvSpPr>
        <p:spPr/>
        <p:txBody>
          <a:bodyPr/>
          <a:lstStyle/>
          <a:p>
            <a:r>
              <a:rPr lang="en-US" dirty="0"/>
              <a:t>We Are All Protectors: My Why</a:t>
            </a:r>
          </a:p>
        </p:txBody>
      </p:sp>
      <p:sp>
        <p:nvSpPr>
          <p:cNvPr id="3" name="Text Placeholder 2">
            <a:extLst>
              <a:ext uri="{FF2B5EF4-FFF2-40B4-BE49-F238E27FC236}">
                <a16:creationId xmlns:a16="http://schemas.microsoft.com/office/drawing/2014/main" id="{D189784D-EC7D-47B0-B382-30AE01B2AE99}"/>
              </a:ext>
            </a:extLst>
          </p:cNvPr>
          <p:cNvSpPr>
            <a:spLocks noGrp="1"/>
          </p:cNvSpPr>
          <p:nvPr>
            <p:ph type="body" sz="quarter" idx="10"/>
          </p:nvPr>
        </p:nvSpPr>
        <p:spPr>
          <a:xfrm>
            <a:off x="2549234" y="725488"/>
            <a:ext cx="9290759" cy="4660900"/>
          </a:xfrm>
        </p:spPr>
        <p:txBody>
          <a:bodyPr/>
          <a:lstStyle/>
          <a:p>
            <a:r>
              <a:rPr lang="en-US" sz="2800" dirty="0">
                <a:solidFill>
                  <a:schemeClr val="tx2"/>
                </a:solidFill>
                <a:latin typeface="+mj-lt"/>
                <a:ea typeface="+mj-ea"/>
                <a:cs typeface="+mj-cs"/>
              </a:rPr>
              <a:t>Parents didn’t have a mortgage</a:t>
            </a:r>
          </a:p>
          <a:p>
            <a:r>
              <a:rPr lang="en-US" sz="2800" dirty="0">
                <a:solidFill>
                  <a:schemeClr val="tx2"/>
                </a:solidFill>
                <a:latin typeface="+mj-lt"/>
                <a:ea typeface="+mj-ea"/>
                <a:cs typeface="+mj-cs"/>
              </a:rPr>
              <a:t>3 sons graduated without college debt</a:t>
            </a:r>
          </a:p>
          <a:p>
            <a:r>
              <a:rPr lang="en-US" sz="2800" dirty="0">
                <a:solidFill>
                  <a:schemeClr val="tx2"/>
                </a:solidFill>
                <a:latin typeface="+mj-lt"/>
                <a:ea typeface="+mj-ea"/>
                <a:cs typeface="+mj-cs"/>
              </a:rPr>
              <a:t>Purchased first home</a:t>
            </a:r>
          </a:p>
          <a:p>
            <a:r>
              <a:rPr lang="en-US" sz="2800" dirty="0">
                <a:solidFill>
                  <a:schemeClr val="tx2"/>
                </a:solidFill>
                <a:latin typeface="+mj-lt"/>
                <a:ea typeface="+mj-ea"/>
                <a:cs typeface="+mj-cs"/>
              </a:rPr>
              <a:t>Head start on lifetime savings</a:t>
            </a:r>
          </a:p>
          <a:p>
            <a:r>
              <a:rPr lang="en-US" sz="2800" dirty="0">
                <a:solidFill>
                  <a:schemeClr val="tx2"/>
                </a:solidFill>
                <a:latin typeface="+mj-lt"/>
                <a:ea typeface="+mj-ea"/>
                <a:cs typeface="+mj-cs"/>
              </a:rPr>
              <a:t>Only 36% of Gen </a:t>
            </a:r>
            <a:r>
              <a:rPr lang="en-US" sz="2800" dirty="0" err="1">
                <a:solidFill>
                  <a:schemeClr val="tx2"/>
                </a:solidFill>
                <a:latin typeface="+mj-lt"/>
                <a:ea typeface="+mj-ea"/>
                <a:cs typeface="+mj-cs"/>
              </a:rPr>
              <a:t>X’rs</a:t>
            </a:r>
            <a:r>
              <a:rPr lang="en-US" sz="2800" dirty="0">
                <a:solidFill>
                  <a:schemeClr val="tx2"/>
                </a:solidFill>
                <a:latin typeface="+mj-lt"/>
                <a:ea typeface="+mj-ea"/>
                <a:cs typeface="+mj-cs"/>
              </a:rPr>
              <a:t> have exceeded their parent’s wealth</a:t>
            </a:r>
          </a:p>
          <a:p>
            <a:r>
              <a:rPr lang="en-US" sz="2800" dirty="0">
                <a:solidFill>
                  <a:schemeClr val="tx2"/>
                </a:solidFill>
                <a:latin typeface="+mj-lt"/>
                <a:ea typeface="+mj-ea"/>
                <a:cs typeface="+mj-cs"/>
              </a:rPr>
              <a:t>Millennials are 26% less likely to own their own home</a:t>
            </a:r>
          </a:p>
        </p:txBody>
      </p:sp>
      <p:pic>
        <p:nvPicPr>
          <p:cNvPr id="6" name="Picture 5" descr="A picture containing grass, person, outdoor, soccer&#10;&#10;Description automatically generated">
            <a:extLst>
              <a:ext uri="{FF2B5EF4-FFF2-40B4-BE49-F238E27FC236}">
                <a16:creationId xmlns:a16="http://schemas.microsoft.com/office/drawing/2014/main" id="{9F715B0A-8C6F-4E3E-B4E7-66BAC418133C}"/>
              </a:ext>
            </a:extLst>
          </p:cNvPr>
          <p:cNvPicPr>
            <a:picLocks noChangeAspect="1"/>
          </p:cNvPicPr>
          <p:nvPr/>
        </p:nvPicPr>
        <p:blipFill rotWithShape="1">
          <a:blip r:embed="rId2">
            <a:extLst>
              <a:ext uri="{28A0092B-C50C-407E-A947-70E740481C1C}">
                <a14:useLocalDpi xmlns:a14="http://schemas.microsoft.com/office/drawing/2010/main" val="0"/>
              </a:ext>
            </a:extLst>
          </a:blip>
          <a:srcRect t="-1923" b="22216"/>
          <a:stretch/>
        </p:blipFill>
        <p:spPr>
          <a:xfrm>
            <a:off x="276111" y="3613467"/>
            <a:ext cx="2084177" cy="3017520"/>
          </a:xfrm>
          <a:prstGeom prst="rect">
            <a:avLst/>
          </a:prstGeom>
        </p:spPr>
      </p:pic>
      <p:pic>
        <p:nvPicPr>
          <p:cNvPr id="9" name="Picture 8">
            <a:extLst>
              <a:ext uri="{FF2B5EF4-FFF2-40B4-BE49-F238E27FC236}">
                <a16:creationId xmlns:a16="http://schemas.microsoft.com/office/drawing/2014/main" id="{CC3567FA-1E58-4948-8A88-34189B57077B}"/>
              </a:ext>
            </a:extLst>
          </p:cNvPr>
          <p:cNvPicPr>
            <a:picLocks noChangeAspect="1"/>
          </p:cNvPicPr>
          <p:nvPr/>
        </p:nvPicPr>
        <p:blipFill rotWithShape="1">
          <a:blip r:embed="rId3"/>
          <a:srcRect b="-41"/>
          <a:stretch/>
        </p:blipFill>
        <p:spPr>
          <a:xfrm rot="-5400000">
            <a:off x="-73974" y="970573"/>
            <a:ext cx="2808512" cy="2108341"/>
          </a:xfrm>
          <a:prstGeom prst="rect">
            <a:avLst/>
          </a:prstGeom>
        </p:spPr>
      </p:pic>
      <p:sp>
        <p:nvSpPr>
          <p:cNvPr id="10" name="TextBox 9">
            <a:extLst>
              <a:ext uri="{FF2B5EF4-FFF2-40B4-BE49-F238E27FC236}">
                <a16:creationId xmlns:a16="http://schemas.microsoft.com/office/drawing/2014/main" id="{6F07A395-C594-497E-A1D8-4179CD5AC6AD}"/>
              </a:ext>
            </a:extLst>
          </p:cNvPr>
          <p:cNvSpPr txBox="1"/>
          <p:nvPr/>
        </p:nvSpPr>
        <p:spPr>
          <a:xfrm>
            <a:off x="4105470" y="5840124"/>
            <a:ext cx="7193902" cy="584775"/>
          </a:xfrm>
          <a:prstGeom prst="rect">
            <a:avLst/>
          </a:prstGeom>
          <a:noFill/>
        </p:spPr>
        <p:txBody>
          <a:bodyPr wrap="square" rtlCol="0">
            <a:spAutoFit/>
          </a:bodyPr>
          <a:lstStyle/>
          <a:p>
            <a:r>
              <a:rPr lang="en-US" sz="3200" b="1" i="1" u="sng" dirty="0">
                <a:solidFill>
                  <a:schemeClr val="tx2"/>
                </a:solidFill>
                <a:latin typeface="+mj-lt"/>
                <a:ea typeface="+mj-ea"/>
                <a:cs typeface="+mj-cs"/>
              </a:rPr>
              <a:t>Life Insurance Changes Lives!</a:t>
            </a:r>
          </a:p>
        </p:txBody>
      </p:sp>
    </p:spTree>
    <p:extLst>
      <p:ext uri="{BB962C8B-B14F-4D97-AF65-F5344CB8AC3E}">
        <p14:creationId xmlns:p14="http://schemas.microsoft.com/office/powerpoint/2010/main" val="9627070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0" end="0"/>
                                            </p:txEl>
                                          </p:spTgt>
                                        </p:tgtEl>
                                        <p:attrNameLst>
                                          <p:attrName>style.visibility</p:attrName>
                                        </p:attrNameLst>
                                      </p:cBhvr>
                                      <p:to>
                                        <p:strVal val="visible"/>
                                      </p:to>
                                    </p:set>
                                    <p:animEffect transition="in" filter="fade">
                                      <p:cBhvr>
                                        <p:cTn id="12" dur="500"/>
                                        <p:tgtEl>
                                          <p:spTgt spid="3">
                                            <p:txEl>
                                              <p:pRg st="0" end="0"/>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3">
                                            <p:txEl>
                                              <p:pRg st="2" end="2"/>
                                            </p:txEl>
                                          </p:spTgt>
                                        </p:tgtEl>
                                        <p:attrNameLst>
                                          <p:attrName>style.visibility</p:attrName>
                                        </p:attrNameLst>
                                      </p:cBhvr>
                                      <p:to>
                                        <p:strVal val="visible"/>
                                      </p:to>
                                    </p:set>
                                    <p:animEffect transition="in" filter="fade">
                                      <p:cBhvr>
                                        <p:cTn id="18" dur="500"/>
                                        <p:tgtEl>
                                          <p:spTgt spid="3">
                                            <p:txEl>
                                              <p:pRg st="2" end="2"/>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3">
                                            <p:txEl>
                                              <p:pRg st="3" end="3"/>
                                            </p:txEl>
                                          </p:spTgt>
                                        </p:tgtEl>
                                        <p:attrNameLst>
                                          <p:attrName>style.visibility</p:attrName>
                                        </p:attrNameLst>
                                      </p:cBhvr>
                                      <p:to>
                                        <p:strVal val="visible"/>
                                      </p:to>
                                    </p:set>
                                    <p:animEffect transition="in" filter="fade">
                                      <p:cBhvr>
                                        <p:cTn id="21" dur="500"/>
                                        <p:tgtEl>
                                          <p:spTgt spid="3">
                                            <p:txEl>
                                              <p:pRg st="3" end="3"/>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3">
                                            <p:txEl>
                                              <p:pRg st="4" end="4"/>
                                            </p:txEl>
                                          </p:spTgt>
                                        </p:tgtEl>
                                        <p:attrNameLst>
                                          <p:attrName>style.visibility</p:attrName>
                                        </p:attrNameLst>
                                      </p:cBhvr>
                                      <p:to>
                                        <p:strVal val="visible"/>
                                      </p:to>
                                    </p:set>
                                    <p:animEffect transition="in" filter="fade">
                                      <p:cBhvr>
                                        <p:cTn id="26" dur="500"/>
                                        <p:tgtEl>
                                          <p:spTgt spid="3">
                                            <p:txEl>
                                              <p:pRg st="4" end="4"/>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3">
                                            <p:txEl>
                                              <p:pRg st="5" end="5"/>
                                            </p:txEl>
                                          </p:spTgt>
                                        </p:tgtEl>
                                        <p:attrNameLst>
                                          <p:attrName>style.visibility</p:attrName>
                                        </p:attrNameLst>
                                      </p:cBhvr>
                                      <p:to>
                                        <p:strVal val="visible"/>
                                      </p:to>
                                    </p:set>
                                    <p:animEffect transition="in" filter="fade">
                                      <p:cBhvr>
                                        <p:cTn id="29" dur="500"/>
                                        <p:tgtEl>
                                          <p:spTgt spid="3">
                                            <p:txEl>
                                              <p:pRg st="5" end="5"/>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10">
                                            <p:txEl>
                                              <p:pRg st="0" end="0"/>
                                            </p:txEl>
                                          </p:spTgt>
                                        </p:tgtEl>
                                        <p:attrNameLst>
                                          <p:attrName>style.visibility</p:attrName>
                                        </p:attrNameLst>
                                      </p:cBhvr>
                                      <p:to>
                                        <p:strVal val="visible"/>
                                      </p:to>
                                    </p:set>
                                    <p:animEffect transition="in" filter="fade">
                                      <p:cBhvr>
                                        <p:cTn id="34" dur="500"/>
                                        <p:tgtEl>
                                          <p:spTgt spid="10">
                                            <p:txEl>
                                              <p:pRg st="0" end="0"/>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fade">
                                      <p:cBhvr>
                                        <p:cTn id="3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964D9122-7304-4ACD-A4A0-A55FB9B09894}"/>
              </a:ext>
            </a:extLst>
          </p:cNvPr>
          <p:cNvSpPr>
            <a:spLocks noGrp="1"/>
          </p:cNvSpPr>
          <p:nvPr>
            <p:ph type="pic" sz="quarter" idx="10"/>
          </p:nvPr>
        </p:nvSpPr>
        <p:spPr/>
      </p:sp>
      <p:sp>
        <p:nvSpPr>
          <p:cNvPr id="5" name="Title 4">
            <a:extLst>
              <a:ext uri="{FF2B5EF4-FFF2-40B4-BE49-F238E27FC236}">
                <a16:creationId xmlns:a16="http://schemas.microsoft.com/office/drawing/2014/main" id="{E6621B92-495A-4091-A8EC-412B6DDBF0A1}"/>
              </a:ext>
            </a:extLst>
          </p:cNvPr>
          <p:cNvSpPr>
            <a:spLocks noGrp="1"/>
          </p:cNvSpPr>
          <p:nvPr>
            <p:ph type="ctrTitle"/>
          </p:nvPr>
        </p:nvSpPr>
        <p:spPr/>
        <p:txBody>
          <a:bodyPr/>
          <a:lstStyle/>
          <a:p>
            <a:r>
              <a:rPr lang="en-US" sz="4000" b="0" kern="1200" dirty="0">
                <a:latin typeface="+mn-lt"/>
                <a:ea typeface="+mn-ea"/>
                <a:cs typeface="+mn-cs"/>
              </a:rPr>
              <a:t>Protective Life: Strength, Stability, Protection</a:t>
            </a:r>
            <a:endParaRPr lang="en-US" sz="4000" dirty="0"/>
          </a:p>
        </p:txBody>
      </p:sp>
    </p:spTree>
    <p:extLst>
      <p:ext uri="{BB962C8B-B14F-4D97-AF65-F5344CB8AC3E}">
        <p14:creationId xmlns:p14="http://schemas.microsoft.com/office/powerpoint/2010/main" val="28164988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35127" y="137310"/>
            <a:ext cx="10962219" cy="679885"/>
          </a:xfrm>
        </p:spPr>
        <p:txBody>
          <a:bodyPr>
            <a:noAutofit/>
          </a:bodyPr>
          <a:lstStyle/>
          <a:p>
            <a:r>
              <a:rPr lang="en-US" sz="3333" dirty="0"/>
              <a:t>Protective at a Glance</a:t>
            </a:r>
          </a:p>
        </p:txBody>
      </p:sp>
      <p:sp>
        <p:nvSpPr>
          <p:cNvPr id="20" name="Rounded Rectangle 19"/>
          <p:cNvSpPr/>
          <p:nvPr/>
        </p:nvSpPr>
        <p:spPr>
          <a:xfrm>
            <a:off x="2228369" y="4983479"/>
            <a:ext cx="2582552" cy="59495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351">
              <a:lnSpc>
                <a:spcPct val="90000"/>
              </a:lnSpc>
            </a:pPr>
            <a:r>
              <a:rPr lang="en-US" sz="2400" dirty="0">
                <a:solidFill>
                  <a:srgbClr val="000000"/>
                </a:solidFill>
                <a:cs typeface="Arial" pitchFamily="34" charset="0"/>
              </a:rPr>
              <a:t>Growth Through Acquisitions</a:t>
            </a:r>
          </a:p>
        </p:txBody>
      </p:sp>
      <p:sp>
        <p:nvSpPr>
          <p:cNvPr id="37" name="TextBox 36"/>
          <p:cNvSpPr txBox="1"/>
          <p:nvPr/>
        </p:nvSpPr>
        <p:spPr>
          <a:xfrm>
            <a:off x="5585144" y="4782415"/>
            <a:ext cx="7299123" cy="354905"/>
          </a:xfrm>
          <a:prstGeom prst="rect">
            <a:avLst/>
          </a:prstGeom>
          <a:noFill/>
          <a:ln>
            <a:noFill/>
          </a:ln>
        </p:spPr>
        <p:txBody>
          <a:bodyPr wrap="square" rtlCol="0">
            <a:spAutoFit/>
          </a:bodyPr>
          <a:lstStyle/>
          <a:p>
            <a:pPr marL="237061" indent="-237061">
              <a:lnSpc>
                <a:spcPct val="80000"/>
              </a:lnSpc>
              <a:buClr>
                <a:srgbClr val="00A9E0"/>
              </a:buClr>
              <a:buFont typeface="Wingdings" panose="05000000000000000000" pitchFamily="2" charset="2"/>
              <a:buChar char="§"/>
            </a:pPr>
            <a:r>
              <a:rPr lang="en-US" sz="2133" dirty="0">
                <a:solidFill>
                  <a:srgbClr val="000000"/>
                </a:solidFill>
                <a:cs typeface="Arial" panose="020B0604020202020204" pitchFamily="34" charset="0"/>
              </a:rPr>
              <a:t>58 successful acquisitions</a:t>
            </a:r>
          </a:p>
        </p:txBody>
      </p:sp>
      <p:sp>
        <p:nvSpPr>
          <p:cNvPr id="38" name="TextBox 37"/>
          <p:cNvSpPr txBox="1"/>
          <p:nvPr/>
        </p:nvSpPr>
        <p:spPr>
          <a:xfrm>
            <a:off x="5585144" y="5130874"/>
            <a:ext cx="7299123" cy="354905"/>
          </a:xfrm>
          <a:prstGeom prst="rect">
            <a:avLst/>
          </a:prstGeom>
          <a:noFill/>
          <a:ln>
            <a:noFill/>
          </a:ln>
        </p:spPr>
        <p:txBody>
          <a:bodyPr wrap="square" rtlCol="0">
            <a:spAutoFit/>
          </a:bodyPr>
          <a:lstStyle/>
          <a:p>
            <a:pPr marL="237061" indent="-237061">
              <a:lnSpc>
                <a:spcPct val="80000"/>
              </a:lnSpc>
              <a:buClr>
                <a:srgbClr val="00A9E0"/>
              </a:buClr>
              <a:buFont typeface="Wingdings" panose="05000000000000000000" pitchFamily="2" charset="2"/>
              <a:buChar char="§"/>
            </a:pPr>
            <a:r>
              <a:rPr lang="en-US" sz="2133" dirty="0">
                <a:solidFill>
                  <a:srgbClr val="000000"/>
                </a:solidFill>
                <a:cs typeface="Arial" panose="020B0604020202020204" pitchFamily="34" charset="0"/>
              </a:rPr>
              <a:t>Over $4.8B of investment</a:t>
            </a:r>
          </a:p>
        </p:txBody>
      </p:sp>
      <p:sp>
        <p:nvSpPr>
          <p:cNvPr id="39" name="TextBox 38"/>
          <p:cNvSpPr txBox="1"/>
          <p:nvPr/>
        </p:nvSpPr>
        <p:spPr>
          <a:xfrm>
            <a:off x="5585148" y="5479331"/>
            <a:ext cx="7374081" cy="354905"/>
          </a:xfrm>
          <a:prstGeom prst="rect">
            <a:avLst/>
          </a:prstGeom>
          <a:noFill/>
          <a:ln>
            <a:noFill/>
          </a:ln>
        </p:spPr>
        <p:txBody>
          <a:bodyPr wrap="square" rtlCol="0">
            <a:spAutoFit/>
          </a:bodyPr>
          <a:lstStyle/>
          <a:p>
            <a:pPr marL="237061" indent="-237061">
              <a:lnSpc>
                <a:spcPct val="80000"/>
              </a:lnSpc>
              <a:buClr>
                <a:srgbClr val="00A9E0"/>
              </a:buClr>
              <a:buFont typeface="Wingdings" panose="05000000000000000000" pitchFamily="2" charset="2"/>
              <a:buChar char="§"/>
            </a:pPr>
            <a:r>
              <a:rPr lang="en-US" sz="2133" dirty="0">
                <a:solidFill>
                  <a:srgbClr val="000000"/>
                </a:solidFill>
                <a:cs typeface="Arial" panose="020B0604020202020204" pitchFamily="34" charset="0"/>
              </a:rPr>
              <a:t>Virtuous cycle</a:t>
            </a:r>
          </a:p>
        </p:txBody>
      </p:sp>
      <p:grpSp>
        <p:nvGrpSpPr>
          <p:cNvPr id="28" name="Group 27"/>
          <p:cNvGrpSpPr/>
          <p:nvPr/>
        </p:nvGrpSpPr>
        <p:grpSpPr>
          <a:xfrm>
            <a:off x="704575" y="4888867"/>
            <a:ext cx="877397" cy="797204"/>
            <a:chOff x="614725" y="1290969"/>
            <a:chExt cx="396161" cy="401674"/>
          </a:xfrm>
          <a:solidFill>
            <a:schemeClr val="tx2"/>
          </a:solidFill>
        </p:grpSpPr>
        <p:sp>
          <p:nvSpPr>
            <p:cNvPr id="29" name="Freeform 95"/>
            <p:cNvSpPr>
              <a:spLocks/>
            </p:cNvSpPr>
            <p:nvPr/>
          </p:nvSpPr>
          <p:spPr bwMode="auto">
            <a:xfrm>
              <a:off x="726564" y="1367366"/>
              <a:ext cx="131529" cy="269358"/>
            </a:xfrm>
            <a:custGeom>
              <a:avLst/>
              <a:gdLst>
                <a:gd name="T0" fmla="*/ 45 w 167"/>
                <a:gd name="T1" fmla="*/ 342 h 342"/>
                <a:gd name="T2" fmla="*/ 125 w 167"/>
                <a:gd name="T3" fmla="*/ 342 h 342"/>
                <a:gd name="T4" fmla="*/ 125 w 167"/>
                <a:gd name="T5" fmla="*/ 85 h 342"/>
                <a:gd name="T6" fmla="*/ 167 w 167"/>
                <a:gd name="T7" fmla="*/ 85 h 342"/>
                <a:gd name="T8" fmla="*/ 85 w 167"/>
                <a:gd name="T9" fmla="*/ 0 h 342"/>
                <a:gd name="T10" fmla="*/ 0 w 167"/>
                <a:gd name="T11" fmla="*/ 85 h 342"/>
                <a:gd name="T12" fmla="*/ 45 w 167"/>
                <a:gd name="T13" fmla="*/ 85 h 342"/>
                <a:gd name="T14" fmla="*/ 45 w 167"/>
                <a:gd name="T15" fmla="*/ 342 h 3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342">
                  <a:moveTo>
                    <a:pt x="45" y="342"/>
                  </a:moveTo>
                  <a:lnTo>
                    <a:pt x="125" y="342"/>
                  </a:lnTo>
                  <a:lnTo>
                    <a:pt x="125" y="85"/>
                  </a:lnTo>
                  <a:lnTo>
                    <a:pt x="167" y="85"/>
                  </a:lnTo>
                  <a:lnTo>
                    <a:pt x="85" y="0"/>
                  </a:lnTo>
                  <a:lnTo>
                    <a:pt x="0" y="85"/>
                  </a:lnTo>
                  <a:lnTo>
                    <a:pt x="45" y="85"/>
                  </a:lnTo>
                  <a:lnTo>
                    <a:pt x="45" y="34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solidFill>
                  <a:srgbClr val="3A3A3A"/>
                </a:solidFill>
              </a:endParaRPr>
            </a:p>
          </p:txBody>
        </p:sp>
        <p:sp>
          <p:nvSpPr>
            <p:cNvPr id="30" name="Freeform 96"/>
            <p:cNvSpPr>
              <a:spLocks/>
            </p:cNvSpPr>
            <p:nvPr/>
          </p:nvSpPr>
          <p:spPr bwMode="auto">
            <a:xfrm>
              <a:off x="616300" y="1472903"/>
              <a:ext cx="132317" cy="163820"/>
            </a:xfrm>
            <a:custGeom>
              <a:avLst/>
              <a:gdLst>
                <a:gd name="T0" fmla="*/ 45 w 168"/>
                <a:gd name="T1" fmla="*/ 208 h 208"/>
                <a:gd name="T2" fmla="*/ 123 w 168"/>
                <a:gd name="T3" fmla="*/ 208 h 208"/>
                <a:gd name="T4" fmla="*/ 123 w 168"/>
                <a:gd name="T5" fmla="*/ 86 h 208"/>
                <a:gd name="T6" fmla="*/ 168 w 168"/>
                <a:gd name="T7" fmla="*/ 86 h 208"/>
                <a:gd name="T8" fmla="*/ 85 w 168"/>
                <a:gd name="T9" fmla="*/ 0 h 208"/>
                <a:gd name="T10" fmla="*/ 0 w 168"/>
                <a:gd name="T11" fmla="*/ 86 h 208"/>
                <a:gd name="T12" fmla="*/ 45 w 168"/>
                <a:gd name="T13" fmla="*/ 86 h 208"/>
                <a:gd name="T14" fmla="*/ 45 w 168"/>
                <a:gd name="T15" fmla="*/ 208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 h="208">
                  <a:moveTo>
                    <a:pt x="45" y="208"/>
                  </a:moveTo>
                  <a:lnTo>
                    <a:pt x="123" y="208"/>
                  </a:lnTo>
                  <a:lnTo>
                    <a:pt x="123" y="86"/>
                  </a:lnTo>
                  <a:lnTo>
                    <a:pt x="168" y="86"/>
                  </a:lnTo>
                  <a:lnTo>
                    <a:pt x="85" y="0"/>
                  </a:lnTo>
                  <a:lnTo>
                    <a:pt x="0" y="86"/>
                  </a:lnTo>
                  <a:lnTo>
                    <a:pt x="45" y="86"/>
                  </a:lnTo>
                  <a:lnTo>
                    <a:pt x="45" y="208"/>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solidFill>
                  <a:srgbClr val="3A3A3A"/>
                </a:solidFill>
              </a:endParaRPr>
            </a:p>
          </p:txBody>
        </p:sp>
        <p:sp>
          <p:nvSpPr>
            <p:cNvPr id="31" name="Rectangle 97"/>
            <p:cNvSpPr>
              <a:spLocks noChangeArrowheads="1"/>
            </p:cNvSpPr>
            <p:nvPr/>
          </p:nvSpPr>
          <p:spPr bwMode="auto">
            <a:xfrm>
              <a:off x="614725" y="1655626"/>
              <a:ext cx="396161" cy="370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2400">
                <a:solidFill>
                  <a:srgbClr val="3A3A3A"/>
                </a:solidFill>
              </a:endParaRPr>
            </a:p>
          </p:txBody>
        </p:sp>
        <p:sp>
          <p:nvSpPr>
            <p:cNvPr id="32" name="Oval 98"/>
            <p:cNvSpPr>
              <a:spLocks noChangeArrowheads="1"/>
            </p:cNvSpPr>
            <p:nvPr/>
          </p:nvSpPr>
          <p:spPr bwMode="auto">
            <a:xfrm>
              <a:off x="905348" y="1290969"/>
              <a:ext cx="53556" cy="6694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solidFill>
                  <a:srgbClr val="3A3A3A"/>
                </a:solidFill>
              </a:endParaRPr>
            </a:p>
          </p:txBody>
        </p:sp>
        <p:sp>
          <p:nvSpPr>
            <p:cNvPr id="33" name="Freeform 99"/>
            <p:cNvSpPr>
              <a:spLocks/>
            </p:cNvSpPr>
            <p:nvPr/>
          </p:nvSpPr>
          <p:spPr bwMode="auto">
            <a:xfrm>
              <a:off x="867544" y="1363428"/>
              <a:ext cx="128378" cy="273296"/>
            </a:xfrm>
            <a:custGeom>
              <a:avLst/>
              <a:gdLst>
                <a:gd name="T0" fmla="*/ 9 w 69"/>
                <a:gd name="T1" fmla="*/ 78 h 147"/>
                <a:gd name="T2" fmla="*/ 10 w 69"/>
                <a:gd name="T3" fmla="*/ 78 h 147"/>
                <a:gd name="T4" fmla="*/ 11 w 69"/>
                <a:gd name="T5" fmla="*/ 78 h 147"/>
                <a:gd name="T6" fmla="*/ 14 w 69"/>
                <a:gd name="T7" fmla="*/ 147 h 147"/>
                <a:gd name="T8" fmla="*/ 33 w 69"/>
                <a:gd name="T9" fmla="*/ 147 h 147"/>
                <a:gd name="T10" fmla="*/ 33 w 69"/>
                <a:gd name="T11" fmla="*/ 78 h 147"/>
                <a:gd name="T12" fmla="*/ 35 w 69"/>
                <a:gd name="T13" fmla="*/ 78 h 147"/>
                <a:gd name="T14" fmla="*/ 37 w 69"/>
                <a:gd name="T15" fmla="*/ 147 h 147"/>
                <a:gd name="T16" fmla="*/ 57 w 69"/>
                <a:gd name="T17" fmla="*/ 147 h 147"/>
                <a:gd name="T18" fmla="*/ 57 w 69"/>
                <a:gd name="T19" fmla="*/ 78 h 147"/>
                <a:gd name="T20" fmla="*/ 59 w 69"/>
                <a:gd name="T21" fmla="*/ 78 h 147"/>
                <a:gd name="T22" fmla="*/ 59 w 69"/>
                <a:gd name="T23" fmla="*/ 78 h 147"/>
                <a:gd name="T24" fmla="*/ 59 w 69"/>
                <a:gd name="T25" fmla="*/ 78 h 147"/>
                <a:gd name="T26" fmla="*/ 69 w 69"/>
                <a:gd name="T27" fmla="*/ 77 h 147"/>
                <a:gd name="T28" fmla="*/ 63 w 69"/>
                <a:gd name="T29" fmla="*/ 10 h 147"/>
                <a:gd name="T30" fmla="*/ 55 w 69"/>
                <a:gd name="T31" fmla="*/ 2 h 147"/>
                <a:gd name="T32" fmla="*/ 46 w 69"/>
                <a:gd name="T33" fmla="*/ 1 h 147"/>
                <a:gd name="T34" fmla="*/ 46 w 69"/>
                <a:gd name="T35" fmla="*/ 1 h 147"/>
                <a:gd name="T36" fmla="*/ 52 w 69"/>
                <a:gd name="T37" fmla="*/ 6 h 147"/>
                <a:gd name="T38" fmla="*/ 45 w 69"/>
                <a:gd name="T39" fmla="*/ 10 h 147"/>
                <a:gd name="T40" fmla="*/ 48 w 69"/>
                <a:gd name="T41" fmla="*/ 16 h 147"/>
                <a:gd name="T42" fmla="*/ 39 w 69"/>
                <a:gd name="T43" fmla="*/ 36 h 147"/>
                <a:gd name="T44" fmla="*/ 38 w 69"/>
                <a:gd name="T45" fmla="*/ 8 h 147"/>
                <a:gd name="T46" fmla="*/ 39 w 69"/>
                <a:gd name="T47" fmla="*/ 7 h 147"/>
                <a:gd name="T48" fmla="*/ 37 w 69"/>
                <a:gd name="T49" fmla="*/ 0 h 147"/>
                <a:gd name="T50" fmla="*/ 31 w 69"/>
                <a:gd name="T51" fmla="*/ 0 h 147"/>
                <a:gd name="T52" fmla="*/ 30 w 69"/>
                <a:gd name="T53" fmla="*/ 7 h 147"/>
                <a:gd name="T54" fmla="*/ 31 w 69"/>
                <a:gd name="T55" fmla="*/ 8 h 147"/>
                <a:gd name="T56" fmla="*/ 29 w 69"/>
                <a:gd name="T57" fmla="*/ 37 h 147"/>
                <a:gd name="T58" fmla="*/ 20 w 69"/>
                <a:gd name="T59" fmla="*/ 16 h 147"/>
                <a:gd name="T60" fmla="*/ 23 w 69"/>
                <a:gd name="T61" fmla="*/ 10 h 147"/>
                <a:gd name="T62" fmla="*/ 16 w 69"/>
                <a:gd name="T63" fmla="*/ 6 h 147"/>
                <a:gd name="T64" fmla="*/ 22 w 69"/>
                <a:gd name="T65" fmla="*/ 1 h 147"/>
                <a:gd name="T66" fmla="*/ 22 w 69"/>
                <a:gd name="T67" fmla="*/ 1 h 147"/>
                <a:gd name="T68" fmla="*/ 14 w 69"/>
                <a:gd name="T69" fmla="*/ 2 h 147"/>
                <a:gd name="T70" fmla="*/ 5 w 69"/>
                <a:gd name="T71" fmla="*/ 10 h 147"/>
                <a:gd name="T72" fmla="*/ 0 w 69"/>
                <a:gd name="T73" fmla="*/ 77 h 147"/>
                <a:gd name="T74" fmla="*/ 9 w 69"/>
                <a:gd name="T75" fmla="*/ 78 h 147"/>
                <a:gd name="T76" fmla="*/ 9 w 69"/>
                <a:gd name="T77" fmla="*/ 7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9" h="147">
                  <a:moveTo>
                    <a:pt x="9" y="78"/>
                  </a:moveTo>
                  <a:cubicBezTo>
                    <a:pt x="10" y="78"/>
                    <a:pt x="10" y="78"/>
                    <a:pt x="10" y="78"/>
                  </a:cubicBezTo>
                  <a:cubicBezTo>
                    <a:pt x="11" y="78"/>
                    <a:pt x="11" y="78"/>
                    <a:pt x="11" y="78"/>
                  </a:cubicBezTo>
                  <a:cubicBezTo>
                    <a:pt x="14" y="147"/>
                    <a:pt x="14" y="147"/>
                    <a:pt x="14" y="147"/>
                  </a:cubicBezTo>
                  <a:cubicBezTo>
                    <a:pt x="33" y="147"/>
                    <a:pt x="33" y="147"/>
                    <a:pt x="33" y="147"/>
                  </a:cubicBezTo>
                  <a:cubicBezTo>
                    <a:pt x="34" y="127"/>
                    <a:pt x="33" y="92"/>
                    <a:pt x="33" y="78"/>
                  </a:cubicBezTo>
                  <a:cubicBezTo>
                    <a:pt x="34" y="78"/>
                    <a:pt x="35" y="78"/>
                    <a:pt x="35" y="78"/>
                  </a:cubicBezTo>
                  <a:cubicBezTo>
                    <a:pt x="37" y="147"/>
                    <a:pt x="37" y="147"/>
                    <a:pt x="37" y="147"/>
                  </a:cubicBezTo>
                  <a:cubicBezTo>
                    <a:pt x="57" y="147"/>
                    <a:pt x="57" y="147"/>
                    <a:pt x="57" y="147"/>
                  </a:cubicBezTo>
                  <a:cubicBezTo>
                    <a:pt x="58" y="127"/>
                    <a:pt x="57" y="92"/>
                    <a:pt x="57" y="78"/>
                  </a:cubicBezTo>
                  <a:cubicBezTo>
                    <a:pt x="58" y="78"/>
                    <a:pt x="58" y="78"/>
                    <a:pt x="59" y="78"/>
                  </a:cubicBezTo>
                  <a:cubicBezTo>
                    <a:pt x="59" y="78"/>
                    <a:pt x="59" y="78"/>
                    <a:pt x="59" y="78"/>
                  </a:cubicBezTo>
                  <a:cubicBezTo>
                    <a:pt x="59" y="78"/>
                    <a:pt x="59" y="78"/>
                    <a:pt x="59" y="78"/>
                  </a:cubicBezTo>
                  <a:cubicBezTo>
                    <a:pt x="62" y="78"/>
                    <a:pt x="66" y="78"/>
                    <a:pt x="69" y="77"/>
                  </a:cubicBezTo>
                  <a:cubicBezTo>
                    <a:pt x="63" y="10"/>
                    <a:pt x="63" y="10"/>
                    <a:pt x="63" y="10"/>
                  </a:cubicBezTo>
                  <a:cubicBezTo>
                    <a:pt x="63" y="5"/>
                    <a:pt x="59" y="2"/>
                    <a:pt x="55" y="2"/>
                  </a:cubicBezTo>
                  <a:cubicBezTo>
                    <a:pt x="55" y="2"/>
                    <a:pt x="49" y="1"/>
                    <a:pt x="46" y="1"/>
                  </a:cubicBezTo>
                  <a:cubicBezTo>
                    <a:pt x="46" y="1"/>
                    <a:pt x="46" y="1"/>
                    <a:pt x="46" y="1"/>
                  </a:cubicBezTo>
                  <a:cubicBezTo>
                    <a:pt x="52" y="6"/>
                    <a:pt x="52" y="6"/>
                    <a:pt x="52" y="6"/>
                  </a:cubicBezTo>
                  <a:cubicBezTo>
                    <a:pt x="45" y="10"/>
                    <a:pt x="45" y="10"/>
                    <a:pt x="45" y="10"/>
                  </a:cubicBezTo>
                  <a:cubicBezTo>
                    <a:pt x="48" y="16"/>
                    <a:pt x="48" y="16"/>
                    <a:pt x="48" y="16"/>
                  </a:cubicBezTo>
                  <a:cubicBezTo>
                    <a:pt x="39" y="36"/>
                    <a:pt x="39" y="36"/>
                    <a:pt x="39" y="36"/>
                  </a:cubicBezTo>
                  <a:cubicBezTo>
                    <a:pt x="38" y="8"/>
                    <a:pt x="38" y="8"/>
                    <a:pt x="38" y="8"/>
                  </a:cubicBezTo>
                  <a:cubicBezTo>
                    <a:pt x="39" y="7"/>
                    <a:pt x="39" y="7"/>
                    <a:pt x="39" y="7"/>
                  </a:cubicBezTo>
                  <a:cubicBezTo>
                    <a:pt x="37" y="0"/>
                    <a:pt x="37" y="0"/>
                    <a:pt x="37" y="0"/>
                  </a:cubicBezTo>
                  <a:cubicBezTo>
                    <a:pt x="31" y="0"/>
                    <a:pt x="31" y="0"/>
                    <a:pt x="31" y="0"/>
                  </a:cubicBezTo>
                  <a:cubicBezTo>
                    <a:pt x="30" y="7"/>
                    <a:pt x="30" y="7"/>
                    <a:pt x="30" y="7"/>
                  </a:cubicBezTo>
                  <a:cubicBezTo>
                    <a:pt x="31" y="8"/>
                    <a:pt x="31" y="8"/>
                    <a:pt x="31" y="8"/>
                  </a:cubicBezTo>
                  <a:cubicBezTo>
                    <a:pt x="29" y="37"/>
                    <a:pt x="29" y="37"/>
                    <a:pt x="29" y="37"/>
                  </a:cubicBezTo>
                  <a:cubicBezTo>
                    <a:pt x="20" y="16"/>
                    <a:pt x="20" y="16"/>
                    <a:pt x="20" y="16"/>
                  </a:cubicBezTo>
                  <a:cubicBezTo>
                    <a:pt x="23" y="10"/>
                    <a:pt x="23" y="10"/>
                    <a:pt x="23" y="10"/>
                  </a:cubicBezTo>
                  <a:cubicBezTo>
                    <a:pt x="16" y="6"/>
                    <a:pt x="16" y="6"/>
                    <a:pt x="16" y="6"/>
                  </a:cubicBezTo>
                  <a:cubicBezTo>
                    <a:pt x="22" y="1"/>
                    <a:pt x="22" y="1"/>
                    <a:pt x="22" y="1"/>
                  </a:cubicBezTo>
                  <a:cubicBezTo>
                    <a:pt x="22" y="1"/>
                    <a:pt x="22" y="1"/>
                    <a:pt x="22" y="1"/>
                  </a:cubicBezTo>
                  <a:cubicBezTo>
                    <a:pt x="20" y="1"/>
                    <a:pt x="14" y="2"/>
                    <a:pt x="14" y="2"/>
                  </a:cubicBezTo>
                  <a:cubicBezTo>
                    <a:pt x="10" y="2"/>
                    <a:pt x="6" y="5"/>
                    <a:pt x="5" y="10"/>
                  </a:cubicBezTo>
                  <a:cubicBezTo>
                    <a:pt x="0" y="77"/>
                    <a:pt x="0" y="77"/>
                    <a:pt x="0" y="77"/>
                  </a:cubicBezTo>
                  <a:cubicBezTo>
                    <a:pt x="3" y="78"/>
                    <a:pt x="6" y="78"/>
                    <a:pt x="9" y="78"/>
                  </a:cubicBezTo>
                  <a:cubicBezTo>
                    <a:pt x="9" y="78"/>
                    <a:pt x="9" y="78"/>
                    <a:pt x="9"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solidFill>
                  <a:srgbClr val="3A3A3A"/>
                </a:solidFill>
              </a:endParaRPr>
            </a:p>
          </p:txBody>
        </p:sp>
      </p:grpSp>
      <p:sp>
        <p:nvSpPr>
          <p:cNvPr id="40" name="TextBox 39"/>
          <p:cNvSpPr txBox="1"/>
          <p:nvPr/>
        </p:nvSpPr>
        <p:spPr>
          <a:xfrm>
            <a:off x="5585144" y="3158611"/>
            <a:ext cx="6076859" cy="354905"/>
          </a:xfrm>
          <a:prstGeom prst="rect">
            <a:avLst/>
          </a:prstGeom>
          <a:noFill/>
          <a:ln>
            <a:noFill/>
          </a:ln>
        </p:spPr>
        <p:txBody>
          <a:bodyPr wrap="square" rtlCol="0">
            <a:spAutoFit/>
          </a:bodyPr>
          <a:lstStyle/>
          <a:p>
            <a:pPr marL="237061" indent="-237061">
              <a:lnSpc>
                <a:spcPct val="80000"/>
              </a:lnSpc>
              <a:buClr>
                <a:srgbClr val="00A9E0"/>
              </a:buClr>
              <a:buFont typeface="Wingdings" panose="05000000000000000000" pitchFamily="2" charset="2"/>
              <a:buChar char="§"/>
            </a:pPr>
            <a:r>
              <a:rPr lang="en-US" sz="2133" dirty="0">
                <a:solidFill>
                  <a:srgbClr val="000000"/>
                </a:solidFill>
                <a:cs typeface="Arial" panose="020B0604020202020204" pitchFamily="34" charset="0"/>
              </a:rPr>
              <a:t>National footprint</a:t>
            </a:r>
          </a:p>
        </p:txBody>
      </p:sp>
      <p:sp>
        <p:nvSpPr>
          <p:cNvPr id="27" name="Rounded Rectangle 26"/>
          <p:cNvSpPr/>
          <p:nvPr/>
        </p:nvSpPr>
        <p:spPr>
          <a:xfrm>
            <a:off x="2228369" y="3315879"/>
            <a:ext cx="3072659" cy="656799"/>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351">
              <a:lnSpc>
                <a:spcPct val="90000"/>
              </a:lnSpc>
            </a:pPr>
            <a:r>
              <a:rPr lang="en-US" sz="2400" dirty="0">
                <a:solidFill>
                  <a:srgbClr val="000000"/>
                </a:solidFill>
                <a:cs typeface="Arial" pitchFamily="34" charset="0"/>
              </a:rPr>
              <a:t>3,000+ Employees</a:t>
            </a:r>
            <a:r>
              <a:rPr lang="en-US" sz="2133" baseline="30000" dirty="0">
                <a:solidFill>
                  <a:srgbClr val="000000"/>
                </a:solidFill>
                <a:cs typeface="Arial" pitchFamily="34" charset="0"/>
              </a:rPr>
              <a:t>*</a:t>
            </a:r>
            <a:endParaRPr lang="en-US" sz="2400" baseline="30000" dirty="0">
              <a:solidFill>
                <a:srgbClr val="000000"/>
              </a:solidFill>
              <a:cs typeface="Arial" pitchFamily="34" charset="0"/>
            </a:endParaRPr>
          </a:p>
        </p:txBody>
      </p:sp>
      <p:sp>
        <p:nvSpPr>
          <p:cNvPr id="41" name="TextBox 40"/>
          <p:cNvSpPr txBox="1"/>
          <p:nvPr/>
        </p:nvSpPr>
        <p:spPr>
          <a:xfrm>
            <a:off x="5585144" y="3538466"/>
            <a:ext cx="6076859" cy="354905"/>
          </a:xfrm>
          <a:prstGeom prst="rect">
            <a:avLst/>
          </a:prstGeom>
          <a:noFill/>
          <a:ln>
            <a:noFill/>
          </a:ln>
        </p:spPr>
        <p:txBody>
          <a:bodyPr wrap="square" rtlCol="0">
            <a:spAutoFit/>
          </a:bodyPr>
          <a:lstStyle/>
          <a:p>
            <a:pPr marL="237061" indent="-237061">
              <a:lnSpc>
                <a:spcPct val="80000"/>
              </a:lnSpc>
              <a:buClr>
                <a:srgbClr val="00A9E0"/>
              </a:buClr>
              <a:buFont typeface="Wingdings" panose="05000000000000000000" pitchFamily="2" charset="2"/>
              <a:buChar char="§"/>
            </a:pPr>
            <a:r>
              <a:rPr lang="en-US" sz="2133" dirty="0">
                <a:solidFill>
                  <a:srgbClr val="000000"/>
                </a:solidFill>
                <a:cs typeface="Arial" panose="020B0604020202020204" pitchFamily="34" charset="0"/>
              </a:rPr>
              <a:t>Offices across the U.S.</a:t>
            </a:r>
          </a:p>
        </p:txBody>
      </p:sp>
      <p:sp>
        <p:nvSpPr>
          <p:cNvPr id="42" name="TextBox 41"/>
          <p:cNvSpPr txBox="1"/>
          <p:nvPr/>
        </p:nvSpPr>
        <p:spPr>
          <a:xfrm>
            <a:off x="5585144" y="3902925"/>
            <a:ext cx="6076859" cy="354905"/>
          </a:xfrm>
          <a:prstGeom prst="rect">
            <a:avLst/>
          </a:prstGeom>
          <a:noFill/>
          <a:ln>
            <a:noFill/>
          </a:ln>
        </p:spPr>
        <p:txBody>
          <a:bodyPr wrap="square" rtlCol="0">
            <a:spAutoFit/>
          </a:bodyPr>
          <a:lstStyle/>
          <a:p>
            <a:pPr marL="237061" indent="-237061">
              <a:lnSpc>
                <a:spcPct val="80000"/>
              </a:lnSpc>
              <a:buClr>
                <a:srgbClr val="00A9E0"/>
              </a:buClr>
              <a:buFont typeface="Wingdings" panose="05000000000000000000" pitchFamily="2" charset="2"/>
              <a:buChar char="§"/>
            </a:pPr>
            <a:r>
              <a:rPr lang="en-US" sz="2133" dirty="0">
                <a:solidFill>
                  <a:srgbClr val="000000"/>
                </a:solidFill>
                <a:cs typeface="Arial" panose="020B0604020202020204" pitchFamily="34" charset="0"/>
              </a:rPr>
              <a:t>Guided by mission and values</a:t>
            </a:r>
          </a:p>
        </p:txBody>
      </p:sp>
      <p:grpSp>
        <p:nvGrpSpPr>
          <p:cNvPr id="43" name="Group 42"/>
          <p:cNvGrpSpPr/>
          <p:nvPr/>
        </p:nvGrpSpPr>
        <p:grpSpPr>
          <a:xfrm>
            <a:off x="723287" y="3243163"/>
            <a:ext cx="839973" cy="759424"/>
            <a:chOff x="5007993" y="3496572"/>
            <a:chExt cx="442629" cy="446568"/>
          </a:xfrm>
        </p:grpSpPr>
        <p:sp>
          <p:nvSpPr>
            <p:cNvPr id="44" name="Freeform 43"/>
            <p:cNvSpPr/>
            <p:nvPr/>
          </p:nvSpPr>
          <p:spPr>
            <a:xfrm>
              <a:off x="5025292" y="3509108"/>
              <a:ext cx="410308" cy="211015"/>
            </a:xfrm>
            <a:custGeom>
              <a:avLst/>
              <a:gdLst>
                <a:gd name="connsiteX0" fmla="*/ 0 w 410308"/>
                <a:gd name="connsiteY0" fmla="*/ 211015 h 211015"/>
                <a:gd name="connsiteX1" fmla="*/ 410308 w 410308"/>
                <a:gd name="connsiteY1" fmla="*/ 203200 h 211015"/>
                <a:gd name="connsiteX2" fmla="*/ 390770 w 410308"/>
                <a:gd name="connsiteY2" fmla="*/ 117230 h 211015"/>
                <a:gd name="connsiteX3" fmla="*/ 332154 w 410308"/>
                <a:gd name="connsiteY3" fmla="*/ 58615 h 211015"/>
                <a:gd name="connsiteX4" fmla="*/ 230554 w 410308"/>
                <a:gd name="connsiteY4" fmla="*/ 0 h 211015"/>
                <a:gd name="connsiteX5" fmla="*/ 136770 w 410308"/>
                <a:gd name="connsiteY5" fmla="*/ 15630 h 211015"/>
                <a:gd name="connsiteX6" fmla="*/ 46893 w 410308"/>
                <a:gd name="connsiteY6" fmla="*/ 62523 h 211015"/>
                <a:gd name="connsiteX7" fmla="*/ 0 w 410308"/>
                <a:gd name="connsiteY7" fmla="*/ 211015 h 21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0308" h="211015">
                  <a:moveTo>
                    <a:pt x="0" y="211015"/>
                  </a:moveTo>
                  <a:lnTo>
                    <a:pt x="410308" y="203200"/>
                  </a:lnTo>
                  <a:lnTo>
                    <a:pt x="390770" y="117230"/>
                  </a:lnTo>
                  <a:lnTo>
                    <a:pt x="332154" y="58615"/>
                  </a:lnTo>
                  <a:lnTo>
                    <a:pt x="230554" y="0"/>
                  </a:lnTo>
                  <a:lnTo>
                    <a:pt x="136770" y="15630"/>
                  </a:lnTo>
                  <a:lnTo>
                    <a:pt x="46893" y="62523"/>
                  </a:lnTo>
                  <a:lnTo>
                    <a:pt x="0" y="211015"/>
                  </a:lnTo>
                  <a:close/>
                </a:path>
              </a:pathLst>
            </a:cu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endParaRPr>
            </a:p>
          </p:txBody>
        </p:sp>
        <p:grpSp>
          <p:nvGrpSpPr>
            <p:cNvPr id="45" name="Group 44"/>
            <p:cNvGrpSpPr/>
            <p:nvPr/>
          </p:nvGrpSpPr>
          <p:grpSpPr>
            <a:xfrm>
              <a:off x="5007993" y="3496572"/>
              <a:ext cx="442629" cy="446568"/>
              <a:chOff x="2246625" y="2053362"/>
              <a:chExt cx="442629" cy="446568"/>
            </a:xfrm>
            <a:solidFill>
              <a:schemeClr val="tx2"/>
            </a:solidFill>
          </p:grpSpPr>
          <p:sp>
            <p:nvSpPr>
              <p:cNvPr id="49" name="Oval 135"/>
              <p:cNvSpPr>
                <a:spLocks noChangeArrowheads="1"/>
              </p:cNvSpPr>
              <p:nvPr/>
            </p:nvSpPr>
            <p:spPr bwMode="auto">
              <a:xfrm>
                <a:off x="2530948" y="2312482"/>
                <a:ext cx="66946" cy="795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solidFill>
                    <a:srgbClr val="3A3A3A"/>
                  </a:solidFill>
                </a:endParaRPr>
              </a:p>
            </p:txBody>
          </p:sp>
          <p:sp>
            <p:nvSpPr>
              <p:cNvPr id="54" name="Oval 136"/>
              <p:cNvSpPr>
                <a:spLocks noChangeArrowheads="1"/>
              </p:cNvSpPr>
              <p:nvPr/>
            </p:nvSpPr>
            <p:spPr bwMode="auto">
              <a:xfrm>
                <a:off x="2337199" y="2312482"/>
                <a:ext cx="66946" cy="795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solidFill>
                    <a:srgbClr val="3A3A3A"/>
                  </a:solidFill>
                </a:endParaRPr>
              </a:p>
            </p:txBody>
          </p:sp>
          <p:sp>
            <p:nvSpPr>
              <p:cNvPr id="55" name="Oval 137"/>
              <p:cNvSpPr>
                <a:spLocks noChangeArrowheads="1"/>
              </p:cNvSpPr>
              <p:nvPr/>
            </p:nvSpPr>
            <p:spPr bwMode="auto">
              <a:xfrm>
                <a:off x="2424622" y="2297517"/>
                <a:ext cx="84272" cy="96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solidFill>
                    <a:srgbClr val="3A3A3A"/>
                  </a:solidFill>
                </a:endParaRPr>
              </a:p>
            </p:txBody>
          </p:sp>
          <p:sp>
            <p:nvSpPr>
              <p:cNvPr id="56" name="Freeform 138"/>
              <p:cNvSpPr>
                <a:spLocks noEditPoints="1"/>
              </p:cNvSpPr>
              <p:nvPr/>
            </p:nvSpPr>
            <p:spPr bwMode="auto">
              <a:xfrm>
                <a:off x="2246625" y="2053362"/>
                <a:ext cx="442629" cy="424515"/>
              </a:xfrm>
              <a:custGeom>
                <a:avLst/>
                <a:gdLst>
                  <a:gd name="T0" fmla="*/ 119 w 238"/>
                  <a:gd name="T1" fmla="*/ 0 h 228"/>
                  <a:gd name="T2" fmla="*/ 0 w 238"/>
                  <a:gd name="T3" fmla="*/ 120 h 228"/>
                  <a:gd name="T4" fmla="*/ 68 w 238"/>
                  <a:gd name="T5" fmla="*/ 228 h 228"/>
                  <a:gd name="T6" fmla="*/ 70 w 238"/>
                  <a:gd name="T7" fmla="*/ 200 h 228"/>
                  <a:gd name="T8" fmla="*/ 83 w 238"/>
                  <a:gd name="T9" fmla="*/ 187 h 228"/>
                  <a:gd name="T10" fmla="*/ 81 w 238"/>
                  <a:gd name="T11" fmla="*/ 187 h 228"/>
                  <a:gd name="T12" fmla="*/ 70 w 238"/>
                  <a:gd name="T13" fmla="*/ 186 h 228"/>
                  <a:gd name="T14" fmla="*/ 63 w 238"/>
                  <a:gd name="T15" fmla="*/ 186 h 228"/>
                  <a:gd name="T16" fmla="*/ 53 w 238"/>
                  <a:gd name="T17" fmla="*/ 187 h 228"/>
                  <a:gd name="T18" fmla="*/ 43 w 238"/>
                  <a:gd name="T19" fmla="*/ 188 h 228"/>
                  <a:gd name="T20" fmla="*/ 39 w 238"/>
                  <a:gd name="T21" fmla="*/ 189 h 228"/>
                  <a:gd name="T22" fmla="*/ 14 w 238"/>
                  <a:gd name="T23" fmla="*/ 127 h 228"/>
                  <a:gd name="T24" fmla="*/ 224 w 238"/>
                  <a:gd name="T25" fmla="*/ 127 h 228"/>
                  <a:gd name="T26" fmla="*/ 199 w 238"/>
                  <a:gd name="T27" fmla="*/ 189 h 228"/>
                  <a:gd name="T28" fmla="*/ 195 w 238"/>
                  <a:gd name="T29" fmla="*/ 188 h 228"/>
                  <a:gd name="T30" fmla="*/ 185 w 238"/>
                  <a:gd name="T31" fmla="*/ 187 h 228"/>
                  <a:gd name="T32" fmla="*/ 175 w 238"/>
                  <a:gd name="T33" fmla="*/ 186 h 228"/>
                  <a:gd name="T34" fmla="*/ 168 w 238"/>
                  <a:gd name="T35" fmla="*/ 186 h 228"/>
                  <a:gd name="T36" fmla="*/ 157 w 238"/>
                  <a:gd name="T37" fmla="*/ 187 h 228"/>
                  <a:gd name="T38" fmla="*/ 155 w 238"/>
                  <a:gd name="T39" fmla="*/ 187 h 228"/>
                  <a:gd name="T40" fmla="*/ 168 w 238"/>
                  <a:gd name="T41" fmla="*/ 200 h 228"/>
                  <a:gd name="T42" fmla="*/ 170 w 238"/>
                  <a:gd name="T43" fmla="*/ 228 h 228"/>
                  <a:gd name="T44" fmla="*/ 238 w 238"/>
                  <a:gd name="T45" fmla="*/ 120 h 228"/>
                  <a:gd name="T46" fmla="*/ 119 w 238"/>
                  <a:gd name="T47" fmla="*/ 0 h 228"/>
                  <a:gd name="T48" fmla="*/ 119 w 238"/>
                  <a:gd name="T49" fmla="*/ 17 h 228"/>
                  <a:gd name="T50" fmla="*/ 152 w 238"/>
                  <a:gd name="T51" fmla="*/ 62 h 228"/>
                  <a:gd name="T52" fmla="*/ 86 w 238"/>
                  <a:gd name="T53" fmla="*/ 62 h 228"/>
                  <a:gd name="T54" fmla="*/ 119 w 238"/>
                  <a:gd name="T55" fmla="*/ 17 h 228"/>
                  <a:gd name="T56" fmla="*/ 66 w 238"/>
                  <a:gd name="T57" fmla="*/ 113 h 228"/>
                  <a:gd name="T58" fmla="*/ 14 w 238"/>
                  <a:gd name="T59" fmla="*/ 113 h 228"/>
                  <a:gd name="T60" fmla="*/ 29 w 238"/>
                  <a:gd name="T61" fmla="*/ 66 h 228"/>
                  <a:gd name="T62" fmla="*/ 69 w 238"/>
                  <a:gd name="T63" fmla="*/ 74 h 228"/>
                  <a:gd name="T64" fmla="*/ 66 w 238"/>
                  <a:gd name="T65" fmla="*/ 113 h 228"/>
                  <a:gd name="T66" fmla="*/ 37 w 238"/>
                  <a:gd name="T67" fmla="*/ 54 h 228"/>
                  <a:gd name="T68" fmla="*/ 93 w 238"/>
                  <a:gd name="T69" fmla="*/ 17 h 228"/>
                  <a:gd name="T70" fmla="*/ 72 w 238"/>
                  <a:gd name="T71" fmla="*/ 61 h 228"/>
                  <a:gd name="T72" fmla="*/ 37 w 238"/>
                  <a:gd name="T73" fmla="*/ 54 h 228"/>
                  <a:gd name="T74" fmla="*/ 79 w 238"/>
                  <a:gd name="T75" fmla="*/ 113 h 228"/>
                  <a:gd name="T76" fmla="*/ 83 w 238"/>
                  <a:gd name="T77" fmla="*/ 76 h 228"/>
                  <a:gd name="T78" fmla="*/ 119 w 238"/>
                  <a:gd name="T79" fmla="*/ 78 h 228"/>
                  <a:gd name="T80" fmla="*/ 155 w 238"/>
                  <a:gd name="T81" fmla="*/ 76 h 228"/>
                  <a:gd name="T82" fmla="*/ 159 w 238"/>
                  <a:gd name="T83" fmla="*/ 113 h 228"/>
                  <a:gd name="T84" fmla="*/ 79 w 238"/>
                  <a:gd name="T85" fmla="*/ 113 h 228"/>
                  <a:gd name="T86" fmla="*/ 145 w 238"/>
                  <a:gd name="T87" fmla="*/ 17 h 228"/>
                  <a:gd name="T88" fmla="*/ 201 w 238"/>
                  <a:gd name="T89" fmla="*/ 54 h 228"/>
                  <a:gd name="T90" fmla="*/ 165 w 238"/>
                  <a:gd name="T91" fmla="*/ 61 h 228"/>
                  <a:gd name="T92" fmla="*/ 145 w 238"/>
                  <a:gd name="T93" fmla="*/ 17 h 228"/>
                  <a:gd name="T94" fmla="*/ 172 w 238"/>
                  <a:gd name="T95" fmla="*/ 113 h 228"/>
                  <a:gd name="T96" fmla="*/ 169 w 238"/>
                  <a:gd name="T97" fmla="*/ 75 h 228"/>
                  <a:gd name="T98" fmla="*/ 209 w 238"/>
                  <a:gd name="T99" fmla="*/ 66 h 228"/>
                  <a:gd name="T100" fmla="*/ 224 w 238"/>
                  <a:gd name="T101" fmla="*/ 113 h 228"/>
                  <a:gd name="T102" fmla="*/ 172 w 238"/>
                  <a:gd name="T103" fmla="*/ 113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8" h="228">
                    <a:moveTo>
                      <a:pt x="119" y="0"/>
                    </a:moveTo>
                    <a:cubicBezTo>
                      <a:pt x="53" y="0"/>
                      <a:pt x="0" y="54"/>
                      <a:pt x="0" y="120"/>
                    </a:cubicBezTo>
                    <a:cubicBezTo>
                      <a:pt x="0" y="168"/>
                      <a:pt x="28" y="209"/>
                      <a:pt x="68" y="228"/>
                    </a:cubicBezTo>
                    <a:cubicBezTo>
                      <a:pt x="70" y="200"/>
                      <a:pt x="70" y="200"/>
                      <a:pt x="70" y="200"/>
                    </a:cubicBezTo>
                    <a:cubicBezTo>
                      <a:pt x="71" y="193"/>
                      <a:pt x="76" y="188"/>
                      <a:pt x="83" y="187"/>
                    </a:cubicBezTo>
                    <a:cubicBezTo>
                      <a:pt x="82" y="187"/>
                      <a:pt x="81" y="187"/>
                      <a:pt x="81" y="187"/>
                    </a:cubicBezTo>
                    <a:cubicBezTo>
                      <a:pt x="70" y="186"/>
                      <a:pt x="70" y="186"/>
                      <a:pt x="70" y="186"/>
                    </a:cubicBezTo>
                    <a:cubicBezTo>
                      <a:pt x="63" y="186"/>
                      <a:pt x="63" y="186"/>
                      <a:pt x="63" y="186"/>
                    </a:cubicBezTo>
                    <a:cubicBezTo>
                      <a:pt x="53" y="187"/>
                      <a:pt x="53" y="187"/>
                      <a:pt x="53" y="187"/>
                    </a:cubicBezTo>
                    <a:cubicBezTo>
                      <a:pt x="50" y="187"/>
                      <a:pt x="43" y="188"/>
                      <a:pt x="43" y="188"/>
                    </a:cubicBezTo>
                    <a:cubicBezTo>
                      <a:pt x="42" y="188"/>
                      <a:pt x="40" y="188"/>
                      <a:pt x="39" y="189"/>
                    </a:cubicBezTo>
                    <a:cubicBezTo>
                      <a:pt x="25" y="172"/>
                      <a:pt x="16" y="151"/>
                      <a:pt x="14" y="127"/>
                    </a:cubicBezTo>
                    <a:cubicBezTo>
                      <a:pt x="224" y="127"/>
                      <a:pt x="224" y="127"/>
                      <a:pt x="224" y="127"/>
                    </a:cubicBezTo>
                    <a:cubicBezTo>
                      <a:pt x="222" y="151"/>
                      <a:pt x="213" y="172"/>
                      <a:pt x="199" y="189"/>
                    </a:cubicBezTo>
                    <a:cubicBezTo>
                      <a:pt x="198" y="188"/>
                      <a:pt x="196" y="188"/>
                      <a:pt x="195" y="188"/>
                    </a:cubicBezTo>
                    <a:cubicBezTo>
                      <a:pt x="195" y="188"/>
                      <a:pt x="188" y="187"/>
                      <a:pt x="185" y="187"/>
                    </a:cubicBezTo>
                    <a:cubicBezTo>
                      <a:pt x="175" y="186"/>
                      <a:pt x="175" y="186"/>
                      <a:pt x="175" y="186"/>
                    </a:cubicBezTo>
                    <a:cubicBezTo>
                      <a:pt x="168" y="186"/>
                      <a:pt x="168" y="186"/>
                      <a:pt x="168" y="186"/>
                    </a:cubicBezTo>
                    <a:cubicBezTo>
                      <a:pt x="157" y="187"/>
                      <a:pt x="157" y="187"/>
                      <a:pt x="157" y="187"/>
                    </a:cubicBezTo>
                    <a:cubicBezTo>
                      <a:pt x="157" y="187"/>
                      <a:pt x="156" y="187"/>
                      <a:pt x="155" y="187"/>
                    </a:cubicBezTo>
                    <a:cubicBezTo>
                      <a:pt x="162" y="188"/>
                      <a:pt x="167" y="193"/>
                      <a:pt x="168" y="200"/>
                    </a:cubicBezTo>
                    <a:cubicBezTo>
                      <a:pt x="170" y="228"/>
                      <a:pt x="170" y="228"/>
                      <a:pt x="170" y="228"/>
                    </a:cubicBezTo>
                    <a:cubicBezTo>
                      <a:pt x="210" y="209"/>
                      <a:pt x="238" y="168"/>
                      <a:pt x="238" y="120"/>
                    </a:cubicBezTo>
                    <a:cubicBezTo>
                      <a:pt x="238" y="54"/>
                      <a:pt x="185" y="0"/>
                      <a:pt x="119" y="0"/>
                    </a:cubicBezTo>
                    <a:close/>
                    <a:moveTo>
                      <a:pt x="119" y="17"/>
                    </a:moveTo>
                    <a:cubicBezTo>
                      <a:pt x="131" y="17"/>
                      <a:pt x="144" y="34"/>
                      <a:pt x="152" y="62"/>
                    </a:cubicBezTo>
                    <a:cubicBezTo>
                      <a:pt x="130" y="65"/>
                      <a:pt x="108" y="65"/>
                      <a:pt x="86" y="62"/>
                    </a:cubicBezTo>
                    <a:cubicBezTo>
                      <a:pt x="94" y="34"/>
                      <a:pt x="107" y="17"/>
                      <a:pt x="119" y="17"/>
                    </a:cubicBezTo>
                    <a:close/>
                    <a:moveTo>
                      <a:pt x="66" y="113"/>
                    </a:moveTo>
                    <a:cubicBezTo>
                      <a:pt x="14" y="113"/>
                      <a:pt x="14" y="113"/>
                      <a:pt x="14" y="113"/>
                    </a:cubicBezTo>
                    <a:cubicBezTo>
                      <a:pt x="15" y="96"/>
                      <a:pt x="20" y="80"/>
                      <a:pt x="29" y="66"/>
                    </a:cubicBezTo>
                    <a:cubicBezTo>
                      <a:pt x="42" y="70"/>
                      <a:pt x="56" y="73"/>
                      <a:pt x="69" y="74"/>
                    </a:cubicBezTo>
                    <a:cubicBezTo>
                      <a:pt x="67" y="86"/>
                      <a:pt x="66" y="99"/>
                      <a:pt x="66" y="113"/>
                    </a:cubicBezTo>
                    <a:close/>
                    <a:moveTo>
                      <a:pt x="37" y="54"/>
                    </a:moveTo>
                    <a:cubicBezTo>
                      <a:pt x="51" y="36"/>
                      <a:pt x="70" y="23"/>
                      <a:pt x="93" y="17"/>
                    </a:cubicBezTo>
                    <a:cubicBezTo>
                      <a:pt x="84" y="27"/>
                      <a:pt x="77" y="42"/>
                      <a:pt x="72" y="61"/>
                    </a:cubicBezTo>
                    <a:cubicBezTo>
                      <a:pt x="60" y="59"/>
                      <a:pt x="49" y="57"/>
                      <a:pt x="37" y="54"/>
                    </a:cubicBezTo>
                    <a:close/>
                    <a:moveTo>
                      <a:pt x="79" y="113"/>
                    </a:moveTo>
                    <a:cubicBezTo>
                      <a:pt x="80" y="100"/>
                      <a:pt x="81" y="87"/>
                      <a:pt x="83" y="76"/>
                    </a:cubicBezTo>
                    <a:cubicBezTo>
                      <a:pt x="95" y="77"/>
                      <a:pt x="107" y="78"/>
                      <a:pt x="119" y="78"/>
                    </a:cubicBezTo>
                    <a:cubicBezTo>
                      <a:pt x="131" y="78"/>
                      <a:pt x="143" y="77"/>
                      <a:pt x="155" y="76"/>
                    </a:cubicBezTo>
                    <a:cubicBezTo>
                      <a:pt x="157" y="87"/>
                      <a:pt x="158" y="100"/>
                      <a:pt x="159" y="113"/>
                    </a:cubicBezTo>
                    <a:lnTo>
                      <a:pt x="79" y="113"/>
                    </a:lnTo>
                    <a:close/>
                    <a:moveTo>
                      <a:pt x="145" y="17"/>
                    </a:moveTo>
                    <a:cubicBezTo>
                      <a:pt x="167" y="23"/>
                      <a:pt x="187" y="36"/>
                      <a:pt x="201" y="54"/>
                    </a:cubicBezTo>
                    <a:cubicBezTo>
                      <a:pt x="189" y="57"/>
                      <a:pt x="177" y="59"/>
                      <a:pt x="165" y="61"/>
                    </a:cubicBezTo>
                    <a:cubicBezTo>
                      <a:pt x="161" y="42"/>
                      <a:pt x="153" y="27"/>
                      <a:pt x="145" y="17"/>
                    </a:cubicBezTo>
                    <a:close/>
                    <a:moveTo>
                      <a:pt x="172" y="113"/>
                    </a:moveTo>
                    <a:cubicBezTo>
                      <a:pt x="172" y="99"/>
                      <a:pt x="171" y="86"/>
                      <a:pt x="169" y="75"/>
                    </a:cubicBezTo>
                    <a:cubicBezTo>
                      <a:pt x="182" y="73"/>
                      <a:pt x="196" y="70"/>
                      <a:pt x="209" y="66"/>
                    </a:cubicBezTo>
                    <a:cubicBezTo>
                      <a:pt x="218" y="80"/>
                      <a:pt x="223" y="96"/>
                      <a:pt x="224" y="113"/>
                    </a:cubicBezTo>
                    <a:lnTo>
                      <a:pt x="17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solidFill>
                    <a:srgbClr val="3A3A3A"/>
                  </a:solidFill>
                </a:endParaRPr>
              </a:p>
            </p:txBody>
          </p:sp>
          <p:sp>
            <p:nvSpPr>
              <p:cNvPr id="57" name="Freeform 139"/>
              <p:cNvSpPr>
                <a:spLocks noEditPoints="1"/>
              </p:cNvSpPr>
              <p:nvPr/>
            </p:nvSpPr>
            <p:spPr bwMode="auto">
              <a:xfrm>
                <a:off x="2380517" y="2397542"/>
                <a:ext cx="174846" cy="102388"/>
              </a:xfrm>
              <a:custGeom>
                <a:avLst/>
                <a:gdLst>
                  <a:gd name="T0" fmla="*/ 93 w 94"/>
                  <a:gd name="T1" fmla="*/ 39 h 55"/>
                  <a:gd name="T2" fmla="*/ 92 w 94"/>
                  <a:gd name="T3" fmla="*/ 16 h 55"/>
                  <a:gd name="T4" fmla="*/ 78 w 94"/>
                  <a:gd name="T5" fmla="*/ 1 h 55"/>
                  <a:gd name="T6" fmla="*/ 67 w 94"/>
                  <a:gd name="T7" fmla="*/ 0 h 55"/>
                  <a:gd name="T8" fmla="*/ 67 w 94"/>
                  <a:gd name="T9" fmla="*/ 0 h 55"/>
                  <a:gd name="T10" fmla="*/ 65 w 94"/>
                  <a:gd name="T11" fmla="*/ 0 h 55"/>
                  <a:gd name="T12" fmla="*/ 65 w 94"/>
                  <a:gd name="T13" fmla="*/ 0 h 55"/>
                  <a:gd name="T14" fmla="*/ 75 w 94"/>
                  <a:gd name="T15" fmla="*/ 8 h 55"/>
                  <a:gd name="T16" fmla="*/ 63 w 94"/>
                  <a:gd name="T17" fmla="*/ 13 h 55"/>
                  <a:gd name="T18" fmla="*/ 69 w 94"/>
                  <a:gd name="T19" fmla="*/ 22 h 55"/>
                  <a:gd name="T20" fmla="*/ 54 w 94"/>
                  <a:gd name="T21" fmla="*/ 53 h 55"/>
                  <a:gd name="T22" fmla="*/ 54 w 94"/>
                  <a:gd name="T23" fmla="*/ 53 h 55"/>
                  <a:gd name="T24" fmla="*/ 52 w 94"/>
                  <a:gd name="T25" fmla="*/ 11 h 55"/>
                  <a:gd name="T26" fmla="*/ 54 w 94"/>
                  <a:gd name="T27" fmla="*/ 9 h 55"/>
                  <a:gd name="T28" fmla="*/ 51 w 94"/>
                  <a:gd name="T29" fmla="*/ 1 h 55"/>
                  <a:gd name="T30" fmla="*/ 42 w 94"/>
                  <a:gd name="T31" fmla="*/ 1 h 55"/>
                  <a:gd name="T32" fmla="*/ 39 w 94"/>
                  <a:gd name="T33" fmla="*/ 9 h 55"/>
                  <a:gd name="T34" fmla="*/ 41 w 94"/>
                  <a:gd name="T35" fmla="*/ 11 h 55"/>
                  <a:gd name="T36" fmla="*/ 39 w 94"/>
                  <a:gd name="T37" fmla="*/ 54 h 55"/>
                  <a:gd name="T38" fmla="*/ 39 w 94"/>
                  <a:gd name="T39" fmla="*/ 54 h 55"/>
                  <a:gd name="T40" fmla="*/ 39 w 94"/>
                  <a:gd name="T41" fmla="*/ 53 h 55"/>
                  <a:gd name="T42" fmla="*/ 25 w 94"/>
                  <a:gd name="T43" fmla="*/ 22 h 55"/>
                  <a:gd name="T44" fmla="*/ 30 w 94"/>
                  <a:gd name="T45" fmla="*/ 13 h 55"/>
                  <a:gd name="T46" fmla="*/ 18 w 94"/>
                  <a:gd name="T47" fmla="*/ 8 h 55"/>
                  <a:gd name="T48" fmla="*/ 28 w 94"/>
                  <a:gd name="T49" fmla="*/ 0 h 55"/>
                  <a:gd name="T50" fmla="*/ 28 w 94"/>
                  <a:gd name="T51" fmla="*/ 0 h 55"/>
                  <a:gd name="T52" fmla="*/ 26 w 94"/>
                  <a:gd name="T53" fmla="*/ 0 h 55"/>
                  <a:gd name="T54" fmla="*/ 26 w 94"/>
                  <a:gd name="T55" fmla="*/ 0 h 55"/>
                  <a:gd name="T56" fmla="*/ 16 w 94"/>
                  <a:gd name="T57" fmla="*/ 1 h 55"/>
                  <a:gd name="T58" fmla="*/ 15 w 94"/>
                  <a:gd name="T59" fmla="*/ 1 h 55"/>
                  <a:gd name="T60" fmla="*/ 2 w 94"/>
                  <a:gd name="T61" fmla="*/ 16 h 55"/>
                  <a:gd name="T62" fmla="*/ 1 w 94"/>
                  <a:gd name="T63" fmla="*/ 39 h 55"/>
                  <a:gd name="T64" fmla="*/ 0 w 94"/>
                  <a:gd name="T65" fmla="*/ 46 h 55"/>
                  <a:gd name="T66" fmla="*/ 47 w 94"/>
                  <a:gd name="T67" fmla="*/ 55 h 55"/>
                  <a:gd name="T68" fmla="*/ 94 w 94"/>
                  <a:gd name="T69" fmla="*/ 46 h 55"/>
                  <a:gd name="T70" fmla="*/ 94 w 94"/>
                  <a:gd name="T71" fmla="*/ 42 h 55"/>
                  <a:gd name="T72" fmla="*/ 93 w 94"/>
                  <a:gd name="T73" fmla="*/ 39 h 55"/>
                  <a:gd name="T74" fmla="*/ 45 w 94"/>
                  <a:gd name="T75" fmla="*/ 55 h 55"/>
                  <a:gd name="T76" fmla="*/ 46 w 94"/>
                  <a:gd name="T77" fmla="*/ 55 h 55"/>
                  <a:gd name="T78" fmla="*/ 46 w 94"/>
                  <a:gd name="T79" fmla="*/ 55 h 55"/>
                  <a:gd name="T80" fmla="*/ 45 w 94"/>
                  <a:gd name="T8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4" h="55">
                    <a:moveTo>
                      <a:pt x="93" y="39"/>
                    </a:moveTo>
                    <a:cubicBezTo>
                      <a:pt x="92" y="16"/>
                      <a:pt x="92" y="16"/>
                      <a:pt x="92" y="16"/>
                    </a:cubicBezTo>
                    <a:cubicBezTo>
                      <a:pt x="91" y="7"/>
                      <a:pt x="85" y="3"/>
                      <a:pt x="78" y="1"/>
                    </a:cubicBezTo>
                    <a:cubicBezTo>
                      <a:pt x="78" y="1"/>
                      <a:pt x="71" y="0"/>
                      <a:pt x="67" y="0"/>
                    </a:cubicBezTo>
                    <a:cubicBezTo>
                      <a:pt x="67" y="0"/>
                      <a:pt x="67" y="0"/>
                      <a:pt x="67" y="0"/>
                    </a:cubicBezTo>
                    <a:cubicBezTo>
                      <a:pt x="66" y="0"/>
                      <a:pt x="66" y="0"/>
                      <a:pt x="65" y="0"/>
                    </a:cubicBezTo>
                    <a:cubicBezTo>
                      <a:pt x="65" y="0"/>
                      <a:pt x="65" y="0"/>
                      <a:pt x="65" y="0"/>
                    </a:cubicBezTo>
                    <a:cubicBezTo>
                      <a:pt x="75" y="8"/>
                      <a:pt x="75" y="8"/>
                      <a:pt x="75" y="8"/>
                    </a:cubicBezTo>
                    <a:cubicBezTo>
                      <a:pt x="63" y="13"/>
                      <a:pt x="63" y="13"/>
                      <a:pt x="63" y="13"/>
                    </a:cubicBezTo>
                    <a:cubicBezTo>
                      <a:pt x="69" y="22"/>
                      <a:pt x="69" y="22"/>
                      <a:pt x="69" y="22"/>
                    </a:cubicBezTo>
                    <a:cubicBezTo>
                      <a:pt x="54" y="53"/>
                      <a:pt x="54" y="53"/>
                      <a:pt x="54" y="53"/>
                    </a:cubicBezTo>
                    <a:cubicBezTo>
                      <a:pt x="54" y="53"/>
                      <a:pt x="54" y="53"/>
                      <a:pt x="54" y="53"/>
                    </a:cubicBezTo>
                    <a:cubicBezTo>
                      <a:pt x="52" y="11"/>
                      <a:pt x="52" y="11"/>
                      <a:pt x="52" y="11"/>
                    </a:cubicBezTo>
                    <a:cubicBezTo>
                      <a:pt x="54" y="9"/>
                      <a:pt x="54" y="9"/>
                      <a:pt x="54" y="9"/>
                    </a:cubicBezTo>
                    <a:cubicBezTo>
                      <a:pt x="51" y="1"/>
                      <a:pt x="51" y="1"/>
                      <a:pt x="51" y="1"/>
                    </a:cubicBezTo>
                    <a:cubicBezTo>
                      <a:pt x="42" y="1"/>
                      <a:pt x="42" y="1"/>
                      <a:pt x="42" y="1"/>
                    </a:cubicBezTo>
                    <a:cubicBezTo>
                      <a:pt x="39" y="9"/>
                      <a:pt x="39" y="9"/>
                      <a:pt x="39" y="9"/>
                    </a:cubicBezTo>
                    <a:cubicBezTo>
                      <a:pt x="41" y="11"/>
                      <a:pt x="41" y="11"/>
                      <a:pt x="41" y="11"/>
                    </a:cubicBezTo>
                    <a:cubicBezTo>
                      <a:pt x="39" y="54"/>
                      <a:pt x="39" y="54"/>
                      <a:pt x="39" y="54"/>
                    </a:cubicBezTo>
                    <a:cubicBezTo>
                      <a:pt x="39" y="54"/>
                      <a:pt x="39" y="54"/>
                      <a:pt x="39" y="54"/>
                    </a:cubicBezTo>
                    <a:cubicBezTo>
                      <a:pt x="39" y="53"/>
                      <a:pt x="39" y="53"/>
                      <a:pt x="39" y="53"/>
                    </a:cubicBezTo>
                    <a:cubicBezTo>
                      <a:pt x="25" y="22"/>
                      <a:pt x="25" y="22"/>
                      <a:pt x="25" y="22"/>
                    </a:cubicBezTo>
                    <a:cubicBezTo>
                      <a:pt x="30" y="13"/>
                      <a:pt x="30" y="13"/>
                      <a:pt x="30" y="13"/>
                    </a:cubicBezTo>
                    <a:cubicBezTo>
                      <a:pt x="18" y="8"/>
                      <a:pt x="18" y="8"/>
                      <a:pt x="18" y="8"/>
                    </a:cubicBezTo>
                    <a:cubicBezTo>
                      <a:pt x="28" y="0"/>
                      <a:pt x="28" y="0"/>
                      <a:pt x="28" y="0"/>
                    </a:cubicBezTo>
                    <a:cubicBezTo>
                      <a:pt x="28" y="0"/>
                      <a:pt x="28" y="0"/>
                      <a:pt x="28" y="0"/>
                    </a:cubicBezTo>
                    <a:cubicBezTo>
                      <a:pt x="27" y="0"/>
                      <a:pt x="27" y="0"/>
                      <a:pt x="26" y="0"/>
                    </a:cubicBezTo>
                    <a:cubicBezTo>
                      <a:pt x="26" y="0"/>
                      <a:pt x="26" y="0"/>
                      <a:pt x="26" y="0"/>
                    </a:cubicBezTo>
                    <a:cubicBezTo>
                      <a:pt x="22" y="0"/>
                      <a:pt x="16" y="1"/>
                      <a:pt x="16" y="1"/>
                    </a:cubicBezTo>
                    <a:cubicBezTo>
                      <a:pt x="16" y="1"/>
                      <a:pt x="16" y="1"/>
                      <a:pt x="15" y="1"/>
                    </a:cubicBezTo>
                    <a:cubicBezTo>
                      <a:pt x="9" y="3"/>
                      <a:pt x="3" y="7"/>
                      <a:pt x="2" y="16"/>
                    </a:cubicBezTo>
                    <a:cubicBezTo>
                      <a:pt x="1" y="39"/>
                      <a:pt x="1" y="39"/>
                      <a:pt x="1" y="39"/>
                    </a:cubicBezTo>
                    <a:cubicBezTo>
                      <a:pt x="0" y="46"/>
                      <a:pt x="0" y="46"/>
                      <a:pt x="0" y="46"/>
                    </a:cubicBezTo>
                    <a:cubicBezTo>
                      <a:pt x="15" y="52"/>
                      <a:pt x="30" y="55"/>
                      <a:pt x="47" y="55"/>
                    </a:cubicBezTo>
                    <a:cubicBezTo>
                      <a:pt x="64" y="55"/>
                      <a:pt x="79" y="52"/>
                      <a:pt x="94" y="46"/>
                    </a:cubicBezTo>
                    <a:cubicBezTo>
                      <a:pt x="94" y="42"/>
                      <a:pt x="94" y="42"/>
                      <a:pt x="94" y="42"/>
                    </a:cubicBezTo>
                    <a:lnTo>
                      <a:pt x="93" y="39"/>
                    </a:lnTo>
                    <a:close/>
                    <a:moveTo>
                      <a:pt x="45" y="55"/>
                    </a:moveTo>
                    <a:cubicBezTo>
                      <a:pt x="45" y="55"/>
                      <a:pt x="46" y="55"/>
                      <a:pt x="46" y="55"/>
                    </a:cubicBezTo>
                    <a:cubicBezTo>
                      <a:pt x="46" y="55"/>
                      <a:pt x="46" y="55"/>
                      <a:pt x="46" y="55"/>
                    </a:cubicBezTo>
                    <a:cubicBezTo>
                      <a:pt x="45" y="55"/>
                      <a:pt x="45" y="55"/>
                      <a:pt x="45"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solidFill>
                    <a:srgbClr val="3A3A3A"/>
                  </a:solidFill>
                </a:endParaRPr>
              </a:p>
            </p:txBody>
          </p:sp>
        </p:grpSp>
      </p:grpSp>
      <p:cxnSp>
        <p:nvCxnSpPr>
          <p:cNvPr id="12" name="Straight Connector 11"/>
          <p:cNvCxnSpPr/>
          <p:nvPr/>
        </p:nvCxnSpPr>
        <p:spPr>
          <a:xfrm>
            <a:off x="535127" y="4446335"/>
            <a:ext cx="10983732" cy="0"/>
          </a:xfrm>
          <a:prstGeom prst="line">
            <a:avLst/>
          </a:prstGeom>
          <a:ln w="127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535127" y="3040895"/>
            <a:ext cx="10983732" cy="0"/>
          </a:xfrm>
          <a:prstGeom prst="line">
            <a:avLst/>
          </a:prstGeom>
          <a:ln w="127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
        <p:nvSpPr>
          <p:cNvPr id="9" name="Rounded Rectangle 8"/>
          <p:cNvSpPr/>
          <p:nvPr/>
        </p:nvSpPr>
        <p:spPr>
          <a:xfrm>
            <a:off x="2228373" y="1312354"/>
            <a:ext cx="3356775" cy="1169916"/>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6351" indent="-6351">
              <a:lnSpc>
                <a:spcPct val="90000"/>
              </a:lnSpc>
            </a:pPr>
            <a:r>
              <a:rPr lang="en-US" sz="2400" dirty="0">
                <a:solidFill>
                  <a:srgbClr val="000000"/>
                </a:solidFill>
                <a:cs typeface="Arial" pitchFamily="34" charset="0"/>
              </a:rPr>
              <a:t>Founded in 1907</a:t>
            </a:r>
          </a:p>
        </p:txBody>
      </p:sp>
      <p:grpSp>
        <p:nvGrpSpPr>
          <p:cNvPr id="47" name="Group 46"/>
          <p:cNvGrpSpPr/>
          <p:nvPr/>
        </p:nvGrpSpPr>
        <p:grpSpPr>
          <a:xfrm>
            <a:off x="744645" y="1447349"/>
            <a:ext cx="797265" cy="834419"/>
            <a:chOff x="3898216" y="5242342"/>
            <a:chExt cx="422151" cy="493035"/>
          </a:xfrm>
          <a:solidFill>
            <a:schemeClr val="tx2"/>
          </a:solidFill>
        </p:grpSpPr>
        <p:sp>
          <p:nvSpPr>
            <p:cNvPr id="50" name="Freeform 73"/>
            <p:cNvSpPr>
              <a:spLocks/>
            </p:cNvSpPr>
            <p:nvPr/>
          </p:nvSpPr>
          <p:spPr bwMode="auto">
            <a:xfrm>
              <a:off x="3952560" y="5320313"/>
              <a:ext cx="66946" cy="81910"/>
            </a:xfrm>
            <a:custGeom>
              <a:avLst/>
              <a:gdLst>
                <a:gd name="T0" fmla="*/ 20 w 36"/>
                <a:gd name="T1" fmla="*/ 43 h 44"/>
                <a:gd name="T2" fmla="*/ 35 w 36"/>
                <a:gd name="T3" fmla="*/ 20 h 44"/>
                <a:gd name="T4" fmla="*/ 16 w 36"/>
                <a:gd name="T5" fmla="*/ 1 h 44"/>
                <a:gd name="T6" fmla="*/ 1 w 36"/>
                <a:gd name="T7" fmla="*/ 24 h 44"/>
                <a:gd name="T8" fmla="*/ 20 w 36"/>
                <a:gd name="T9" fmla="*/ 43 h 44"/>
              </a:gdLst>
              <a:ahLst/>
              <a:cxnLst>
                <a:cxn ang="0">
                  <a:pos x="T0" y="T1"/>
                </a:cxn>
                <a:cxn ang="0">
                  <a:pos x="T2" y="T3"/>
                </a:cxn>
                <a:cxn ang="0">
                  <a:pos x="T4" y="T5"/>
                </a:cxn>
                <a:cxn ang="0">
                  <a:pos x="T6" y="T7"/>
                </a:cxn>
                <a:cxn ang="0">
                  <a:pos x="T8" y="T9"/>
                </a:cxn>
              </a:cxnLst>
              <a:rect l="0" t="0" r="r" b="b"/>
              <a:pathLst>
                <a:path w="36" h="44">
                  <a:moveTo>
                    <a:pt x="20" y="43"/>
                  </a:moveTo>
                  <a:cubicBezTo>
                    <a:pt x="29" y="42"/>
                    <a:pt x="36" y="32"/>
                    <a:pt x="35" y="20"/>
                  </a:cubicBezTo>
                  <a:cubicBezTo>
                    <a:pt x="34" y="9"/>
                    <a:pt x="25" y="0"/>
                    <a:pt x="16" y="1"/>
                  </a:cubicBezTo>
                  <a:cubicBezTo>
                    <a:pt x="7" y="2"/>
                    <a:pt x="0" y="12"/>
                    <a:pt x="1" y="24"/>
                  </a:cubicBezTo>
                  <a:cubicBezTo>
                    <a:pt x="2" y="35"/>
                    <a:pt x="11" y="44"/>
                    <a:pt x="20"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solidFill>
                  <a:srgbClr val="3A3A3A"/>
                </a:solidFill>
              </a:endParaRPr>
            </a:p>
          </p:txBody>
        </p:sp>
        <p:sp>
          <p:nvSpPr>
            <p:cNvPr id="51" name="Freeform 74"/>
            <p:cNvSpPr>
              <a:spLocks noEditPoints="1"/>
            </p:cNvSpPr>
            <p:nvPr/>
          </p:nvSpPr>
          <p:spPr bwMode="auto">
            <a:xfrm>
              <a:off x="3898216" y="5404587"/>
              <a:ext cx="226828" cy="330790"/>
            </a:xfrm>
            <a:custGeom>
              <a:avLst/>
              <a:gdLst>
                <a:gd name="T0" fmla="*/ 89 w 122"/>
                <a:gd name="T1" fmla="*/ 53 h 178"/>
                <a:gd name="T2" fmla="*/ 89 w 122"/>
                <a:gd name="T3" fmla="*/ 53 h 178"/>
                <a:gd name="T4" fmla="*/ 94 w 122"/>
                <a:gd name="T5" fmla="*/ 54 h 178"/>
                <a:gd name="T6" fmla="*/ 122 w 122"/>
                <a:gd name="T7" fmla="*/ 55 h 178"/>
                <a:gd name="T8" fmla="*/ 104 w 122"/>
                <a:gd name="T9" fmla="*/ 31 h 178"/>
                <a:gd name="T10" fmla="*/ 93 w 122"/>
                <a:gd name="T11" fmla="*/ 32 h 178"/>
                <a:gd name="T12" fmla="*/ 67 w 122"/>
                <a:gd name="T13" fmla="*/ 5 h 178"/>
                <a:gd name="T14" fmla="*/ 59 w 122"/>
                <a:gd name="T15" fmla="*/ 1 h 178"/>
                <a:gd name="T16" fmla="*/ 64 w 122"/>
                <a:gd name="T17" fmla="*/ 7 h 178"/>
                <a:gd name="T18" fmla="*/ 63 w 122"/>
                <a:gd name="T19" fmla="*/ 18 h 178"/>
                <a:gd name="T20" fmla="*/ 53 w 122"/>
                <a:gd name="T21" fmla="*/ 9 h 178"/>
                <a:gd name="T22" fmla="*/ 51 w 122"/>
                <a:gd name="T23" fmla="*/ 0 h 178"/>
                <a:gd name="T24" fmla="*/ 48 w 122"/>
                <a:gd name="T25" fmla="*/ 9 h 178"/>
                <a:gd name="T26" fmla="*/ 53 w 122"/>
                <a:gd name="T27" fmla="*/ 43 h 178"/>
                <a:gd name="T28" fmla="*/ 43 w 122"/>
                <a:gd name="T29" fmla="*/ 14 h 178"/>
                <a:gd name="T30" fmla="*/ 40 w 122"/>
                <a:gd name="T31" fmla="*/ 4 h 178"/>
                <a:gd name="T32" fmla="*/ 33 w 122"/>
                <a:gd name="T33" fmla="*/ 4 h 178"/>
                <a:gd name="T34" fmla="*/ 26 w 122"/>
                <a:gd name="T35" fmla="*/ 10 h 178"/>
                <a:gd name="T36" fmla="*/ 13 w 122"/>
                <a:gd name="T37" fmla="*/ 27 h 178"/>
                <a:gd name="T38" fmla="*/ 3 w 122"/>
                <a:gd name="T39" fmla="*/ 39 h 178"/>
                <a:gd name="T40" fmla="*/ 1 w 122"/>
                <a:gd name="T41" fmla="*/ 42 h 178"/>
                <a:gd name="T42" fmla="*/ 1 w 122"/>
                <a:gd name="T43" fmla="*/ 42 h 178"/>
                <a:gd name="T44" fmla="*/ 2 w 122"/>
                <a:gd name="T45" fmla="*/ 56 h 178"/>
                <a:gd name="T46" fmla="*/ 2 w 122"/>
                <a:gd name="T47" fmla="*/ 56 h 178"/>
                <a:gd name="T48" fmla="*/ 31 w 122"/>
                <a:gd name="T49" fmla="*/ 89 h 178"/>
                <a:gd name="T50" fmla="*/ 34 w 122"/>
                <a:gd name="T51" fmla="*/ 94 h 178"/>
                <a:gd name="T52" fmla="*/ 37 w 122"/>
                <a:gd name="T53" fmla="*/ 95 h 178"/>
                <a:gd name="T54" fmla="*/ 53 w 122"/>
                <a:gd name="T55" fmla="*/ 178 h 178"/>
                <a:gd name="T56" fmla="*/ 66 w 122"/>
                <a:gd name="T57" fmla="*/ 108 h 178"/>
                <a:gd name="T58" fmla="*/ 72 w 122"/>
                <a:gd name="T59" fmla="*/ 121 h 178"/>
                <a:gd name="T60" fmla="*/ 73 w 122"/>
                <a:gd name="T61" fmla="*/ 127 h 178"/>
                <a:gd name="T62" fmla="*/ 100 w 122"/>
                <a:gd name="T63" fmla="*/ 177 h 178"/>
                <a:gd name="T64" fmla="*/ 84 w 122"/>
                <a:gd name="T65" fmla="*/ 87 h 178"/>
                <a:gd name="T66" fmla="*/ 76 w 122"/>
                <a:gd name="T67" fmla="*/ 44 h 178"/>
                <a:gd name="T68" fmla="*/ 80 w 122"/>
                <a:gd name="T69" fmla="*/ 49 h 178"/>
                <a:gd name="T70" fmla="*/ 81 w 122"/>
                <a:gd name="T71" fmla="*/ 50 h 178"/>
                <a:gd name="T72" fmla="*/ 89 w 122"/>
                <a:gd name="T73" fmla="*/ 53 h 178"/>
                <a:gd name="T74" fmla="*/ 27 w 122"/>
                <a:gd name="T75" fmla="*/ 42 h 178"/>
                <a:gd name="T76" fmla="*/ 23 w 122"/>
                <a:gd name="T77" fmla="*/ 4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78">
                  <a:moveTo>
                    <a:pt x="89" y="53"/>
                  </a:moveTo>
                  <a:cubicBezTo>
                    <a:pt x="89" y="53"/>
                    <a:pt x="89" y="53"/>
                    <a:pt x="89" y="53"/>
                  </a:cubicBezTo>
                  <a:cubicBezTo>
                    <a:pt x="89" y="53"/>
                    <a:pt x="89" y="53"/>
                    <a:pt x="89" y="53"/>
                  </a:cubicBezTo>
                  <a:cubicBezTo>
                    <a:pt x="89" y="53"/>
                    <a:pt x="89" y="53"/>
                    <a:pt x="89" y="53"/>
                  </a:cubicBezTo>
                  <a:cubicBezTo>
                    <a:pt x="90" y="53"/>
                    <a:pt x="90" y="53"/>
                    <a:pt x="90" y="53"/>
                  </a:cubicBezTo>
                  <a:cubicBezTo>
                    <a:pt x="94" y="54"/>
                    <a:pt x="94" y="54"/>
                    <a:pt x="94" y="54"/>
                  </a:cubicBezTo>
                  <a:cubicBezTo>
                    <a:pt x="104" y="54"/>
                    <a:pt x="104" y="54"/>
                    <a:pt x="104" y="54"/>
                  </a:cubicBezTo>
                  <a:cubicBezTo>
                    <a:pt x="122" y="55"/>
                    <a:pt x="122" y="55"/>
                    <a:pt x="122" y="55"/>
                  </a:cubicBezTo>
                  <a:cubicBezTo>
                    <a:pt x="122" y="47"/>
                    <a:pt x="122" y="39"/>
                    <a:pt x="122" y="31"/>
                  </a:cubicBezTo>
                  <a:cubicBezTo>
                    <a:pt x="104" y="31"/>
                    <a:pt x="104" y="31"/>
                    <a:pt x="104" y="31"/>
                  </a:cubicBezTo>
                  <a:cubicBezTo>
                    <a:pt x="94" y="32"/>
                    <a:pt x="94" y="32"/>
                    <a:pt x="94" y="32"/>
                  </a:cubicBezTo>
                  <a:cubicBezTo>
                    <a:pt x="93" y="32"/>
                    <a:pt x="93" y="32"/>
                    <a:pt x="93" y="32"/>
                  </a:cubicBezTo>
                  <a:cubicBezTo>
                    <a:pt x="68" y="6"/>
                    <a:pt x="68" y="6"/>
                    <a:pt x="68" y="6"/>
                  </a:cubicBezTo>
                  <a:cubicBezTo>
                    <a:pt x="68" y="6"/>
                    <a:pt x="68" y="5"/>
                    <a:pt x="67" y="5"/>
                  </a:cubicBezTo>
                  <a:cubicBezTo>
                    <a:pt x="66" y="2"/>
                    <a:pt x="65" y="1"/>
                    <a:pt x="63" y="1"/>
                  </a:cubicBezTo>
                  <a:cubicBezTo>
                    <a:pt x="61" y="1"/>
                    <a:pt x="60" y="1"/>
                    <a:pt x="59" y="1"/>
                  </a:cubicBezTo>
                  <a:cubicBezTo>
                    <a:pt x="59" y="1"/>
                    <a:pt x="59" y="1"/>
                    <a:pt x="59" y="1"/>
                  </a:cubicBezTo>
                  <a:cubicBezTo>
                    <a:pt x="64" y="7"/>
                    <a:pt x="64" y="7"/>
                    <a:pt x="64" y="7"/>
                  </a:cubicBezTo>
                  <a:cubicBezTo>
                    <a:pt x="60" y="12"/>
                    <a:pt x="60" y="12"/>
                    <a:pt x="60" y="12"/>
                  </a:cubicBezTo>
                  <a:cubicBezTo>
                    <a:pt x="63" y="18"/>
                    <a:pt x="63" y="18"/>
                    <a:pt x="63" y="18"/>
                  </a:cubicBezTo>
                  <a:cubicBezTo>
                    <a:pt x="60" y="47"/>
                    <a:pt x="60" y="47"/>
                    <a:pt x="60" y="47"/>
                  </a:cubicBezTo>
                  <a:cubicBezTo>
                    <a:pt x="53" y="9"/>
                    <a:pt x="53" y="9"/>
                    <a:pt x="53" y="9"/>
                  </a:cubicBezTo>
                  <a:cubicBezTo>
                    <a:pt x="54" y="8"/>
                    <a:pt x="54" y="8"/>
                    <a:pt x="54" y="8"/>
                  </a:cubicBezTo>
                  <a:cubicBezTo>
                    <a:pt x="51" y="0"/>
                    <a:pt x="51" y="0"/>
                    <a:pt x="51" y="0"/>
                  </a:cubicBezTo>
                  <a:cubicBezTo>
                    <a:pt x="48" y="1"/>
                    <a:pt x="48" y="1"/>
                    <a:pt x="48" y="1"/>
                  </a:cubicBezTo>
                  <a:cubicBezTo>
                    <a:pt x="48" y="9"/>
                    <a:pt x="48" y="9"/>
                    <a:pt x="48" y="9"/>
                  </a:cubicBezTo>
                  <a:cubicBezTo>
                    <a:pt x="49" y="10"/>
                    <a:pt x="49" y="10"/>
                    <a:pt x="49" y="10"/>
                  </a:cubicBezTo>
                  <a:cubicBezTo>
                    <a:pt x="53" y="43"/>
                    <a:pt x="53" y="43"/>
                    <a:pt x="53" y="43"/>
                  </a:cubicBezTo>
                  <a:cubicBezTo>
                    <a:pt x="42" y="21"/>
                    <a:pt x="42" y="21"/>
                    <a:pt x="42" y="21"/>
                  </a:cubicBezTo>
                  <a:cubicBezTo>
                    <a:pt x="43" y="14"/>
                    <a:pt x="43" y="14"/>
                    <a:pt x="43" y="14"/>
                  </a:cubicBezTo>
                  <a:cubicBezTo>
                    <a:pt x="37" y="10"/>
                    <a:pt x="37" y="10"/>
                    <a:pt x="37" y="10"/>
                  </a:cubicBezTo>
                  <a:cubicBezTo>
                    <a:pt x="40" y="4"/>
                    <a:pt x="40" y="4"/>
                    <a:pt x="40" y="4"/>
                  </a:cubicBezTo>
                  <a:cubicBezTo>
                    <a:pt x="40" y="3"/>
                    <a:pt x="40" y="3"/>
                    <a:pt x="40" y="3"/>
                  </a:cubicBezTo>
                  <a:cubicBezTo>
                    <a:pt x="38" y="3"/>
                    <a:pt x="36" y="4"/>
                    <a:pt x="33" y="4"/>
                  </a:cubicBezTo>
                  <a:cubicBezTo>
                    <a:pt x="33" y="5"/>
                    <a:pt x="32" y="5"/>
                    <a:pt x="31" y="6"/>
                  </a:cubicBezTo>
                  <a:cubicBezTo>
                    <a:pt x="29" y="6"/>
                    <a:pt x="27" y="8"/>
                    <a:pt x="26" y="10"/>
                  </a:cubicBezTo>
                  <a:cubicBezTo>
                    <a:pt x="25" y="10"/>
                    <a:pt x="24" y="11"/>
                    <a:pt x="24" y="12"/>
                  </a:cubicBezTo>
                  <a:cubicBezTo>
                    <a:pt x="13" y="27"/>
                    <a:pt x="13" y="27"/>
                    <a:pt x="13" y="27"/>
                  </a:cubicBezTo>
                  <a:cubicBezTo>
                    <a:pt x="6" y="35"/>
                    <a:pt x="6" y="35"/>
                    <a:pt x="6" y="35"/>
                  </a:cubicBezTo>
                  <a:cubicBezTo>
                    <a:pt x="3" y="39"/>
                    <a:pt x="3" y="39"/>
                    <a:pt x="3" y="39"/>
                  </a:cubicBezTo>
                  <a:cubicBezTo>
                    <a:pt x="2" y="42"/>
                    <a:pt x="2" y="42"/>
                    <a:pt x="2" y="42"/>
                  </a:cubicBezTo>
                  <a:cubicBezTo>
                    <a:pt x="1" y="42"/>
                    <a:pt x="1" y="42"/>
                    <a:pt x="1" y="42"/>
                  </a:cubicBezTo>
                  <a:cubicBezTo>
                    <a:pt x="1" y="42"/>
                    <a:pt x="1" y="42"/>
                    <a:pt x="1" y="42"/>
                  </a:cubicBezTo>
                  <a:cubicBezTo>
                    <a:pt x="1" y="42"/>
                    <a:pt x="1" y="42"/>
                    <a:pt x="1" y="42"/>
                  </a:cubicBezTo>
                  <a:cubicBezTo>
                    <a:pt x="2" y="48"/>
                    <a:pt x="0" y="29"/>
                    <a:pt x="2" y="56"/>
                  </a:cubicBezTo>
                  <a:cubicBezTo>
                    <a:pt x="2" y="56"/>
                    <a:pt x="2" y="56"/>
                    <a:pt x="2" y="56"/>
                  </a:cubicBezTo>
                  <a:cubicBezTo>
                    <a:pt x="2" y="56"/>
                    <a:pt x="2" y="56"/>
                    <a:pt x="2" y="56"/>
                  </a:cubicBezTo>
                  <a:cubicBezTo>
                    <a:pt x="2" y="56"/>
                    <a:pt x="2" y="56"/>
                    <a:pt x="2" y="56"/>
                  </a:cubicBezTo>
                  <a:cubicBezTo>
                    <a:pt x="3" y="57"/>
                    <a:pt x="3" y="57"/>
                    <a:pt x="3" y="57"/>
                  </a:cubicBezTo>
                  <a:cubicBezTo>
                    <a:pt x="31" y="89"/>
                    <a:pt x="31" y="89"/>
                    <a:pt x="31" y="89"/>
                  </a:cubicBezTo>
                  <a:cubicBezTo>
                    <a:pt x="32" y="88"/>
                    <a:pt x="33" y="88"/>
                    <a:pt x="33" y="87"/>
                  </a:cubicBezTo>
                  <a:cubicBezTo>
                    <a:pt x="34" y="89"/>
                    <a:pt x="34" y="92"/>
                    <a:pt x="34" y="94"/>
                  </a:cubicBezTo>
                  <a:cubicBezTo>
                    <a:pt x="34" y="95"/>
                    <a:pt x="34" y="95"/>
                    <a:pt x="34" y="95"/>
                  </a:cubicBezTo>
                  <a:cubicBezTo>
                    <a:pt x="35" y="95"/>
                    <a:pt x="36" y="95"/>
                    <a:pt x="37" y="95"/>
                  </a:cubicBezTo>
                  <a:cubicBezTo>
                    <a:pt x="36" y="121"/>
                    <a:pt x="34" y="148"/>
                    <a:pt x="31" y="175"/>
                  </a:cubicBezTo>
                  <a:cubicBezTo>
                    <a:pt x="53" y="178"/>
                    <a:pt x="53" y="178"/>
                    <a:pt x="53" y="178"/>
                  </a:cubicBezTo>
                  <a:cubicBezTo>
                    <a:pt x="57" y="156"/>
                    <a:pt x="60" y="121"/>
                    <a:pt x="62" y="100"/>
                  </a:cubicBezTo>
                  <a:cubicBezTo>
                    <a:pt x="66" y="108"/>
                    <a:pt x="66" y="108"/>
                    <a:pt x="66" y="108"/>
                  </a:cubicBezTo>
                  <a:cubicBezTo>
                    <a:pt x="71" y="119"/>
                    <a:pt x="71" y="119"/>
                    <a:pt x="71" y="119"/>
                  </a:cubicBezTo>
                  <a:cubicBezTo>
                    <a:pt x="72" y="121"/>
                    <a:pt x="72" y="121"/>
                    <a:pt x="72" y="121"/>
                  </a:cubicBezTo>
                  <a:cubicBezTo>
                    <a:pt x="72" y="121"/>
                    <a:pt x="72" y="121"/>
                    <a:pt x="72" y="121"/>
                  </a:cubicBezTo>
                  <a:cubicBezTo>
                    <a:pt x="73" y="127"/>
                    <a:pt x="73" y="127"/>
                    <a:pt x="73" y="127"/>
                  </a:cubicBezTo>
                  <a:cubicBezTo>
                    <a:pt x="78" y="178"/>
                    <a:pt x="78" y="178"/>
                    <a:pt x="78" y="178"/>
                  </a:cubicBezTo>
                  <a:cubicBezTo>
                    <a:pt x="100" y="177"/>
                    <a:pt x="100" y="177"/>
                    <a:pt x="100" y="177"/>
                  </a:cubicBezTo>
                  <a:cubicBezTo>
                    <a:pt x="98" y="157"/>
                    <a:pt x="100" y="138"/>
                    <a:pt x="94" y="109"/>
                  </a:cubicBezTo>
                  <a:cubicBezTo>
                    <a:pt x="90" y="100"/>
                    <a:pt x="86" y="93"/>
                    <a:pt x="84" y="87"/>
                  </a:cubicBezTo>
                  <a:cubicBezTo>
                    <a:pt x="85" y="86"/>
                    <a:pt x="87" y="85"/>
                    <a:pt x="87" y="85"/>
                  </a:cubicBezTo>
                  <a:cubicBezTo>
                    <a:pt x="82" y="70"/>
                    <a:pt x="79" y="57"/>
                    <a:pt x="76" y="44"/>
                  </a:cubicBezTo>
                  <a:cubicBezTo>
                    <a:pt x="78" y="47"/>
                    <a:pt x="78" y="47"/>
                    <a:pt x="78" y="47"/>
                  </a:cubicBezTo>
                  <a:cubicBezTo>
                    <a:pt x="80" y="49"/>
                    <a:pt x="80" y="49"/>
                    <a:pt x="80" y="49"/>
                  </a:cubicBezTo>
                  <a:cubicBezTo>
                    <a:pt x="81" y="50"/>
                    <a:pt x="81" y="50"/>
                    <a:pt x="81" y="50"/>
                  </a:cubicBezTo>
                  <a:cubicBezTo>
                    <a:pt x="81" y="50"/>
                    <a:pt x="81" y="50"/>
                    <a:pt x="81" y="50"/>
                  </a:cubicBezTo>
                  <a:cubicBezTo>
                    <a:pt x="81" y="50"/>
                    <a:pt x="81" y="50"/>
                    <a:pt x="81" y="50"/>
                  </a:cubicBezTo>
                  <a:cubicBezTo>
                    <a:pt x="84" y="51"/>
                    <a:pt x="73" y="46"/>
                    <a:pt x="89" y="53"/>
                  </a:cubicBezTo>
                  <a:close/>
                  <a:moveTo>
                    <a:pt x="23" y="47"/>
                  </a:moveTo>
                  <a:cubicBezTo>
                    <a:pt x="27" y="42"/>
                    <a:pt x="27" y="42"/>
                    <a:pt x="27" y="42"/>
                  </a:cubicBezTo>
                  <a:cubicBezTo>
                    <a:pt x="27" y="45"/>
                    <a:pt x="28" y="48"/>
                    <a:pt x="28" y="52"/>
                  </a:cubicBezTo>
                  <a:lnTo>
                    <a:pt x="23"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solidFill>
                  <a:srgbClr val="3A3A3A"/>
                </a:solidFill>
              </a:endParaRPr>
            </a:p>
          </p:txBody>
        </p:sp>
        <p:sp>
          <p:nvSpPr>
            <p:cNvPr id="52" name="Freeform 75"/>
            <p:cNvSpPr>
              <a:spLocks/>
            </p:cNvSpPr>
            <p:nvPr/>
          </p:nvSpPr>
          <p:spPr bwMode="auto">
            <a:xfrm>
              <a:off x="4179388" y="5242342"/>
              <a:ext cx="140979" cy="196899"/>
            </a:xfrm>
            <a:custGeom>
              <a:avLst/>
              <a:gdLst>
                <a:gd name="T0" fmla="*/ 76 w 76"/>
                <a:gd name="T1" fmla="*/ 31 h 106"/>
                <a:gd name="T2" fmla="*/ 4 w 76"/>
                <a:gd name="T3" fmla="*/ 30 h 106"/>
                <a:gd name="T4" fmla="*/ 0 w 76"/>
                <a:gd name="T5" fmla="*/ 75 h 106"/>
                <a:gd name="T6" fmla="*/ 72 w 76"/>
                <a:gd name="T7" fmla="*/ 76 h 106"/>
                <a:gd name="T8" fmla="*/ 57 w 76"/>
                <a:gd name="T9" fmla="*/ 42 h 106"/>
                <a:gd name="T10" fmla="*/ 76 w 76"/>
                <a:gd name="T11" fmla="*/ 31 h 106"/>
              </a:gdLst>
              <a:ahLst/>
              <a:cxnLst>
                <a:cxn ang="0">
                  <a:pos x="T0" y="T1"/>
                </a:cxn>
                <a:cxn ang="0">
                  <a:pos x="T2" y="T3"/>
                </a:cxn>
                <a:cxn ang="0">
                  <a:pos x="T4" y="T5"/>
                </a:cxn>
                <a:cxn ang="0">
                  <a:pos x="T6" y="T7"/>
                </a:cxn>
                <a:cxn ang="0">
                  <a:pos x="T8" y="T9"/>
                </a:cxn>
                <a:cxn ang="0">
                  <a:pos x="T10" y="T11"/>
                </a:cxn>
              </a:cxnLst>
              <a:rect l="0" t="0" r="r" b="b"/>
              <a:pathLst>
                <a:path w="76" h="106">
                  <a:moveTo>
                    <a:pt x="76" y="31"/>
                  </a:moveTo>
                  <a:cubicBezTo>
                    <a:pt x="52" y="0"/>
                    <a:pt x="28" y="52"/>
                    <a:pt x="4" y="30"/>
                  </a:cubicBezTo>
                  <a:cubicBezTo>
                    <a:pt x="2" y="45"/>
                    <a:pt x="1" y="60"/>
                    <a:pt x="0" y="75"/>
                  </a:cubicBezTo>
                  <a:cubicBezTo>
                    <a:pt x="24" y="106"/>
                    <a:pt x="48" y="54"/>
                    <a:pt x="72" y="76"/>
                  </a:cubicBezTo>
                  <a:cubicBezTo>
                    <a:pt x="67" y="62"/>
                    <a:pt x="62" y="51"/>
                    <a:pt x="57" y="42"/>
                  </a:cubicBezTo>
                  <a:cubicBezTo>
                    <a:pt x="63" y="35"/>
                    <a:pt x="70" y="30"/>
                    <a:pt x="76" y="31"/>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solidFill>
                  <a:srgbClr val="3A3A3A"/>
                </a:solidFill>
              </a:endParaRPr>
            </a:p>
          </p:txBody>
        </p:sp>
        <p:sp>
          <p:nvSpPr>
            <p:cNvPr id="53" name="Freeform 76"/>
            <p:cNvSpPr>
              <a:spLocks/>
            </p:cNvSpPr>
            <p:nvPr/>
          </p:nvSpPr>
          <p:spPr bwMode="auto">
            <a:xfrm>
              <a:off x="4123469" y="5268332"/>
              <a:ext cx="55919" cy="467045"/>
            </a:xfrm>
            <a:custGeom>
              <a:avLst/>
              <a:gdLst>
                <a:gd name="T0" fmla="*/ 25 w 30"/>
                <a:gd name="T1" fmla="*/ 0 h 251"/>
                <a:gd name="T2" fmla="*/ 19 w 30"/>
                <a:gd name="T3" fmla="*/ 5 h 251"/>
                <a:gd name="T4" fmla="*/ 0 w 30"/>
                <a:gd name="T5" fmla="*/ 245 h 251"/>
                <a:gd name="T6" fmla="*/ 5 w 30"/>
                <a:gd name="T7" fmla="*/ 251 h 251"/>
                <a:gd name="T8" fmla="*/ 5 w 30"/>
                <a:gd name="T9" fmla="*/ 251 h 251"/>
                <a:gd name="T10" fmla="*/ 11 w 30"/>
                <a:gd name="T11" fmla="*/ 246 h 251"/>
                <a:gd name="T12" fmla="*/ 30 w 30"/>
                <a:gd name="T13" fmla="*/ 6 h 251"/>
                <a:gd name="T14" fmla="*/ 25 w 30"/>
                <a:gd name="T15" fmla="*/ 0 h 2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51">
                  <a:moveTo>
                    <a:pt x="25" y="0"/>
                  </a:moveTo>
                  <a:cubicBezTo>
                    <a:pt x="22" y="0"/>
                    <a:pt x="19" y="2"/>
                    <a:pt x="19" y="5"/>
                  </a:cubicBezTo>
                  <a:cubicBezTo>
                    <a:pt x="0" y="245"/>
                    <a:pt x="0" y="245"/>
                    <a:pt x="0" y="245"/>
                  </a:cubicBezTo>
                  <a:cubicBezTo>
                    <a:pt x="0" y="248"/>
                    <a:pt x="2" y="251"/>
                    <a:pt x="5" y="251"/>
                  </a:cubicBezTo>
                  <a:cubicBezTo>
                    <a:pt x="5" y="251"/>
                    <a:pt x="5" y="251"/>
                    <a:pt x="5" y="251"/>
                  </a:cubicBezTo>
                  <a:cubicBezTo>
                    <a:pt x="8" y="251"/>
                    <a:pt x="10" y="249"/>
                    <a:pt x="11" y="246"/>
                  </a:cubicBezTo>
                  <a:cubicBezTo>
                    <a:pt x="30" y="6"/>
                    <a:pt x="30" y="6"/>
                    <a:pt x="30" y="6"/>
                  </a:cubicBezTo>
                  <a:cubicBezTo>
                    <a:pt x="30" y="3"/>
                    <a:pt x="28" y="1"/>
                    <a:pt x="25" y="0"/>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solidFill>
                  <a:srgbClr val="3A3A3A"/>
                </a:solidFill>
              </a:endParaRPr>
            </a:p>
          </p:txBody>
        </p:sp>
      </p:grpSp>
      <p:sp>
        <p:nvSpPr>
          <p:cNvPr id="34" name="TextBox 33"/>
          <p:cNvSpPr txBox="1"/>
          <p:nvPr/>
        </p:nvSpPr>
        <p:spPr>
          <a:xfrm>
            <a:off x="5585144" y="1480739"/>
            <a:ext cx="7092909" cy="365760"/>
          </a:xfrm>
          <a:prstGeom prst="rect">
            <a:avLst/>
          </a:prstGeom>
          <a:noFill/>
          <a:ln>
            <a:noFill/>
          </a:ln>
        </p:spPr>
        <p:txBody>
          <a:bodyPr wrap="square" rtlCol="0" anchor="ctr" anchorCtr="0">
            <a:noAutofit/>
          </a:bodyPr>
          <a:lstStyle/>
          <a:p>
            <a:pPr marL="309026" indent="-309026">
              <a:lnSpc>
                <a:spcPct val="85000"/>
              </a:lnSpc>
              <a:spcBef>
                <a:spcPts val="2400"/>
              </a:spcBef>
              <a:spcAft>
                <a:spcPts val="1200"/>
              </a:spcAft>
              <a:buClr>
                <a:srgbClr val="00A9E0"/>
              </a:buClr>
              <a:buSzPct val="100000"/>
              <a:buFont typeface="Wingdings" panose="05000000000000000000" pitchFamily="2" charset="2"/>
              <a:buChar char="§"/>
            </a:pPr>
            <a:r>
              <a:rPr lang="en-US" sz="2133" dirty="0">
                <a:solidFill>
                  <a:srgbClr val="000000"/>
                </a:solidFill>
                <a:cs typeface="Arial" panose="020B0604020202020204" pitchFamily="34" charset="0"/>
              </a:rPr>
              <a:t>Only seven CEOs </a:t>
            </a:r>
          </a:p>
        </p:txBody>
      </p:sp>
      <p:sp>
        <p:nvSpPr>
          <p:cNvPr id="35" name="TextBox 34"/>
          <p:cNvSpPr txBox="1"/>
          <p:nvPr/>
        </p:nvSpPr>
        <p:spPr>
          <a:xfrm>
            <a:off x="5585144" y="1953355"/>
            <a:ext cx="5772928" cy="365760"/>
          </a:xfrm>
          <a:prstGeom prst="rect">
            <a:avLst/>
          </a:prstGeom>
          <a:noFill/>
          <a:ln>
            <a:noFill/>
          </a:ln>
        </p:spPr>
        <p:txBody>
          <a:bodyPr wrap="square" rtlCol="0" anchor="ctr" anchorCtr="0">
            <a:noAutofit/>
          </a:bodyPr>
          <a:lstStyle/>
          <a:p>
            <a:pPr marL="304792" indent="-304792">
              <a:lnSpc>
                <a:spcPct val="80000"/>
              </a:lnSpc>
              <a:buClr>
                <a:srgbClr val="00A9E0"/>
              </a:buClr>
              <a:buSzPct val="100000"/>
              <a:buFont typeface="Wingdings" panose="05000000000000000000" pitchFamily="2" charset="2"/>
              <a:buChar char="§"/>
            </a:pPr>
            <a:r>
              <a:rPr lang="en-US" sz="2133" dirty="0">
                <a:solidFill>
                  <a:srgbClr val="000000"/>
                </a:solidFill>
                <a:cs typeface="Arial" panose="020B0604020202020204" pitchFamily="34" charset="0"/>
              </a:rPr>
              <a:t>Acquired in 2015 by </a:t>
            </a:r>
            <a:r>
              <a:rPr lang="en-US" sz="2133" dirty="0" err="1">
                <a:solidFill>
                  <a:srgbClr val="000000"/>
                </a:solidFill>
                <a:cs typeface="Arial" panose="020B0604020202020204" pitchFamily="34" charset="0"/>
              </a:rPr>
              <a:t>Dai-ichi</a:t>
            </a:r>
            <a:r>
              <a:rPr lang="en-US" sz="2133" dirty="0">
                <a:solidFill>
                  <a:srgbClr val="000000"/>
                </a:solidFill>
                <a:cs typeface="Arial" panose="020B0604020202020204" pitchFamily="34" charset="0"/>
              </a:rPr>
              <a:t> Life                  </a:t>
            </a:r>
          </a:p>
          <a:p>
            <a:pPr>
              <a:lnSpc>
                <a:spcPct val="80000"/>
              </a:lnSpc>
              <a:buClr>
                <a:srgbClr val="00A9E0"/>
              </a:buClr>
              <a:buSzPct val="100000"/>
            </a:pPr>
            <a:r>
              <a:rPr lang="en-US" sz="2133" dirty="0">
                <a:solidFill>
                  <a:srgbClr val="000000"/>
                </a:solidFill>
                <a:cs typeface="Arial" panose="020B0604020202020204" pitchFamily="34" charset="0"/>
              </a:rPr>
              <a:t>     </a:t>
            </a:r>
            <a:r>
              <a:rPr lang="en-US" sz="1467" dirty="0">
                <a:solidFill>
                  <a:srgbClr val="000000"/>
                </a:solidFill>
                <a:cs typeface="Arial" panose="020B0604020202020204" pitchFamily="34" charset="0"/>
              </a:rPr>
              <a:t>(among the largest global life insurers by total assets)</a:t>
            </a:r>
            <a:r>
              <a:rPr lang="en-US" sz="1867" dirty="0">
                <a:solidFill>
                  <a:srgbClr val="000000"/>
                </a:solidFill>
                <a:cs typeface="Arial" panose="020B0604020202020204" pitchFamily="34" charset="0"/>
              </a:rPr>
              <a:t> </a:t>
            </a:r>
          </a:p>
        </p:txBody>
      </p:sp>
      <p:sp>
        <p:nvSpPr>
          <p:cNvPr id="46" name="TextBox 45">
            <a:extLst>
              <a:ext uri="{FF2B5EF4-FFF2-40B4-BE49-F238E27FC236}">
                <a16:creationId xmlns:a16="http://schemas.microsoft.com/office/drawing/2014/main" id="{A9972810-DB56-4378-914D-D7E9D4726198}"/>
              </a:ext>
            </a:extLst>
          </p:cNvPr>
          <p:cNvSpPr txBox="1"/>
          <p:nvPr/>
        </p:nvSpPr>
        <p:spPr>
          <a:xfrm>
            <a:off x="5585144" y="2425971"/>
            <a:ext cx="7092909" cy="365760"/>
          </a:xfrm>
          <a:prstGeom prst="rect">
            <a:avLst/>
          </a:prstGeom>
          <a:noFill/>
          <a:ln>
            <a:noFill/>
          </a:ln>
        </p:spPr>
        <p:txBody>
          <a:bodyPr wrap="square" rtlCol="0" anchor="ctr" anchorCtr="0">
            <a:noAutofit/>
          </a:bodyPr>
          <a:lstStyle/>
          <a:p>
            <a:pPr marL="309026" indent="-309026">
              <a:lnSpc>
                <a:spcPct val="85000"/>
              </a:lnSpc>
              <a:spcBef>
                <a:spcPts val="2400"/>
              </a:spcBef>
              <a:spcAft>
                <a:spcPts val="1200"/>
              </a:spcAft>
              <a:buClr>
                <a:srgbClr val="00A9E0"/>
              </a:buClr>
              <a:buSzPct val="100000"/>
              <a:buFont typeface="Wingdings" panose="05000000000000000000" pitchFamily="2" charset="2"/>
              <a:buChar char="§"/>
            </a:pPr>
            <a:r>
              <a:rPr lang="en-US" sz="2133" dirty="0">
                <a:solidFill>
                  <a:srgbClr val="000000"/>
                </a:solidFill>
                <a:cs typeface="Arial" panose="020B0604020202020204" pitchFamily="34" charset="0"/>
              </a:rPr>
              <a:t>Home office in Birmingham, Alabama </a:t>
            </a:r>
          </a:p>
        </p:txBody>
      </p:sp>
    </p:spTree>
    <p:extLst>
      <p:ext uri="{BB962C8B-B14F-4D97-AF65-F5344CB8AC3E}">
        <p14:creationId xmlns:p14="http://schemas.microsoft.com/office/powerpoint/2010/main" val="1222032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44219BC9-1BC9-4F16-8AAA-CEC19970DF9E}"/>
              </a:ext>
            </a:extLst>
          </p:cNvPr>
          <p:cNvSpPr>
            <a:spLocks noGrp="1"/>
          </p:cNvSpPr>
          <p:nvPr>
            <p:ph type="title"/>
          </p:nvPr>
        </p:nvSpPr>
        <p:spPr>
          <a:xfrm>
            <a:off x="558916" y="136159"/>
            <a:ext cx="11063701" cy="760907"/>
          </a:xfrm>
        </p:spPr>
        <p:txBody>
          <a:bodyPr>
            <a:noAutofit/>
          </a:bodyPr>
          <a:lstStyle/>
          <a:p>
            <a:r>
              <a:rPr lang="en-US" sz="2400" dirty="0">
                <a:solidFill>
                  <a:schemeClr val="tx2"/>
                </a:solidFill>
              </a:rPr>
              <a:t>We Are Highly Rated</a:t>
            </a:r>
          </a:p>
        </p:txBody>
      </p:sp>
      <p:sp>
        <p:nvSpPr>
          <p:cNvPr id="3" name="Text Placeholder 2">
            <a:extLst>
              <a:ext uri="{FF2B5EF4-FFF2-40B4-BE49-F238E27FC236}">
                <a16:creationId xmlns:a16="http://schemas.microsoft.com/office/drawing/2014/main" id="{9CA7D5D3-2051-C349-8792-33088C4A5AE1}"/>
              </a:ext>
            </a:extLst>
          </p:cNvPr>
          <p:cNvSpPr>
            <a:spLocks noGrp="1"/>
          </p:cNvSpPr>
          <p:nvPr>
            <p:ph type="body" sz="quarter" idx="10"/>
          </p:nvPr>
        </p:nvSpPr>
        <p:spPr>
          <a:xfrm>
            <a:off x="439374" y="5098085"/>
            <a:ext cx="11063700" cy="760907"/>
          </a:xfrm>
        </p:spPr>
        <p:txBody>
          <a:bodyPr>
            <a:noAutofit/>
          </a:bodyPr>
          <a:lstStyle/>
          <a:p>
            <a:r>
              <a:rPr lang="en-US" dirty="0">
                <a:latin typeface="Arial"/>
                <a:cs typeface="Arial"/>
              </a:rPr>
              <a:t>*  Financial Strength Ratings as of March 31, 2022. </a:t>
            </a:r>
            <a:r>
              <a:rPr lang="en-US" b="1" dirty="0">
                <a:latin typeface="Arial"/>
                <a:cs typeface="Arial"/>
              </a:rPr>
              <a:t>Upgraded by Fitch March 7</a:t>
            </a:r>
            <a:r>
              <a:rPr lang="en-US" b="1" baseline="30000" dirty="0">
                <a:latin typeface="Arial"/>
                <a:cs typeface="Arial"/>
              </a:rPr>
              <a:t>th</a:t>
            </a:r>
            <a:r>
              <a:rPr lang="en-US" b="1" dirty="0">
                <a:latin typeface="Arial"/>
                <a:cs typeface="Arial"/>
              </a:rPr>
              <a:t> 2022</a:t>
            </a:r>
            <a:r>
              <a:rPr lang="en-US" dirty="0">
                <a:latin typeface="Arial"/>
                <a:cs typeface="Arial"/>
              </a:rPr>
              <a:t>.  Ratings are subject to change at any time, and do not apply to products or their performance. A portion of Protective Life and Annuity Insurance Company’s policy liabilities are guaranteed by Protective Life Insurance Company. </a:t>
            </a:r>
            <a:endParaRPr lang="en-US" dirty="0"/>
          </a:p>
        </p:txBody>
      </p:sp>
      <p:graphicFrame>
        <p:nvGraphicFramePr>
          <p:cNvPr id="9" name="Table 11">
            <a:extLst>
              <a:ext uri="{FF2B5EF4-FFF2-40B4-BE49-F238E27FC236}">
                <a16:creationId xmlns:a16="http://schemas.microsoft.com/office/drawing/2014/main" id="{9AD687C7-93F9-4874-BC66-68A3EBB00B41}"/>
              </a:ext>
            </a:extLst>
          </p:cNvPr>
          <p:cNvGraphicFramePr>
            <a:graphicFrameLocks noGrp="1"/>
          </p:cNvGraphicFramePr>
          <p:nvPr>
            <p:extLst>
              <p:ext uri="{D42A27DB-BD31-4B8C-83A1-F6EECF244321}">
                <p14:modId xmlns:p14="http://schemas.microsoft.com/office/powerpoint/2010/main" val="3801778158"/>
              </p:ext>
            </p:extLst>
          </p:nvPr>
        </p:nvGraphicFramePr>
        <p:xfrm>
          <a:off x="558800" y="1590022"/>
          <a:ext cx="9946932" cy="3258565"/>
        </p:xfrm>
        <a:graphic>
          <a:graphicData uri="http://schemas.openxmlformats.org/drawingml/2006/table">
            <a:tbl>
              <a:tblPr firstRow="1" bandRow="1">
                <a:tableStyleId>{5C22544A-7EE6-4342-B048-85BDC9FD1C3A}</a:tableStyleId>
              </a:tblPr>
              <a:tblGrid>
                <a:gridCol w="4973466">
                  <a:extLst>
                    <a:ext uri="{9D8B030D-6E8A-4147-A177-3AD203B41FA5}">
                      <a16:colId xmlns:a16="http://schemas.microsoft.com/office/drawing/2014/main" val="1554337048"/>
                    </a:ext>
                  </a:extLst>
                </a:gridCol>
                <a:gridCol w="4973466">
                  <a:extLst>
                    <a:ext uri="{9D8B030D-6E8A-4147-A177-3AD203B41FA5}">
                      <a16:colId xmlns:a16="http://schemas.microsoft.com/office/drawing/2014/main" val="338446548"/>
                    </a:ext>
                  </a:extLst>
                </a:gridCol>
              </a:tblGrid>
              <a:tr h="457200">
                <a:tc>
                  <a:txBody>
                    <a:bodyPr/>
                    <a:lstStyle/>
                    <a:p>
                      <a:endParaRPr lang="en-US" sz="2400" dirty="0"/>
                    </a:p>
                  </a:txBody>
                  <a:tcPr>
                    <a:solidFill>
                      <a:schemeClr val="bg1"/>
                    </a:solidFill>
                  </a:tcPr>
                </a:tc>
                <a:tc>
                  <a:txBody>
                    <a:bodyPr/>
                    <a:lstStyle/>
                    <a:p>
                      <a:pPr algn="ctr"/>
                      <a:r>
                        <a:rPr lang="en-US" sz="1500" b="0" dirty="0"/>
                        <a:t>Protective Life Insurance Company</a:t>
                      </a:r>
                    </a:p>
                  </a:txBody>
                  <a:tcPr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2173906194"/>
                  </a:ext>
                </a:extLst>
              </a:tr>
              <a:tr h="457200">
                <a:tc>
                  <a:txBody>
                    <a:bodyPr/>
                    <a:lstStyle/>
                    <a:p>
                      <a:endParaRPr lang="en-US" sz="2400" b="0" dirty="0">
                        <a:solidFill>
                          <a:schemeClr val="tx1"/>
                        </a:solidFill>
                      </a:endParaRPr>
                    </a:p>
                  </a:txBody>
                  <a:tcPr>
                    <a:lnB w="12700" cmpd="sng">
                      <a:noFill/>
                    </a:lnB>
                    <a:solidFill>
                      <a:schemeClr val="bg1"/>
                    </a:solidFill>
                  </a:tcPr>
                </a:tc>
                <a:tc>
                  <a:txBody>
                    <a:bodyPr/>
                    <a:lstStyle/>
                    <a:p>
                      <a:pPr algn="ctr"/>
                      <a:r>
                        <a:rPr lang="en-US" sz="1200" b="1" dirty="0">
                          <a:solidFill>
                            <a:schemeClr val="bg1"/>
                          </a:solidFill>
                        </a:rPr>
                        <a:t>Financial Strength</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extLst>
                  <a:ext uri="{0D108BD9-81ED-4DB2-BD59-A6C34878D82A}">
                    <a16:rowId xmlns:a16="http://schemas.microsoft.com/office/drawing/2014/main" val="2960379991"/>
                  </a:ext>
                </a:extLst>
              </a:tr>
              <a:tr h="468833">
                <a:tc>
                  <a:txBody>
                    <a:bodyPr/>
                    <a:lstStyle/>
                    <a:p>
                      <a:r>
                        <a:rPr lang="en-US" sz="1600" dirty="0">
                          <a:solidFill>
                            <a:schemeClr val="tx1">
                              <a:lumMod val="50000"/>
                            </a:schemeClr>
                          </a:solidFill>
                        </a:rPr>
                        <a:t>Standard &amp; Poor’s</a:t>
                      </a:r>
                    </a:p>
                  </a:txBody>
                  <a:tcPr anchor="ctr">
                    <a:lnL w="12700" cmpd="sng">
                      <a:noFill/>
                    </a:lnL>
                    <a:lnR w="12700" cap="flat" cmpd="sng" algn="ctr">
                      <a:noFill/>
                      <a:prstDash val="solid"/>
                      <a:round/>
                      <a:headEnd type="none" w="med" len="med"/>
                      <a:tailEnd type="none" w="med" len="med"/>
                    </a:lnR>
                    <a:lnT w="12700" cmpd="sng">
                      <a:noFill/>
                    </a:lnT>
                    <a:lnB w="3175" cap="flat" cmpd="sng" algn="ctr">
                      <a:solidFill>
                        <a:schemeClr val="tx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600" b="0" dirty="0">
                          <a:solidFill>
                            <a:schemeClr val="accent3"/>
                          </a:solidFill>
                        </a:rPr>
                        <a:t>AA-</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tx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873691855"/>
                  </a:ext>
                </a:extLst>
              </a:tr>
              <a:tr h="468833">
                <a:tc>
                  <a:txBody>
                    <a:bodyPr/>
                    <a:lstStyle/>
                    <a:p>
                      <a:r>
                        <a:rPr lang="en-US" sz="1600" dirty="0">
                          <a:solidFill>
                            <a:schemeClr val="tx1">
                              <a:lumMod val="50000"/>
                            </a:schemeClr>
                          </a:solidFill>
                        </a:rPr>
                        <a:t>Moody’s</a:t>
                      </a:r>
                    </a:p>
                  </a:txBody>
                  <a:tcPr anchor="ctr">
                    <a:lnL w="12700" cmpd="sng">
                      <a:noFill/>
                    </a:lnL>
                    <a:lnR w="12700" cap="flat" cmpd="sng" algn="ctr">
                      <a:noFill/>
                      <a:prstDash val="solid"/>
                      <a:round/>
                      <a:headEnd type="none" w="med" len="med"/>
                      <a:tailEnd type="none" w="med" len="med"/>
                    </a:lnR>
                    <a:lnT w="3175" cap="flat" cmpd="sng" algn="ctr">
                      <a:solidFill>
                        <a:schemeClr val="tx1">
                          <a:lumMod val="50000"/>
                        </a:schemeClr>
                      </a:solidFill>
                      <a:prstDash val="solid"/>
                      <a:round/>
                      <a:headEnd type="none" w="med" len="med"/>
                      <a:tailEnd type="none" w="med" len="med"/>
                    </a:lnT>
                    <a:lnB w="3175" cap="flat" cmpd="sng" algn="ctr">
                      <a:solidFill>
                        <a:schemeClr val="tx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7F1F9"/>
                    </a:solidFill>
                  </a:tcPr>
                </a:tc>
                <a:tc>
                  <a:txBody>
                    <a:bodyPr/>
                    <a:lstStyle/>
                    <a:p>
                      <a:pPr algn="ctr"/>
                      <a:r>
                        <a:rPr lang="en-US" sz="1600" b="0" dirty="0">
                          <a:solidFill>
                            <a:schemeClr val="accent3"/>
                          </a:solidFill>
                        </a:rPr>
                        <a:t>A1</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tx1">
                          <a:lumMod val="50000"/>
                        </a:schemeClr>
                      </a:solidFill>
                      <a:prstDash val="solid"/>
                      <a:round/>
                      <a:headEnd type="none" w="med" len="med"/>
                      <a:tailEnd type="none" w="med" len="med"/>
                    </a:lnT>
                    <a:lnB w="3175" cap="flat" cmpd="sng" algn="ctr">
                      <a:solidFill>
                        <a:schemeClr val="tx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7F1F9"/>
                    </a:solidFill>
                  </a:tcPr>
                </a:tc>
                <a:extLst>
                  <a:ext uri="{0D108BD9-81ED-4DB2-BD59-A6C34878D82A}">
                    <a16:rowId xmlns:a16="http://schemas.microsoft.com/office/drawing/2014/main" val="1733898263"/>
                  </a:ext>
                </a:extLst>
              </a:tr>
              <a:tr h="468833">
                <a:tc>
                  <a:txBody>
                    <a:bodyPr/>
                    <a:lstStyle/>
                    <a:p>
                      <a:r>
                        <a:rPr lang="en-US" sz="1600" dirty="0">
                          <a:solidFill>
                            <a:schemeClr val="tx1">
                              <a:lumMod val="50000"/>
                            </a:schemeClr>
                          </a:solidFill>
                        </a:rPr>
                        <a:t>Fitch</a:t>
                      </a:r>
                    </a:p>
                  </a:txBody>
                  <a:tcPr anchor="ctr">
                    <a:lnL w="12700" cmpd="sng">
                      <a:noFill/>
                    </a:lnL>
                    <a:lnR w="12700" cap="flat" cmpd="sng" algn="ctr">
                      <a:noFill/>
                      <a:prstDash val="solid"/>
                      <a:round/>
                      <a:headEnd type="none" w="med" len="med"/>
                      <a:tailEnd type="none" w="med" len="med"/>
                    </a:lnR>
                    <a:lnT w="3175" cap="flat" cmpd="sng" algn="ctr">
                      <a:solidFill>
                        <a:schemeClr val="tx1">
                          <a:lumMod val="50000"/>
                        </a:schemeClr>
                      </a:solidFill>
                      <a:prstDash val="solid"/>
                      <a:round/>
                      <a:headEnd type="none" w="med" len="med"/>
                      <a:tailEnd type="none" w="med" len="med"/>
                    </a:lnT>
                    <a:lnB w="3175" cap="flat" cmpd="sng" algn="ctr">
                      <a:solidFill>
                        <a:schemeClr val="tx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600" b="0" dirty="0">
                          <a:solidFill>
                            <a:schemeClr val="accent3"/>
                          </a:solidFill>
                        </a:rPr>
                        <a:t>    AA- *</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tx1">
                          <a:lumMod val="50000"/>
                        </a:schemeClr>
                      </a:solidFill>
                      <a:prstDash val="solid"/>
                      <a:round/>
                      <a:headEnd type="none" w="med" len="med"/>
                      <a:tailEnd type="none" w="med" len="med"/>
                    </a:lnT>
                    <a:lnB w="3175" cap="flat" cmpd="sng" algn="ctr">
                      <a:solidFill>
                        <a:schemeClr val="tx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529359851"/>
                  </a:ext>
                </a:extLst>
              </a:tr>
              <a:tr h="468833">
                <a:tc>
                  <a:txBody>
                    <a:bodyPr/>
                    <a:lstStyle/>
                    <a:p>
                      <a:r>
                        <a:rPr lang="en-US" sz="1600" dirty="0">
                          <a:solidFill>
                            <a:schemeClr val="tx1">
                              <a:lumMod val="50000"/>
                            </a:schemeClr>
                          </a:solidFill>
                        </a:rPr>
                        <a:t>A.M. Best</a:t>
                      </a:r>
                    </a:p>
                  </a:txBody>
                  <a:tcPr anchor="ctr">
                    <a:lnL w="12700" cmpd="sng">
                      <a:noFill/>
                    </a:lnL>
                    <a:lnR w="12700" cap="flat" cmpd="sng" algn="ctr">
                      <a:noFill/>
                      <a:prstDash val="solid"/>
                      <a:round/>
                      <a:headEnd type="none" w="med" len="med"/>
                      <a:tailEnd type="none" w="med" len="med"/>
                    </a:lnR>
                    <a:lnT w="3175" cap="flat" cmpd="sng" algn="ctr">
                      <a:solidFill>
                        <a:schemeClr val="tx1">
                          <a:lumMod val="50000"/>
                        </a:schemeClr>
                      </a:solidFill>
                      <a:prstDash val="solid"/>
                      <a:round/>
                      <a:headEnd type="none" w="med" len="med"/>
                      <a:tailEnd type="none" w="med" len="med"/>
                    </a:lnT>
                    <a:lnB w="3175" cap="flat" cmpd="sng" algn="ctr">
                      <a:solidFill>
                        <a:schemeClr val="tx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7F1F9"/>
                    </a:solidFill>
                  </a:tcPr>
                </a:tc>
                <a:tc>
                  <a:txBody>
                    <a:bodyPr/>
                    <a:lstStyle/>
                    <a:p>
                      <a:pPr algn="ctr"/>
                      <a:r>
                        <a:rPr lang="en-US" sz="1600" b="0" dirty="0">
                          <a:solidFill>
                            <a:schemeClr val="accent3"/>
                          </a:solidFill>
                        </a:rPr>
                        <a:t>A+</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tx1">
                          <a:lumMod val="50000"/>
                        </a:schemeClr>
                      </a:solidFill>
                      <a:prstDash val="solid"/>
                      <a:round/>
                      <a:headEnd type="none" w="med" len="med"/>
                      <a:tailEnd type="none" w="med" len="med"/>
                    </a:lnT>
                    <a:lnB w="3175" cap="flat" cmpd="sng" algn="ctr">
                      <a:solidFill>
                        <a:schemeClr val="tx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7F1F9"/>
                    </a:solidFill>
                  </a:tcPr>
                </a:tc>
                <a:extLst>
                  <a:ext uri="{0D108BD9-81ED-4DB2-BD59-A6C34878D82A}">
                    <a16:rowId xmlns:a16="http://schemas.microsoft.com/office/drawing/2014/main" val="3912730211"/>
                  </a:ext>
                </a:extLst>
              </a:tr>
              <a:tr h="468833">
                <a:tc>
                  <a:txBody>
                    <a:bodyPr/>
                    <a:lstStyle/>
                    <a:p>
                      <a:r>
                        <a:rPr lang="en-US" sz="1600" dirty="0">
                          <a:solidFill>
                            <a:schemeClr val="tx1">
                              <a:lumMod val="50000"/>
                            </a:schemeClr>
                          </a:solidFill>
                        </a:rPr>
                        <a:t>Comdex</a:t>
                      </a:r>
                    </a:p>
                  </a:txBody>
                  <a:tcPr anchor="ctr">
                    <a:lnL w="12700" cmpd="sng">
                      <a:noFill/>
                    </a:lnL>
                    <a:lnR w="12700" cap="flat" cmpd="sng" algn="ctr">
                      <a:noFill/>
                      <a:prstDash val="solid"/>
                      <a:round/>
                      <a:headEnd type="none" w="med" len="med"/>
                      <a:tailEnd type="none" w="med" len="med"/>
                    </a:lnR>
                    <a:lnT w="3175" cap="flat" cmpd="sng" algn="ctr">
                      <a:solidFill>
                        <a:schemeClr val="tx1">
                          <a:lumMod val="5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600" b="0" dirty="0">
                          <a:solidFill>
                            <a:schemeClr val="accent3"/>
                          </a:solidFill>
                        </a:rPr>
                        <a:t>93</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tx1">
                          <a:lumMod val="5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946651296"/>
                  </a:ext>
                </a:extLst>
              </a:tr>
            </a:tbl>
          </a:graphicData>
        </a:graphic>
      </p:graphicFrame>
      <p:grpSp>
        <p:nvGrpSpPr>
          <p:cNvPr id="7" name="Group 6">
            <a:extLst>
              <a:ext uri="{FF2B5EF4-FFF2-40B4-BE49-F238E27FC236}">
                <a16:creationId xmlns:a16="http://schemas.microsoft.com/office/drawing/2014/main" id="{36797FC2-3E92-4E30-8BB3-E9AB2EAC0D0A}"/>
              </a:ext>
            </a:extLst>
          </p:cNvPr>
          <p:cNvGrpSpPr/>
          <p:nvPr/>
        </p:nvGrpSpPr>
        <p:grpSpPr>
          <a:xfrm>
            <a:off x="624295" y="1799303"/>
            <a:ext cx="491741" cy="483544"/>
            <a:chOff x="5038858" y="2710754"/>
            <a:chExt cx="298934" cy="293952"/>
          </a:xfrm>
          <a:solidFill>
            <a:schemeClr val="tx2"/>
          </a:solidFill>
        </p:grpSpPr>
        <p:sp>
          <p:nvSpPr>
            <p:cNvPr id="8" name="Freeform: Shape 7">
              <a:extLst>
                <a:ext uri="{FF2B5EF4-FFF2-40B4-BE49-F238E27FC236}">
                  <a16:creationId xmlns:a16="http://schemas.microsoft.com/office/drawing/2014/main" id="{1AAD70D1-7B04-4493-AAD9-8AFBE0FED64A}"/>
                </a:ext>
              </a:extLst>
            </p:cNvPr>
            <p:cNvSpPr/>
            <p:nvPr/>
          </p:nvSpPr>
          <p:spPr>
            <a:xfrm>
              <a:off x="5038858" y="2710754"/>
              <a:ext cx="298934" cy="293952"/>
            </a:xfrm>
            <a:custGeom>
              <a:avLst/>
              <a:gdLst>
                <a:gd name="connsiteX0" fmla="*/ 298934 w 298934"/>
                <a:gd name="connsiteY0" fmla="*/ 149467 h 293951"/>
                <a:gd name="connsiteX1" fmla="*/ 149467 w 298934"/>
                <a:gd name="connsiteY1" fmla="*/ 0 h 293951"/>
                <a:gd name="connsiteX2" fmla="*/ 0 w 298934"/>
                <a:gd name="connsiteY2" fmla="*/ 149467 h 293951"/>
                <a:gd name="connsiteX3" fmla="*/ 149467 w 298934"/>
                <a:gd name="connsiteY3" fmla="*/ 298934 h 293951"/>
                <a:gd name="connsiteX4" fmla="*/ 298934 w 298934"/>
                <a:gd name="connsiteY4" fmla="*/ 149467 h 293951"/>
                <a:gd name="connsiteX5" fmla="*/ 149467 w 298934"/>
                <a:gd name="connsiteY5" fmla="*/ 283190 h 293951"/>
                <a:gd name="connsiteX6" fmla="*/ 15744 w 298934"/>
                <a:gd name="connsiteY6" fmla="*/ 149467 h 293951"/>
                <a:gd name="connsiteX7" fmla="*/ 149467 w 298934"/>
                <a:gd name="connsiteY7" fmla="*/ 15744 h 293951"/>
                <a:gd name="connsiteX8" fmla="*/ 283140 w 298934"/>
                <a:gd name="connsiteY8" fmla="*/ 149467 h 293951"/>
                <a:gd name="connsiteX9" fmla="*/ 149467 w 298934"/>
                <a:gd name="connsiteY9" fmla="*/ 283190 h 29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8934" h="293951">
                  <a:moveTo>
                    <a:pt x="298934" y="149467"/>
                  </a:moveTo>
                  <a:cubicBezTo>
                    <a:pt x="298934" y="66911"/>
                    <a:pt x="232023" y="0"/>
                    <a:pt x="149467" y="0"/>
                  </a:cubicBezTo>
                  <a:cubicBezTo>
                    <a:pt x="66911" y="0"/>
                    <a:pt x="0" y="66911"/>
                    <a:pt x="0" y="149467"/>
                  </a:cubicBezTo>
                  <a:cubicBezTo>
                    <a:pt x="0" y="232023"/>
                    <a:pt x="66911" y="298934"/>
                    <a:pt x="149467" y="298934"/>
                  </a:cubicBezTo>
                  <a:cubicBezTo>
                    <a:pt x="232023" y="298934"/>
                    <a:pt x="298934" y="232023"/>
                    <a:pt x="298934" y="149467"/>
                  </a:cubicBezTo>
                  <a:close/>
                  <a:moveTo>
                    <a:pt x="149467" y="283190"/>
                  </a:moveTo>
                  <a:cubicBezTo>
                    <a:pt x="75630" y="283041"/>
                    <a:pt x="15893" y="223304"/>
                    <a:pt x="15744" y="149467"/>
                  </a:cubicBezTo>
                  <a:cubicBezTo>
                    <a:pt x="15893" y="75630"/>
                    <a:pt x="75581" y="15893"/>
                    <a:pt x="149467" y="15744"/>
                  </a:cubicBezTo>
                  <a:cubicBezTo>
                    <a:pt x="223304" y="15893"/>
                    <a:pt x="283041" y="75630"/>
                    <a:pt x="283140" y="149467"/>
                  </a:cubicBezTo>
                  <a:cubicBezTo>
                    <a:pt x="283041" y="223304"/>
                    <a:pt x="223304" y="283041"/>
                    <a:pt x="149467" y="283190"/>
                  </a:cubicBezTo>
                  <a:close/>
                </a:path>
              </a:pathLst>
            </a:custGeom>
            <a:grpFill/>
            <a:ln w="4977" cap="flat">
              <a:noFill/>
              <a:prstDash val="solid"/>
              <a:miter/>
            </a:ln>
          </p:spPr>
          <p:txBody>
            <a:bodyPr rtlCol="0" anchor="ctr"/>
            <a:lstStyle/>
            <a:p>
              <a:pPr defTabSz="1219170"/>
              <a:endParaRPr lang="en-US" sz="2400">
                <a:solidFill>
                  <a:srgbClr val="ADAFAF"/>
                </a:solidFill>
                <a:latin typeface="Arial" panose="020B0604020202020204"/>
              </a:endParaRPr>
            </a:p>
          </p:txBody>
        </p:sp>
        <p:sp>
          <p:nvSpPr>
            <p:cNvPr id="10" name="Freeform: Shape 9">
              <a:extLst>
                <a:ext uri="{FF2B5EF4-FFF2-40B4-BE49-F238E27FC236}">
                  <a16:creationId xmlns:a16="http://schemas.microsoft.com/office/drawing/2014/main" id="{A1294B92-CCAD-42F2-A0B6-B3EAFE982F0C}"/>
                </a:ext>
              </a:extLst>
            </p:cNvPr>
            <p:cNvSpPr/>
            <p:nvPr/>
          </p:nvSpPr>
          <p:spPr>
            <a:xfrm>
              <a:off x="5071890" y="2743836"/>
              <a:ext cx="229183" cy="149467"/>
            </a:xfrm>
            <a:custGeom>
              <a:avLst/>
              <a:gdLst>
                <a:gd name="connsiteX0" fmla="*/ 116435 w 229182"/>
                <a:gd name="connsiteY0" fmla="*/ 0 h 149467"/>
                <a:gd name="connsiteX1" fmla="*/ 0 w 229182"/>
                <a:gd name="connsiteY1" fmla="*/ 116435 h 149467"/>
                <a:gd name="connsiteX2" fmla="*/ 5530 w 229182"/>
                <a:gd name="connsiteY2" fmla="*/ 152058 h 149467"/>
                <a:gd name="connsiteX3" fmla="*/ 17587 w 229182"/>
                <a:gd name="connsiteY3" fmla="*/ 148222 h 149467"/>
                <a:gd name="connsiteX4" fmla="*/ 17587 w 229182"/>
                <a:gd name="connsiteY4" fmla="*/ 148222 h 149467"/>
                <a:gd name="connsiteX5" fmla="*/ 12655 w 229182"/>
                <a:gd name="connsiteY5" fmla="*/ 116435 h 149467"/>
                <a:gd name="connsiteX6" fmla="*/ 116385 w 229182"/>
                <a:gd name="connsiteY6" fmla="*/ 12705 h 149467"/>
                <a:gd name="connsiteX7" fmla="*/ 220115 w 229182"/>
                <a:gd name="connsiteY7" fmla="*/ 116435 h 149467"/>
                <a:gd name="connsiteX8" fmla="*/ 215432 w 229182"/>
                <a:gd name="connsiteY8" fmla="*/ 147275 h 149467"/>
                <a:gd name="connsiteX9" fmla="*/ 227539 w 229182"/>
                <a:gd name="connsiteY9" fmla="*/ 151061 h 149467"/>
                <a:gd name="connsiteX10" fmla="*/ 232770 w 229182"/>
                <a:gd name="connsiteY10" fmla="*/ 116435 h 149467"/>
                <a:gd name="connsiteX11" fmla="*/ 116435 w 229182"/>
                <a:gd name="connsiteY11" fmla="*/ 0 h 149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9182" h="149467">
                  <a:moveTo>
                    <a:pt x="116435" y="0"/>
                  </a:moveTo>
                  <a:cubicBezTo>
                    <a:pt x="52114" y="0"/>
                    <a:pt x="0" y="52114"/>
                    <a:pt x="0" y="116435"/>
                  </a:cubicBezTo>
                  <a:cubicBezTo>
                    <a:pt x="0" y="128841"/>
                    <a:pt x="1943" y="140848"/>
                    <a:pt x="5530" y="152058"/>
                  </a:cubicBezTo>
                  <a:lnTo>
                    <a:pt x="17587" y="148222"/>
                  </a:lnTo>
                  <a:lnTo>
                    <a:pt x="17587" y="148222"/>
                  </a:lnTo>
                  <a:cubicBezTo>
                    <a:pt x="14399" y="138207"/>
                    <a:pt x="12655" y="127545"/>
                    <a:pt x="12655" y="116435"/>
                  </a:cubicBezTo>
                  <a:cubicBezTo>
                    <a:pt x="12755" y="59139"/>
                    <a:pt x="59089" y="12804"/>
                    <a:pt x="116385" y="12705"/>
                  </a:cubicBezTo>
                  <a:cubicBezTo>
                    <a:pt x="173681" y="12804"/>
                    <a:pt x="220016" y="59139"/>
                    <a:pt x="220115" y="116435"/>
                  </a:cubicBezTo>
                  <a:cubicBezTo>
                    <a:pt x="220115" y="127197"/>
                    <a:pt x="218471" y="137559"/>
                    <a:pt x="215432" y="147275"/>
                  </a:cubicBezTo>
                  <a:lnTo>
                    <a:pt x="227539" y="151061"/>
                  </a:lnTo>
                  <a:cubicBezTo>
                    <a:pt x="230927" y="140100"/>
                    <a:pt x="232770" y="128492"/>
                    <a:pt x="232770" y="116435"/>
                  </a:cubicBezTo>
                  <a:cubicBezTo>
                    <a:pt x="232870" y="52164"/>
                    <a:pt x="180756" y="0"/>
                    <a:pt x="116435" y="0"/>
                  </a:cubicBezTo>
                  <a:close/>
                </a:path>
              </a:pathLst>
            </a:custGeom>
            <a:grpFill/>
            <a:ln w="4977" cap="flat">
              <a:noFill/>
              <a:prstDash val="solid"/>
              <a:miter/>
            </a:ln>
          </p:spPr>
          <p:txBody>
            <a:bodyPr rtlCol="0" anchor="ctr"/>
            <a:lstStyle/>
            <a:p>
              <a:pPr defTabSz="1219170"/>
              <a:endParaRPr lang="en-US" sz="2400">
                <a:solidFill>
                  <a:srgbClr val="ADAFAF"/>
                </a:solidFill>
                <a:latin typeface="Arial" panose="020B0604020202020204"/>
              </a:endParaRPr>
            </a:p>
          </p:txBody>
        </p:sp>
        <p:sp>
          <p:nvSpPr>
            <p:cNvPr id="12" name="Freeform: Shape 11">
              <a:extLst>
                <a:ext uri="{FF2B5EF4-FFF2-40B4-BE49-F238E27FC236}">
                  <a16:creationId xmlns:a16="http://schemas.microsoft.com/office/drawing/2014/main" id="{70E40F39-E16F-4F20-B364-8AB21A0C7836}"/>
                </a:ext>
              </a:extLst>
            </p:cNvPr>
            <p:cNvSpPr/>
            <p:nvPr/>
          </p:nvSpPr>
          <p:spPr>
            <a:xfrm>
              <a:off x="5081904" y="2894499"/>
              <a:ext cx="209254" cy="79716"/>
            </a:xfrm>
            <a:custGeom>
              <a:avLst/>
              <a:gdLst>
                <a:gd name="connsiteX0" fmla="*/ 179161 w 209253"/>
                <a:gd name="connsiteY0" fmla="*/ 299 h 79715"/>
                <a:gd name="connsiteX1" fmla="*/ 106420 w 209253"/>
                <a:gd name="connsiteY1" fmla="*/ 44890 h 79715"/>
                <a:gd name="connsiteX2" fmla="*/ 33530 w 209253"/>
                <a:gd name="connsiteY2" fmla="*/ 0 h 79715"/>
                <a:gd name="connsiteX3" fmla="*/ 20826 w 209253"/>
                <a:gd name="connsiteY3" fmla="*/ 14847 h 79715"/>
                <a:gd name="connsiteX4" fmla="*/ 0 w 209253"/>
                <a:gd name="connsiteY4" fmla="*/ 11808 h 79715"/>
                <a:gd name="connsiteX5" fmla="*/ 106420 w 209253"/>
                <a:gd name="connsiteY5" fmla="*/ 80164 h 79715"/>
                <a:gd name="connsiteX6" fmla="*/ 212692 w 209253"/>
                <a:gd name="connsiteY6" fmla="*/ 12157 h 79715"/>
                <a:gd name="connsiteX7" fmla="*/ 189723 w 209253"/>
                <a:gd name="connsiteY7" fmla="*/ 16541 h 79715"/>
                <a:gd name="connsiteX8" fmla="*/ 179161 w 209253"/>
                <a:gd name="connsiteY8" fmla="*/ 299 h 79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253" h="79715">
                  <a:moveTo>
                    <a:pt x="179161" y="299"/>
                  </a:moveTo>
                  <a:cubicBezTo>
                    <a:pt x="165609" y="26705"/>
                    <a:pt x="138157" y="44790"/>
                    <a:pt x="106420" y="44890"/>
                  </a:cubicBezTo>
                  <a:cubicBezTo>
                    <a:pt x="74534" y="44840"/>
                    <a:pt x="47032" y="26555"/>
                    <a:pt x="33530" y="0"/>
                  </a:cubicBezTo>
                  <a:lnTo>
                    <a:pt x="20826" y="14847"/>
                  </a:lnTo>
                  <a:lnTo>
                    <a:pt x="0" y="11808"/>
                  </a:lnTo>
                  <a:cubicBezTo>
                    <a:pt x="18484" y="52114"/>
                    <a:pt x="59139" y="80164"/>
                    <a:pt x="106420" y="80164"/>
                  </a:cubicBezTo>
                  <a:cubicBezTo>
                    <a:pt x="153552" y="80164"/>
                    <a:pt x="194158" y="52264"/>
                    <a:pt x="212692" y="12157"/>
                  </a:cubicBezTo>
                  <a:lnTo>
                    <a:pt x="189723" y="16541"/>
                  </a:lnTo>
                  <a:lnTo>
                    <a:pt x="179161" y="299"/>
                  </a:lnTo>
                  <a:close/>
                </a:path>
              </a:pathLst>
            </a:custGeom>
            <a:grpFill/>
            <a:ln w="4977" cap="flat">
              <a:noFill/>
              <a:prstDash val="solid"/>
              <a:miter/>
            </a:ln>
          </p:spPr>
          <p:txBody>
            <a:bodyPr rtlCol="0" anchor="ctr"/>
            <a:lstStyle/>
            <a:p>
              <a:pPr defTabSz="1219170"/>
              <a:endParaRPr lang="en-US" sz="2400">
                <a:solidFill>
                  <a:srgbClr val="ADAFAF"/>
                </a:solidFill>
                <a:latin typeface="Arial" panose="020B0604020202020204"/>
              </a:endParaRPr>
            </a:p>
          </p:txBody>
        </p:sp>
        <p:sp>
          <p:nvSpPr>
            <p:cNvPr id="14" name="Freeform: Shape 13">
              <a:extLst>
                <a:ext uri="{FF2B5EF4-FFF2-40B4-BE49-F238E27FC236}">
                  <a16:creationId xmlns:a16="http://schemas.microsoft.com/office/drawing/2014/main" id="{BFD98E30-710E-4F28-AF37-5712C99A2C89}"/>
                </a:ext>
              </a:extLst>
            </p:cNvPr>
            <p:cNvSpPr/>
            <p:nvPr/>
          </p:nvSpPr>
          <p:spPr>
            <a:xfrm>
              <a:off x="5136178" y="2799276"/>
              <a:ext cx="104627" cy="99645"/>
            </a:xfrm>
            <a:custGeom>
              <a:avLst/>
              <a:gdLst>
                <a:gd name="connsiteX0" fmla="*/ 106254 w 104626"/>
                <a:gd name="connsiteY0" fmla="*/ 38326 h 99644"/>
                <a:gd name="connsiteX1" fmla="*/ 103215 w 104626"/>
                <a:gd name="connsiteY1" fmla="*/ 35785 h 99644"/>
                <a:gd name="connsiteX2" fmla="*/ 70780 w 104626"/>
                <a:gd name="connsiteY2" fmla="*/ 31401 h 99644"/>
                <a:gd name="connsiteX3" fmla="*/ 56531 w 104626"/>
                <a:gd name="connsiteY3" fmla="*/ 1906 h 99644"/>
                <a:gd name="connsiteX4" fmla="*/ 49905 w 104626"/>
                <a:gd name="connsiteY4" fmla="*/ 1906 h 99644"/>
                <a:gd name="connsiteX5" fmla="*/ 35655 w 104626"/>
                <a:gd name="connsiteY5" fmla="*/ 31401 h 99644"/>
                <a:gd name="connsiteX6" fmla="*/ 3221 w 104626"/>
                <a:gd name="connsiteY6" fmla="*/ 35785 h 99644"/>
                <a:gd name="connsiteX7" fmla="*/ 182 w 104626"/>
                <a:gd name="connsiteY7" fmla="*/ 38326 h 99644"/>
                <a:gd name="connsiteX8" fmla="*/ 1178 w 104626"/>
                <a:gd name="connsiteY8" fmla="*/ 42112 h 99644"/>
                <a:gd name="connsiteX9" fmla="*/ 24844 w 104626"/>
                <a:gd name="connsiteY9" fmla="*/ 64782 h 99644"/>
                <a:gd name="connsiteX10" fmla="*/ 19015 w 104626"/>
                <a:gd name="connsiteY10" fmla="*/ 97017 h 99644"/>
                <a:gd name="connsiteX11" fmla="*/ 20460 w 104626"/>
                <a:gd name="connsiteY11" fmla="*/ 100654 h 99644"/>
                <a:gd name="connsiteX12" fmla="*/ 22652 w 104626"/>
                <a:gd name="connsiteY12" fmla="*/ 101351 h 99644"/>
                <a:gd name="connsiteX13" fmla="*/ 24396 w 104626"/>
                <a:gd name="connsiteY13" fmla="*/ 100903 h 99644"/>
                <a:gd name="connsiteX14" fmla="*/ 53243 w 104626"/>
                <a:gd name="connsiteY14" fmla="*/ 85408 h 99644"/>
                <a:gd name="connsiteX15" fmla="*/ 82090 w 104626"/>
                <a:gd name="connsiteY15" fmla="*/ 100903 h 99644"/>
                <a:gd name="connsiteX16" fmla="*/ 86026 w 104626"/>
                <a:gd name="connsiteY16" fmla="*/ 100654 h 99644"/>
                <a:gd name="connsiteX17" fmla="*/ 87471 w 104626"/>
                <a:gd name="connsiteY17" fmla="*/ 97017 h 99644"/>
                <a:gd name="connsiteX18" fmla="*/ 81642 w 104626"/>
                <a:gd name="connsiteY18" fmla="*/ 64782 h 99644"/>
                <a:gd name="connsiteX19" fmla="*/ 105307 w 104626"/>
                <a:gd name="connsiteY19" fmla="*/ 42112 h 99644"/>
                <a:gd name="connsiteX20" fmla="*/ 106254 w 104626"/>
                <a:gd name="connsiteY20" fmla="*/ 38326 h 99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4626" h="99644">
                  <a:moveTo>
                    <a:pt x="106254" y="38326"/>
                  </a:moveTo>
                  <a:cubicBezTo>
                    <a:pt x="105805" y="36981"/>
                    <a:pt x="104659" y="35984"/>
                    <a:pt x="103215" y="35785"/>
                  </a:cubicBezTo>
                  <a:lnTo>
                    <a:pt x="70780" y="31401"/>
                  </a:lnTo>
                  <a:lnTo>
                    <a:pt x="56531" y="1906"/>
                  </a:lnTo>
                  <a:cubicBezTo>
                    <a:pt x="55335" y="-635"/>
                    <a:pt x="51100" y="-635"/>
                    <a:pt x="49905" y="1906"/>
                  </a:cubicBezTo>
                  <a:lnTo>
                    <a:pt x="35655" y="31401"/>
                  </a:lnTo>
                  <a:lnTo>
                    <a:pt x="3221" y="35785"/>
                  </a:lnTo>
                  <a:cubicBezTo>
                    <a:pt x="1776" y="35984"/>
                    <a:pt x="630" y="36981"/>
                    <a:pt x="182" y="38326"/>
                  </a:cubicBezTo>
                  <a:cubicBezTo>
                    <a:pt x="-266" y="39671"/>
                    <a:pt x="132" y="41166"/>
                    <a:pt x="1178" y="42112"/>
                  </a:cubicBezTo>
                  <a:lnTo>
                    <a:pt x="24844" y="64782"/>
                  </a:lnTo>
                  <a:lnTo>
                    <a:pt x="19015" y="97017"/>
                  </a:lnTo>
                  <a:cubicBezTo>
                    <a:pt x="18766" y="98412"/>
                    <a:pt x="19314" y="99807"/>
                    <a:pt x="20460" y="100654"/>
                  </a:cubicBezTo>
                  <a:cubicBezTo>
                    <a:pt x="21107" y="101102"/>
                    <a:pt x="21855" y="101351"/>
                    <a:pt x="22652" y="101351"/>
                  </a:cubicBezTo>
                  <a:cubicBezTo>
                    <a:pt x="23250" y="101351"/>
                    <a:pt x="23848" y="101202"/>
                    <a:pt x="24396" y="100903"/>
                  </a:cubicBezTo>
                  <a:lnTo>
                    <a:pt x="53243" y="85408"/>
                  </a:lnTo>
                  <a:lnTo>
                    <a:pt x="82090" y="100903"/>
                  </a:lnTo>
                  <a:cubicBezTo>
                    <a:pt x="83335" y="101550"/>
                    <a:pt x="84830" y="101451"/>
                    <a:pt x="86026" y="100654"/>
                  </a:cubicBezTo>
                  <a:cubicBezTo>
                    <a:pt x="87172" y="99807"/>
                    <a:pt x="87720" y="98412"/>
                    <a:pt x="87471" y="97017"/>
                  </a:cubicBezTo>
                  <a:lnTo>
                    <a:pt x="81642" y="64782"/>
                  </a:lnTo>
                  <a:lnTo>
                    <a:pt x="105307" y="42112"/>
                  </a:lnTo>
                  <a:cubicBezTo>
                    <a:pt x="106353" y="41166"/>
                    <a:pt x="106702" y="39671"/>
                    <a:pt x="106254" y="38326"/>
                  </a:cubicBezTo>
                  <a:close/>
                </a:path>
              </a:pathLst>
            </a:custGeom>
            <a:grpFill/>
            <a:ln w="4977" cap="flat">
              <a:noFill/>
              <a:prstDash val="solid"/>
              <a:miter/>
            </a:ln>
          </p:spPr>
          <p:txBody>
            <a:bodyPr rtlCol="0" anchor="ctr"/>
            <a:lstStyle/>
            <a:p>
              <a:pPr defTabSz="1219170"/>
              <a:endParaRPr lang="en-US" sz="2400">
                <a:solidFill>
                  <a:srgbClr val="ADAFAF"/>
                </a:solidFill>
                <a:latin typeface="Arial" panose="020B0604020202020204"/>
              </a:endParaRPr>
            </a:p>
          </p:txBody>
        </p:sp>
      </p:grpSp>
      <p:cxnSp>
        <p:nvCxnSpPr>
          <p:cNvPr id="39" name="Straight Connector 38">
            <a:extLst>
              <a:ext uri="{FF2B5EF4-FFF2-40B4-BE49-F238E27FC236}">
                <a16:creationId xmlns:a16="http://schemas.microsoft.com/office/drawing/2014/main" id="{D3AAB373-C582-4573-A7CE-AA35B64B47FF}"/>
              </a:ext>
            </a:extLst>
          </p:cNvPr>
          <p:cNvCxnSpPr/>
          <p:nvPr/>
        </p:nvCxnSpPr>
        <p:spPr>
          <a:xfrm flipH="1">
            <a:off x="1219200" y="2045109"/>
            <a:ext cx="288085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6715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Title 2"/>
          <p:cNvSpPr>
            <a:spLocks noGrp="1"/>
          </p:cNvSpPr>
          <p:nvPr>
            <p:ph type="title"/>
          </p:nvPr>
        </p:nvSpPr>
        <p:spPr>
          <a:xfrm>
            <a:off x="1524001" y="256848"/>
            <a:ext cx="8221664" cy="679885"/>
          </a:xfrm>
        </p:spPr>
        <p:txBody>
          <a:bodyPr/>
          <a:lstStyle/>
          <a:p>
            <a:r>
              <a:rPr lang="en-US" altLang="en-US" dirty="0"/>
              <a:t>The Protective Way</a:t>
            </a:r>
          </a:p>
        </p:txBody>
      </p:sp>
      <p:sp>
        <p:nvSpPr>
          <p:cNvPr id="2" name="TextBox 1"/>
          <p:cNvSpPr txBox="1"/>
          <p:nvPr/>
        </p:nvSpPr>
        <p:spPr>
          <a:xfrm>
            <a:off x="1524001" y="1597861"/>
            <a:ext cx="7303910" cy="461665"/>
          </a:xfrm>
          <a:prstGeom prst="rect">
            <a:avLst/>
          </a:prstGeom>
          <a:solidFill>
            <a:schemeClr val="tx2"/>
          </a:solidFill>
        </p:spPr>
        <p:txBody>
          <a:bodyPr wrap="square" rtlCol="0">
            <a:spAutoFit/>
          </a:bodyPr>
          <a:lstStyle/>
          <a:p>
            <a:pPr indent="344488"/>
            <a:r>
              <a:rPr lang="en-US" sz="2400" dirty="0">
                <a:solidFill>
                  <a:srgbClr val="FFFFFF"/>
                </a:solidFill>
              </a:rPr>
              <a:t>Products Designed to Stand the Test of Life</a:t>
            </a:r>
          </a:p>
        </p:txBody>
      </p:sp>
      <p:grpSp>
        <p:nvGrpSpPr>
          <p:cNvPr id="11" name="Group 10"/>
          <p:cNvGrpSpPr/>
          <p:nvPr/>
        </p:nvGrpSpPr>
        <p:grpSpPr>
          <a:xfrm>
            <a:off x="5175957" y="2601717"/>
            <a:ext cx="7011925" cy="2329889"/>
            <a:chOff x="354552" y="2514667"/>
            <a:chExt cx="7011925" cy="2329889"/>
          </a:xfrm>
        </p:grpSpPr>
        <p:sp>
          <p:nvSpPr>
            <p:cNvPr id="3" name="Rectangle 2"/>
            <p:cNvSpPr/>
            <p:nvPr/>
          </p:nvSpPr>
          <p:spPr>
            <a:xfrm>
              <a:off x="354552" y="2514667"/>
              <a:ext cx="7011925" cy="384721"/>
            </a:xfrm>
            <a:prstGeom prst="rect">
              <a:avLst/>
            </a:prstGeom>
          </p:spPr>
          <p:txBody>
            <a:bodyPr wrap="square">
              <a:spAutoFit/>
            </a:bodyPr>
            <a:lstStyle/>
            <a:p>
              <a:pPr>
                <a:lnSpc>
                  <a:spcPct val="95000"/>
                </a:lnSpc>
                <a:spcAft>
                  <a:spcPts val="1200"/>
                </a:spcAft>
              </a:pPr>
              <a:r>
                <a:rPr lang="en-US" sz="2000" dirty="0">
                  <a:solidFill>
                    <a:srgbClr val="646464"/>
                  </a:solidFill>
                </a:rPr>
                <a:t>We make promises carefully and deliver</a:t>
              </a:r>
              <a:endParaRPr lang="en-US" altLang="en-US" sz="2000" dirty="0">
                <a:solidFill>
                  <a:srgbClr val="646464"/>
                </a:solidFill>
                <a:cs typeface="Arial" pitchFamily="34" charset="0"/>
              </a:endParaRPr>
            </a:p>
          </p:txBody>
        </p:sp>
        <p:sp>
          <p:nvSpPr>
            <p:cNvPr id="7" name="Rectangle 6"/>
            <p:cNvSpPr/>
            <p:nvPr/>
          </p:nvSpPr>
          <p:spPr>
            <a:xfrm>
              <a:off x="354552" y="3432742"/>
              <a:ext cx="6505818" cy="384721"/>
            </a:xfrm>
            <a:prstGeom prst="rect">
              <a:avLst/>
            </a:prstGeom>
          </p:spPr>
          <p:txBody>
            <a:bodyPr wrap="square">
              <a:spAutoFit/>
            </a:bodyPr>
            <a:lstStyle/>
            <a:p>
              <a:pPr>
                <a:lnSpc>
                  <a:spcPct val="95000"/>
                </a:lnSpc>
                <a:spcAft>
                  <a:spcPts val="1200"/>
                </a:spcAft>
              </a:pPr>
              <a:r>
                <a:rPr lang="en-US" sz="2000" dirty="0">
                  <a:solidFill>
                    <a:srgbClr val="646464"/>
                  </a:solidFill>
                </a:rPr>
                <a:t>No surprises, no disappointments</a:t>
              </a:r>
              <a:endParaRPr lang="en-US" altLang="en-US" sz="2000" dirty="0">
                <a:solidFill>
                  <a:srgbClr val="646464"/>
                </a:solidFill>
                <a:cs typeface="Arial" pitchFamily="34" charset="0"/>
              </a:endParaRPr>
            </a:p>
          </p:txBody>
        </p:sp>
        <p:sp>
          <p:nvSpPr>
            <p:cNvPr id="8" name="Rectangle 7"/>
            <p:cNvSpPr/>
            <p:nvPr/>
          </p:nvSpPr>
          <p:spPr>
            <a:xfrm>
              <a:off x="354552" y="4459835"/>
              <a:ext cx="6745043" cy="384721"/>
            </a:xfrm>
            <a:prstGeom prst="rect">
              <a:avLst/>
            </a:prstGeom>
          </p:spPr>
          <p:txBody>
            <a:bodyPr wrap="square">
              <a:spAutoFit/>
            </a:bodyPr>
            <a:lstStyle/>
            <a:p>
              <a:pPr>
                <a:lnSpc>
                  <a:spcPct val="95000"/>
                </a:lnSpc>
                <a:spcAft>
                  <a:spcPts val="1200"/>
                </a:spcAft>
              </a:pPr>
              <a:r>
                <a:rPr lang="en-US" sz="2000" dirty="0">
                  <a:solidFill>
                    <a:srgbClr val="646464"/>
                  </a:solidFill>
                </a:rPr>
                <a:t>We do the right thing</a:t>
              </a:r>
              <a:endParaRPr lang="en-US" altLang="en-US" sz="2000" dirty="0">
                <a:solidFill>
                  <a:srgbClr val="646464"/>
                </a:solidFill>
                <a:cs typeface="Arial" pitchFamily="34" charset="0"/>
              </a:endParaRPr>
            </a:p>
          </p:txBody>
        </p:sp>
        <p:grpSp>
          <p:nvGrpSpPr>
            <p:cNvPr id="9" name="Group 8"/>
            <p:cNvGrpSpPr/>
            <p:nvPr/>
          </p:nvGrpSpPr>
          <p:grpSpPr>
            <a:xfrm>
              <a:off x="433575" y="3110257"/>
              <a:ext cx="4623847" cy="1009040"/>
              <a:chOff x="433575" y="3110257"/>
              <a:chExt cx="8223772" cy="1009040"/>
            </a:xfrm>
          </p:grpSpPr>
          <p:cxnSp>
            <p:nvCxnSpPr>
              <p:cNvPr id="10" name="Straight Connector 9"/>
              <p:cNvCxnSpPr/>
              <p:nvPr/>
            </p:nvCxnSpPr>
            <p:spPr>
              <a:xfrm>
                <a:off x="433575" y="3110257"/>
                <a:ext cx="822377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433575" y="4119297"/>
                <a:ext cx="8223772" cy="0"/>
              </a:xfrm>
              <a:prstGeom prst="line">
                <a:avLst/>
              </a:prstGeom>
            </p:spPr>
            <p:style>
              <a:lnRef idx="1">
                <a:schemeClr val="accent1"/>
              </a:lnRef>
              <a:fillRef idx="0">
                <a:schemeClr val="accent1"/>
              </a:fillRef>
              <a:effectRef idx="0">
                <a:schemeClr val="accent1"/>
              </a:effectRef>
              <a:fontRef idx="minor">
                <a:schemeClr val="tx1"/>
              </a:fontRef>
            </p:style>
          </p:cxnSp>
        </p:grpSp>
      </p:grpSp>
      <p:sp>
        <p:nvSpPr>
          <p:cNvPr id="16" name="Freeform 37"/>
          <p:cNvSpPr>
            <a:spLocks noEditPoints="1"/>
          </p:cNvSpPr>
          <p:nvPr/>
        </p:nvSpPr>
        <p:spPr bwMode="auto">
          <a:xfrm>
            <a:off x="2925297" y="2794077"/>
            <a:ext cx="718054" cy="1615243"/>
          </a:xfrm>
          <a:custGeom>
            <a:avLst/>
            <a:gdLst>
              <a:gd name="T0" fmla="*/ 285 w 1205"/>
              <a:gd name="T1" fmla="*/ 1406 h 2710"/>
              <a:gd name="T2" fmla="*/ 60 w 1205"/>
              <a:gd name="T3" fmla="*/ 1377 h 2710"/>
              <a:gd name="T4" fmla="*/ 163 w 1205"/>
              <a:gd name="T5" fmla="*/ 1448 h 2710"/>
              <a:gd name="T6" fmla="*/ 57 w 1205"/>
              <a:gd name="T7" fmla="*/ 2239 h 2710"/>
              <a:gd name="T8" fmla="*/ 2 w 1205"/>
              <a:gd name="T9" fmla="*/ 2340 h 2710"/>
              <a:gd name="T10" fmla="*/ 42 w 1205"/>
              <a:gd name="T11" fmla="*/ 2351 h 2710"/>
              <a:gd name="T12" fmla="*/ 247 w 1205"/>
              <a:gd name="T13" fmla="*/ 2281 h 2710"/>
              <a:gd name="T14" fmla="*/ 203 w 1205"/>
              <a:gd name="T15" fmla="*/ 2267 h 2710"/>
              <a:gd name="T16" fmla="*/ 198 w 1205"/>
              <a:gd name="T17" fmla="*/ 2426 h 2710"/>
              <a:gd name="T18" fmla="*/ 221 w 1205"/>
              <a:gd name="T19" fmla="*/ 2424 h 2710"/>
              <a:gd name="T20" fmla="*/ 247 w 1205"/>
              <a:gd name="T21" fmla="*/ 2281 h 2710"/>
              <a:gd name="T22" fmla="*/ 1145 w 1205"/>
              <a:gd name="T23" fmla="*/ 1477 h 2710"/>
              <a:gd name="T24" fmla="*/ 1042 w 1205"/>
              <a:gd name="T25" fmla="*/ 1406 h 2710"/>
              <a:gd name="T26" fmla="*/ 1042 w 1205"/>
              <a:gd name="T27" fmla="*/ 1448 h 2710"/>
              <a:gd name="T28" fmla="*/ 750 w 1205"/>
              <a:gd name="T29" fmla="*/ 828 h 2710"/>
              <a:gd name="T30" fmla="*/ 738 w 1205"/>
              <a:gd name="T31" fmla="*/ 790 h 2710"/>
              <a:gd name="T32" fmla="*/ 641 w 1205"/>
              <a:gd name="T33" fmla="*/ 374 h 2710"/>
              <a:gd name="T34" fmla="*/ 678 w 1205"/>
              <a:gd name="T35" fmla="*/ 53 h 2710"/>
              <a:gd name="T36" fmla="*/ 527 w 1205"/>
              <a:gd name="T37" fmla="*/ 53 h 2710"/>
              <a:gd name="T38" fmla="*/ 565 w 1205"/>
              <a:gd name="T39" fmla="*/ 374 h 2710"/>
              <a:gd name="T40" fmla="*/ 468 w 1205"/>
              <a:gd name="T41" fmla="*/ 790 h 2710"/>
              <a:gd name="T42" fmla="*/ 455 w 1205"/>
              <a:gd name="T43" fmla="*/ 828 h 2710"/>
              <a:gd name="T44" fmla="*/ 66 w 1205"/>
              <a:gd name="T45" fmla="*/ 2346 h 2710"/>
              <a:gd name="T46" fmla="*/ 96 w 1205"/>
              <a:gd name="T47" fmla="*/ 2549 h 2710"/>
              <a:gd name="T48" fmla="*/ 142 w 1205"/>
              <a:gd name="T49" fmla="*/ 2544 h 2710"/>
              <a:gd name="T50" fmla="*/ 193 w 1205"/>
              <a:gd name="T51" fmla="*/ 2446 h 2710"/>
              <a:gd name="T52" fmla="*/ 203 w 1205"/>
              <a:gd name="T53" fmla="*/ 2246 h 2710"/>
              <a:gd name="T54" fmla="*/ 397 w 1205"/>
              <a:gd name="T55" fmla="*/ 1674 h 2710"/>
              <a:gd name="T56" fmla="*/ 440 w 1205"/>
              <a:gd name="T57" fmla="*/ 1448 h 2710"/>
              <a:gd name="T58" fmla="*/ 489 w 1205"/>
              <a:gd name="T59" fmla="*/ 1240 h 2710"/>
              <a:gd name="T60" fmla="*/ 604 w 1205"/>
              <a:gd name="T61" fmla="*/ 922 h 2710"/>
              <a:gd name="T62" fmla="*/ 717 w 1205"/>
              <a:gd name="T63" fmla="*/ 1240 h 2710"/>
              <a:gd name="T64" fmla="*/ 765 w 1205"/>
              <a:gd name="T65" fmla="*/ 1448 h 2710"/>
              <a:gd name="T66" fmla="*/ 809 w 1205"/>
              <a:gd name="T67" fmla="*/ 1674 h 2710"/>
              <a:gd name="T68" fmla="*/ 1002 w 1205"/>
              <a:gd name="T69" fmla="*/ 2246 h 2710"/>
              <a:gd name="T70" fmla="*/ 1012 w 1205"/>
              <a:gd name="T71" fmla="*/ 2446 h 2710"/>
              <a:gd name="T72" fmla="*/ 1063 w 1205"/>
              <a:gd name="T73" fmla="*/ 2544 h 2710"/>
              <a:gd name="T74" fmla="*/ 1110 w 1205"/>
              <a:gd name="T75" fmla="*/ 2549 h 2710"/>
              <a:gd name="T76" fmla="*/ 1139 w 1205"/>
              <a:gd name="T77" fmla="*/ 2346 h 2710"/>
              <a:gd name="T78" fmla="*/ 604 w 1205"/>
              <a:gd name="T79" fmla="*/ 665 h 2710"/>
              <a:gd name="T80" fmla="*/ 603 w 1205"/>
              <a:gd name="T81" fmla="*/ 431 h 2710"/>
              <a:gd name="T82" fmla="*/ 637 w 1205"/>
              <a:gd name="T83" fmla="*/ 1406 h 2710"/>
              <a:gd name="T84" fmla="*/ 568 w 1205"/>
              <a:gd name="T85" fmla="*/ 1284 h 2710"/>
              <a:gd name="T86" fmla="*/ 462 w 1205"/>
              <a:gd name="T87" fmla="*/ 1448 h 2710"/>
              <a:gd name="T88" fmla="*/ 603 w 1205"/>
              <a:gd name="T89" fmla="*/ 1605 h 2710"/>
              <a:gd name="T90" fmla="*/ 744 w 1205"/>
              <a:gd name="T91" fmla="*/ 1448 h 2710"/>
              <a:gd name="T92" fmla="*/ 1203 w 1205"/>
              <a:gd name="T93" fmla="*/ 2340 h 2710"/>
              <a:gd name="T94" fmla="*/ 1148 w 1205"/>
              <a:gd name="T95" fmla="*/ 2239 h 2710"/>
              <a:gd name="T96" fmla="*/ 1145 w 1205"/>
              <a:gd name="T97" fmla="*/ 2285 h 2710"/>
              <a:gd name="T98" fmla="*/ 1193 w 1205"/>
              <a:gd name="T99" fmla="*/ 2358 h 2710"/>
              <a:gd name="T100" fmla="*/ 1002 w 1205"/>
              <a:gd name="T101" fmla="*/ 2267 h 2710"/>
              <a:gd name="T102" fmla="*/ 958 w 1205"/>
              <a:gd name="T103" fmla="*/ 2281 h 2710"/>
              <a:gd name="T104" fmla="*/ 985 w 1205"/>
              <a:gd name="T105" fmla="*/ 2424 h 2710"/>
              <a:gd name="T106" fmla="*/ 1007 w 1205"/>
              <a:gd name="T107" fmla="*/ 2426 h 2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05" h="2710">
                <a:moveTo>
                  <a:pt x="163" y="1448"/>
                </a:moveTo>
                <a:cubicBezTo>
                  <a:pt x="274" y="1448"/>
                  <a:pt x="274" y="1448"/>
                  <a:pt x="274" y="1448"/>
                </a:cubicBezTo>
                <a:cubicBezTo>
                  <a:pt x="285" y="1406"/>
                  <a:pt x="285" y="1406"/>
                  <a:pt x="285" y="1406"/>
                </a:cubicBezTo>
                <a:cubicBezTo>
                  <a:pt x="163" y="1406"/>
                  <a:pt x="163" y="1406"/>
                  <a:pt x="163" y="1406"/>
                </a:cubicBezTo>
                <a:cubicBezTo>
                  <a:pt x="163" y="1377"/>
                  <a:pt x="163" y="1377"/>
                  <a:pt x="163" y="1377"/>
                </a:cubicBezTo>
                <a:cubicBezTo>
                  <a:pt x="60" y="1377"/>
                  <a:pt x="60" y="1377"/>
                  <a:pt x="60" y="1377"/>
                </a:cubicBezTo>
                <a:cubicBezTo>
                  <a:pt x="60" y="1477"/>
                  <a:pt x="60" y="1477"/>
                  <a:pt x="60" y="1477"/>
                </a:cubicBezTo>
                <a:cubicBezTo>
                  <a:pt x="163" y="1477"/>
                  <a:pt x="163" y="1477"/>
                  <a:pt x="163" y="1477"/>
                </a:cubicBezTo>
                <a:lnTo>
                  <a:pt x="163" y="1448"/>
                </a:lnTo>
                <a:close/>
                <a:moveTo>
                  <a:pt x="67" y="2256"/>
                </a:moveTo>
                <a:cubicBezTo>
                  <a:pt x="68" y="2256"/>
                  <a:pt x="67" y="2255"/>
                  <a:pt x="68" y="2255"/>
                </a:cubicBezTo>
                <a:cubicBezTo>
                  <a:pt x="69" y="2248"/>
                  <a:pt x="64" y="2240"/>
                  <a:pt x="57" y="2239"/>
                </a:cubicBezTo>
                <a:cubicBezTo>
                  <a:pt x="45" y="2235"/>
                  <a:pt x="45" y="2235"/>
                  <a:pt x="45" y="2235"/>
                </a:cubicBezTo>
                <a:cubicBezTo>
                  <a:pt x="37" y="2233"/>
                  <a:pt x="29" y="2238"/>
                  <a:pt x="27" y="2246"/>
                </a:cubicBezTo>
                <a:cubicBezTo>
                  <a:pt x="2" y="2340"/>
                  <a:pt x="2" y="2340"/>
                  <a:pt x="2" y="2340"/>
                </a:cubicBezTo>
                <a:cubicBezTo>
                  <a:pt x="0" y="2348"/>
                  <a:pt x="5" y="2356"/>
                  <a:pt x="12" y="2358"/>
                </a:cubicBezTo>
                <a:cubicBezTo>
                  <a:pt x="24" y="2361"/>
                  <a:pt x="24" y="2361"/>
                  <a:pt x="24" y="2361"/>
                </a:cubicBezTo>
                <a:cubicBezTo>
                  <a:pt x="32" y="2363"/>
                  <a:pt x="40" y="2359"/>
                  <a:pt x="42" y="2351"/>
                </a:cubicBezTo>
                <a:cubicBezTo>
                  <a:pt x="60" y="2286"/>
                  <a:pt x="60" y="2286"/>
                  <a:pt x="60" y="2286"/>
                </a:cubicBezTo>
                <a:lnTo>
                  <a:pt x="67" y="2256"/>
                </a:lnTo>
                <a:close/>
                <a:moveTo>
                  <a:pt x="247" y="2281"/>
                </a:moveTo>
                <a:cubicBezTo>
                  <a:pt x="244" y="2279"/>
                  <a:pt x="241" y="2277"/>
                  <a:pt x="238" y="2276"/>
                </a:cubicBezTo>
                <a:cubicBezTo>
                  <a:pt x="232" y="2273"/>
                  <a:pt x="226" y="2271"/>
                  <a:pt x="220" y="2269"/>
                </a:cubicBezTo>
                <a:cubicBezTo>
                  <a:pt x="214" y="2268"/>
                  <a:pt x="209" y="2267"/>
                  <a:pt x="203" y="2267"/>
                </a:cubicBezTo>
                <a:cubicBezTo>
                  <a:pt x="167" y="2267"/>
                  <a:pt x="134" y="2293"/>
                  <a:pt x="126" y="2330"/>
                </a:cubicBezTo>
                <a:cubicBezTo>
                  <a:pt x="116" y="2373"/>
                  <a:pt x="143" y="2415"/>
                  <a:pt x="186" y="2424"/>
                </a:cubicBezTo>
                <a:cubicBezTo>
                  <a:pt x="190" y="2425"/>
                  <a:pt x="194" y="2425"/>
                  <a:pt x="198" y="2426"/>
                </a:cubicBezTo>
                <a:cubicBezTo>
                  <a:pt x="200" y="2426"/>
                  <a:pt x="202" y="2426"/>
                  <a:pt x="203" y="2426"/>
                </a:cubicBezTo>
                <a:cubicBezTo>
                  <a:pt x="205" y="2426"/>
                  <a:pt x="207" y="2426"/>
                  <a:pt x="209" y="2426"/>
                </a:cubicBezTo>
                <a:cubicBezTo>
                  <a:pt x="213" y="2425"/>
                  <a:pt x="217" y="2425"/>
                  <a:pt x="221" y="2424"/>
                </a:cubicBezTo>
                <a:cubicBezTo>
                  <a:pt x="250" y="2417"/>
                  <a:pt x="274" y="2395"/>
                  <a:pt x="281" y="2364"/>
                </a:cubicBezTo>
                <a:cubicBezTo>
                  <a:pt x="287" y="2335"/>
                  <a:pt x="277" y="2307"/>
                  <a:pt x="256" y="2289"/>
                </a:cubicBezTo>
                <a:cubicBezTo>
                  <a:pt x="254" y="2286"/>
                  <a:pt x="251" y="2283"/>
                  <a:pt x="247" y="2281"/>
                </a:cubicBezTo>
                <a:close/>
                <a:moveTo>
                  <a:pt x="1042" y="1448"/>
                </a:moveTo>
                <a:cubicBezTo>
                  <a:pt x="1042" y="1477"/>
                  <a:pt x="1042" y="1477"/>
                  <a:pt x="1042" y="1477"/>
                </a:cubicBezTo>
                <a:cubicBezTo>
                  <a:pt x="1145" y="1477"/>
                  <a:pt x="1145" y="1477"/>
                  <a:pt x="1145" y="1477"/>
                </a:cubicBezTo>
                <a:cubicBezTo>
                  <a:pt x="1145" y="1377"/>
                  <a:pt x="1145" y="1377"/>
                  <a:pt x="1145" y="1377"/>
                </a:cubicBezTo>
                <a:cubicBezTo>
                  <a:pt x="1042" y="1377"/>
                  <a:pt x="1042" y="1377"/>
                  <a:pt x="1042" y="1377"/>
                </a:cubicBezTo>
                <a:cubicBezTo>
                  <a:pt x="1042" y="1406"/>
                  <a:pt x="1042" y="1406"/>
                  <a:pt x="1042" y="1406"/>
                </a:cubicBezTo>
                <a:cubicBezTo>
                  <a:pt x="920" y="1406"/>
                  <a:pt x="920" y="1406"/>
                  <a:pt x="920" y="1406"/>
                </a:cubicBezTo>
                <a:cubicBezTo>
                  <a:pt x="931" y="1448"/>
                  <a:pt x="931" y="1448"/>
                  <a:pt x="931" y="1448"/>
                </a:cubicBezTo>
                <a:lnTo>
                  <a:pt x="1042" y="1448"/>
                </a:lnTo>
                <a:close/>
                <a:moveTo>
                  <a:pt x="909" y="1448"/>
                </a:moveTo>
                <a:cubicBezTo>
                  <a:pt x="899" y="1406"/>
                  <a:pt x="899" y="1406"/>
                  <a:pt x="899" y="1406"/>
                </a:cubicBezTo>
                <a:cubicBezTo>
                  <a:pt x="750" y="828"/>
                  <a:pt x="750" y="828"/>
                  <a:pt x="750" y="828"/>
                </a:cubicBezTo>
                <a:cubicBezTo>
                  <a:pt x="748" y="816"/>
                  <a:pt x="741" y="807"/>
                  <a:pt x="732" y="800"/>
                </a:cubicBezTo>
                <a:cubicBezTo>
                  <a:pt x="732" y="798"/>
                  <a:pt x="733" y="796"/>
                  <a:pt x="733" y="794"/>
                </a:cubicBezTo>
                <a:cubicBezTo>
                  <a:pt x="734" y="792"/>
                  <a:pt x="736" y="791"/>
                  <a:pt x="738" y="790"/>
                </a:cubicBezTo>
                <a:cubicBezTo>
                  <a:pt x="741" y="788"/>
                  <a:pt x="744" y="786"/>
                  <a:pt x="747" y="783"/>
                </a:cubicBezTo>
                <a:cubicBezTo>
                  <a:pt x="800" y="741"/>
                  <a:pt x="834" y="676"/>
                  <a:pt x="834" y="602"/>
                </a:cubicBezTo>
                <a:cubicBezTo>
                  <a:pt x="834" y="488"/>
                  <a:pt x="750" y="393"/>
                  <a:pt x="641" y="374"/>
                </a:cubicBezTo>
                <a:cubicBezTo>
                  <a:pt x="641" y="317"/>
                  <a:pt x="641" y="317"/>
                  <a:pt x="641" y="317"/>
                </a:cubicBezTo>
                <a:cubicBezTo>
                  <a:pt x="662" y="310"/>
                  <a:pt x="678" y="290"/>
                  <a:pt x="678" y="266"/>
                </a:cubicBezTo>
                <a:cubicBezTo>
                  <a:pt x="678" y="53"/>
                  <a:pt x="678" y="53"/>
                  <a:pt x="678" y="53"/>
                </a:cubicBezTo>
                <a:cubicBezTo>
                  <a:pt x="678" y="24"/>
                  <a:pt x="655" y="0"/>
                  <a:pt x="625" y="0"/>
                </a:cubicBezTo>
                <a:cubicBezTo>
                  <a:pt x="580" y="0"/>
                  <a:pt x="580" y="0"/>
                  <a:pt x="580" y="0"/>
                </a:cubicBezTo>
                <a:cubicBezTo>
                  <a:pt x="551" y="0"/>
                  <a:pt x="527" y="24"/>
                  <a:pt x="527" y="53"/>
                </a:cubicBezTo>
                <a:cubicBezTo>
                  <a:pt x="527" y="266"/>
                  <a:pt x="527" y="266"/>
                  <a:pt x="527" y="266"/>
                </a:cubicBezTo>
                <a:cubicBezTo>
                  <a:pt x="527" y="290"/>
                  <a:pt x="543" y="310"/>
                  <a:pt x="565" y="317"/>
                </a:cubicBezTo>
                <a:cubicBezTo>
                  <a:pt x="565" y="374"/>
                  <a:pt x="565" y="374"/>
                  <a:pt x="565" y="374"/>
                </a:cubicBezTo>
                <a:cubicBezTo>
                  <a:pt x="455" y="393"/>
                  <a:pt x="371" y="488"/>
                  <a:pt x="371" y="602"/>
                </a:cubicBezTo>
                <a:cubicBezTo>
                  <a:pt x="371" y="676"/>
                  <a:pt x="405" y="741"/>
                  <a:pt x="459" y="783"/>
                </a:cubicBezTo>
                <a:cubicBezTo>
                  <a:pt x="462" y="786"/>
                  <a:pt x="465" y="788"/>
                  <a:pt x="468" y="790"/>
                </a:cubicBezTo>
                <a:cubicBezTo>
                  <a:pt x="470" y="792"/>
                  <a:pt x="473" y="794"/>
                  <a:pt x="475" y="795"/>
                </a:cubicBezTo>
                <a:cubicBezTo>
                  <a:pt x="475" y="796"/>
                  <a:pt x="476" y="797"/>
                  <a:pt x="476" y="798"/>
                </a:cubicBezTo>
                <a:cubicBezTo>
                  <a:pt x="466" y="805"/>
                  <a:pt x="458" y="815"/>
                  <a:pt x="455" y="828"/>
                </a:cubicBezTo>
                <a:cubicBezTo>
                  <a:pt x="307" y="1406"/>
                  <a:pt x="307" y="1406"/>
                  <a:pt x="307" y="1406"/>
                </a:cubicBezTo>
                <a:cubicBezTo>
                  <a:pt x="296" y="1448"/>
                  <a:pt x="296" y="1448"/>
                  <a:pt x="296" y="1448"/>
                </a:cubicBezTo>
                <a:cubicBezTo>
                  <a:pt x="66" y="2346"/>
                  <a:pt x="66" y="2346"/>
                  <a:pt x="66" y="2346"/>
                </a:cubicBezTo>
                <a:cubicBezTo>
                  <a:pt x="43" y="2452"/>
                  <a:pt x="72" y="2512"/>
                  <a:pt x="97" y="2527"/>
                </a:cubicBezTo>
                <a:cubicBezTo>
                  <a:pt x="97" y="2531"/>
                  <a:pt x="97" y="2535"/>
                  <a:pt x="96" y="2538"/>
                </a:cubicBezTo>
                <a:cubicBezTo>
                  <a:pt x="96" y="2542"/>
                  <a:pt x="96" y="2546"/>
                  <a:pt x="96" y="2549"/>
                </a:cubicBezTo>
                <a:cubicBezTo>
                  <a:pt x="90" y="2637"/>
                  <a:pt x="106" y="2710"/>
                  <a:pt x="106" y="2710"/>
                </a:cubicBezTo>
                <a:cubicBezTo>
                  <a:pt x="140" y="2556"/>
                  <a:pt x="140" y="2556"/>
                  <a:pt x="140" y="2556"/>
                </a:cubicBezTo>
                <a:cubicBezTo>
                  <a:pt x="142" y="2544"/>
                  <a:pt x="142" y="2544"/>
                  <a:pt x="142" y="2544"/>
                </a:cubicBezTo>
                <a:cubicBezTo>
                  <a:pt x="145" y="2533"/>
                  <a:pt x="145" y="2533"/>
                  <a:pt x="145" y="2533"/>
                </a:cubicBezTo>
                <a:cubicBezTo>
                  <a:pt x="162" y="2528"/>
                  <a:pt x="176" y="2515"/>
                  <a:pt x="180" y="2496"/>
                </a:cubicBezTo>
                <a:cubicBezTo>
                  <a:pt x="193" y="2446"/>
                  <a:pt x="193" y="2446"/>
                  <a:pt x="193" y="2446"/>
                </a:cubicBezTo>
                <a:cubicBezTo>
                  <a:pt x="189" y="2446"/>
                  <a:pt x="185" y="2446"/>
                  <a:pt x="182" y="2445"/>
                </a:cubicBezTo>
                <a:cubicBezTo>
                  <a:pt x="128" y="2433"/>
                  <a:pt x="93" y="2380"/>
                  <a:pt x="105" y="2325"/>
                </a:cubicBezTo>
                <a:cubicBezTo>
                  <a:pt x="115" y="2280"/>
                  <a:pt x="156" y="2246"/>
                  <a:pt x="203" y="2246"/>
                </a:cubicBezTo>
                <a:cubicBezTo>
                  <a:pt x="210" y="2246"/>
                  <a:pt x="217" y="2247"/>
                  <a:pt x="224" y="2249"/>
                </a:cubicBezTo>
                <a:cubicBezTo>
                  <a:pt x="231" y="2250"/>
                  <a:pt x="237" y="2252"/>
                  <a:pt x="243" y="2255"/>
                </a:cubicBezTo>
                <a:cubicBezTo>
                  <a:pt x="397" y="1674"/>
                  <a:pt x="397" y="1674"/>
                  <a:pt x="397" y="1674"/>
                </a:cubicBezTo>
                <a:cubicBezTo>
                  <a:pt x="402" y="1651"/>
                  <a:pt x="411" y="1621"/>
                  <a:pt x="411" y="1598"/>
                </a:cubicBezTo>
                <a:cubicBezTo>
                  <a:pt x="411" y="1585"/>
                  <a:pt x="414" y="1570"/>
                  <a:pt x="416" y="1558"/>
                </a:cubicBezTo>
                <a:cubicBezTo>
                  <a:pt x="440" y="1448"/>
                  <a:pt x="440" y="1448"/>
                  <a:pt x="440" y="1448"/>
                </a:cubicBezTo>
                <a:cubicBezTo>
                  <a:pt x="449" y="1406"/>
                  <a:pt x="449" y="1406"/>
                  <a:pt x="449" y="1406"/>
                </a:cubicBezTo>
                <a:cubicBezTo>
                  <a:pt x="477" y="1279"/>
                  <a:pt x="477" y="1279"/>
                  <a:pt x="477" y="1279"/>
                </a:cubicBezTo>
                <a:cubicBezTo>
                  <a:pt x="479" y="1267"/>
                  <a:pt x="483" y="1252"/>
                  <a:pt x="489" y="1240"/>
                </a:cubicBezTo>
                <a:cubicBezTo>
                  <a:pt x="498" y="1220"/>
                  <a:pt x="521" y="1197"/>
                  <a:pt x="526" y="1174"/>
                </a:cubicBezTo>
                <a:cubicBezTo>
                  <a:pt x="581" y="920"/>
                  <a:pt x="581" y="920"/>
                  <a:pt x="581" y="920"/>
                </a:cubicBezTo>
                <a:cubicBezTo>
                  <a:pt x="589" y="921"/>
                  <a:pt x="596" y="922"/>
                  <a:pt x="604" y="922"/>
                </a:cubicBezTo>
                <a:cubicBezTo>
                  <a:pt x="611" y="922"/>
                  <a:pt x="618" y="921"/>
                  <a:pt x="624" y="920"/>
                </a:cubicBezTo>
                <a:cubicBezTo>
                  <a:pt x="679" y="1174"/>
                  <a:pt x="679" y="1174"/>
                  <a:pt x="679" y="1174"/>
                </a:cubicBezTo>
                <a:cubicBezTo>
                  <a:pt x="684" y="1197"/>
                  <a:pt x="708" y="1220"/>
                  <a:pt x="717" y="1240"/>
                </a:cubicBezTo>
                <a:cubicBezTo>
                  <a:pt x="722" y="1252"/>
                  <a:pt x="726" y="1267"/>
                  <a:pt x="728" y="1279"/>
                </a:cubicBezTo>
                <a:cubicBezTo>
                  <a:pt x="756" y="1406"/>
                  <a:pt x="756" y="1406"/>
                  <a:pt x="756" y="1406"/>
                </a:cubicBezTo>
                <a:cubicBezTo>
                  <a:pt x="765" y="1448"/>
                  <a:pt x="765" y="1448"/>
                  <a:pt x="765" y="1448"/>
                </a:cubicBezTo>
                <a:cubicBezTo>
                  <a:pt x="789" y="1558"/>
                  <a:pt x="789" y="1558"/>
                  <a:pt x="789" y="1558"/>
                </a:cubicBezTo>
                <a:cubicBezTo>
                  <a:pt x="792" y="1570"/>
                  <a:pt x="794" y="1585"/>
                  <a:pt x="794" y="1598"/>
                </a:cubicBezTo>
                <a:cubicBezTo>
                  <a:pt x="794" y="1621"/>
                  <a:pt x="804" y="1651"/>
                  <a:pt x="809" y="1674"/>
                </a:cubicBezTo>
                <a:cubicBezTo>
                  <a:pt x="962" y="2255"/>
                  <a:pt x="962" y="2255"/>
                  <a:pt x="962" y="2255"/>
                </a:cubicBezTo>
                <a:cubicBezTo>
                  <a:pt x="968" y="2252"/>
                  <a:pt x="974" y="2250"/>
                  <a:pt x="981" y="2249"/>
                </a:cubicBezTo>
                <a:cubicBezTo>
                  <a:pt x="988" y="2247"/>
                  <a:pt x="995" y="2246"/>
                  <a:pt x="1002" y="2246"/>
                </a:cubicBezTo>
                <a:cubicBezTo>
                  <a:pt x="1049" y="2246"/>
                  <a:pt x="1091" y="2280"/>
                  <a:pt x="1100" y="2325"/>
                </a:cubicBezTo>
                <a:cubicBezTo>
                  <a:pt x="1112" y="2380"/>
                  <a:pt x="1078" y="2433"/>
                  <a:pt x="1024" y="2445"/>
                </a:cubicBezTo>
                <a:cubicBezTo>
                  <a:pt x="1020" y="2446"/>
                  <a:pt x="1016" y="2446"/>
                  <a:pt x="1012" y="2446"/>
                </a:cubicBezTo>
                <a:cubicBezTo>
                  <a:pt x="1025" y="2496"/>
                  <a:pt x="1025" y="2496"/>
                  <a:pt x="1025" y="2496"/>
                </a:cubicBezTo>
                <a:cubicBezTo>
                  <a:pt x="1030" y="2515"/>
                  <a:pt x="1044" y="2528"/>
                  <a:pt x="1061" y="2533"/>
                </a:cubicBezTo>
                <a:cubicBezTo>
                  <a:pt x="1063" y="2544"/>
                  <a:pt x="1063" y="2544"/>
                  <a:pt x="1063" y="2544"/>
                </a:cubicBezTo>
                <a:cubicBezTo>
                  <a:pt x="1066" y="2556"/>
                  <a:pt x="1066" y="2556"/>
                  <a:pt x="1066" y="2556"/>
                </a:cubicBezTo>
                <a:cubicBezTo>
                  <a:pt x="1099" y="2710"/>
                  <a:pt x="1099" y="2710"/>
                  <a:pt x="1099" y="2710"/>
                </a:cubicBezTo>
                <a:cubicBezTo>
                  <a:pt x="1099" y="2710"/>
                  <a:pt x="1115" y="2637"/>
                  <a:pt x="1110" y="2549"/>
                </a:cubicBezTo>
                <a:cubicBezTo>
                  <a:pt x="1110" y="2546"/>
                  <a:pt x="1109" y="2542"/>
                  <a:pt x="1109" y="2538"/>
                </a:cubicBezTo>
                <a:cubicBezTo>
                  <a:pt x="1109" y="2535"/>
                  <a:pt x="1108" y="2531"/>
                  <a:pt x="1108" y="2527"/>
                </a:cubicBezTo>
                <a:cubicBezTo>
                  <a:pt x="1134" y="2512"/>
                  <a:pt x="1162" y="2452"/>
                  <a:pt x="1139" y="2346"/>
                </a:cubicBezTo>
                <a:lnTo>
                  <a:pt x="909" y="1448"/>
                </a:lnTo>
                <a:close/>
                <a:moveTo>
                  <a:pt x="715" y="730"/>
                </a:moveTo>
                <a:cubicBezTo>
                  <a:pt x="693" y="691"/>
                  <a:pt x="652" y="665"/>
                  <a:pt x="604" y="665"/>
                </a:cubicBezTo>
                <a:cubicBezTo>
                  <a:pt x="556" y="665"/>
                  <a:pt x="514" y="692"/>
                  <a:pt x="492" y="731"/>
                </a:cubicBezTo>
                <a:cubicBezTo>
                  <a:pt x="455" y="700"/>
                  <a:pt x="431" y="654"/>
                  <a:pt x="431" y="602"/>
                </a:cubicBezTo>
                <a:cubicBezTo>
                  <a:pt x="431" y="508"/>
                  <a:pt x="508" y="431"/>
                  <a:pt x="603" y="431"/>
                </a:cubicBezTo>
                <a:cubicBezTo>
                  <a:pt x="697" y="431"/>
                  <a:pt x="774" y="508"/>
                  <a:pt x="774" y="602"/>
                </a:cubicBezTo>
                <a:cubicBezTo>
                  <a:pt x="774" y="653"/>
                  <a:pt x="751" y="699"/>
                  <a:pt x="715" y="730"/>
                </a:cubicBezTo>
                <a:close/>
                <a:moveTo>
                  <a:pt x="637" y="1406"/>
                </a:moveTo>
                <a:cubicBezTo>
                  <a:pt x="637" y="1284"/>
                  <a:pt x="637" y="1284"/>
                  <a:pt x="637" y="1284"/>
                </a:cubicBezTo>
                <a:cubicBezTo>
                  <a:pt x="637" y="1265"/>
                  <a:pt x="622" y="1249"/>
                  <a:pt x="603" y="1249"/>
                </a:cubicBezTo>
                <a:cubicBezTo>
                  <a:pt x="584" y="1249"/>
                  <a:pt x="568" y="1265"/>
                  <a:pt x="568" y="1284"/>
                </a:cubicBezTo>
                <a:cubicBezTo>
                  <a:pt x="568" y="1406"/>
                  <a:pt x="568" y="1406"/>
                  <a:pt x="568" y="1406"/>
                </a:cubicBezTo>
                <a:cubicBezTo>
                  <a:pt x="471" y="1406"/>
                  <a:pt x="471" y="1406"/>
                  <a:pt x="471" y="1406"/>
                </a:cubicBezTo>
                <a:cubicBezTo>
                  <a:pt x="462" y="1448"/>
                  <a:pt x="462" y="1448"/>
                  <a:pt x="462" y="1448"/>
                </a:cubicBezTo>
                <a:cubicBezTo>
                  <a:pt x="568" y="1448"/>
                  <a:pt x="568" y="1448"/>
                  <a:pt x="568" y="1448"/>
                </a:cubicBezTo>
                <a:cubicBezTo>
                  <a:pt x="568" y="1571"/>
                  <a:pt x="568" y="1571"/>
                  <a:pt x="568" y="1571"/>
                </a:cubicBezTo>
                <a:cubicBezTo>
                  <a:pt x="568" y="1590"/>
                  <a:pt x="584" y="1605"/>
                  <a:pt x="603" y="1605"/>
                </a:cubicBezTo>
                <a:cubicBezTo>
                  <a:pt x="622" y="1605"/>
                  <a:pt x="637" y="1590"/>
                  <a:pt x="637" y="1571"/>
                </a:cubicBezTo>
                <a:cubicBezTo>
                  <a:pt x="637" y="1448"/>
                  <a:pt x="637" y="1448"/>
                  <a:pt x="637" y="1448"/>
                </a:cubicBezTo>
                <a:cubicBezTo>
                  <a:pt x="744" y="1448"/>
                  <a:pt x="744" y="1448"/>
                  <a:pt x="744" y="1448"/>
                </a:cubicBezTo>
                <a:cubicBezTo>
                  <a:pt x="734" y="1406"/>
                  <a:pt x="734" y="1406"/>
                  <a:pt x="734" y="1406"/>
                </a:cubicBezTo>
                <a:lnTo>
                  <a:pt x="637" y="1406"/>
                </a:lnTo>
                <a:close/>
                <a:moveTo>
                  <a:pt x="1203" y="2340"/>
                </a:moveTo>
                <a:cubicBezTo>
                  <a:pt x="1178" y="2246"/>
                  <a:pt x="1178" y="2246"/>
                  <a:pt x="1178" y="2246"/>
                </a:cubicBezTo>
                <a:cubicBezTo>
                  <a:pt x="1176" y="2238"/>
                  <a:pt x="1168" y="2233"/>
                  <a:pt x="1160" y="2235"/>
                </a:cubicBezTo>
                <a:cubicBezTo>
                  <a:pt x="1148" y="2239"/>
                  <a:pt x="1148" y="2239"/>
                  <a:pt x="1148" y="2239"/>
                </a:cubicBezTo>
                <a:cubicBezTo>
                  <a:pt x="1141" y="2240"/>
                  <a:pt x="1137" y="2248"/>
                  <a:pt x="1138" y="2255"/>
                </a:cubicBezTo>
                <a:cubicBezTo>
                  <a:pt x="1138" y="2255"/>
                  <a:pt x="1138" y="2256"/>
                  <a:pt x="1138" y="2256"/>
                </a:cubicBezTo>
                <a:cubicBezTo>
                  <a:pt x="1145" y="2285"/>
                  <a:pt x="1145" y="2285"/>
                  <a:pt x="1145" y="2285"/>
                </a:cubicBezTo>
                <a:cubicBezTo>
                  <a:pt x="1163" y="2351"/>
                  <a:pt x="1163" y="2351"/>
                  <a:pt x="1163" y="2351"/>
                </a:cubicBezTo>
                <a:cubicBezTo>
                  <a:pt x="1165" y="2359"/>
                  <a:pt x="1173" y="2363"/>
                  <a:pt x="1181" y="2361"/>
                </a:cubicBezTo>
                <a:cubicBezTo>
                  <a:pt x="1193" y="2358"/>
                  <a:pt x="1193" y="2358"/>
                  <a:pt x="1193" y="2358"/>
                </a:cubicBezTo>
                <a:cubicBezTo>
                  <a:pt x="1201" y="2356"/>
                  <a:pt x="1205" y="2348"/>
                  <a:pt x="1203" y="2340"/>
                </a:cubicBezTo>
                <a:close/>
                <a:moveTo>
                  <a:pt x="1080" y="2330"/>
                </a:moveTo>
                <a:cubicBezTo>
                  <a:pt x="1072" y="2293"/>
                  <a:pt x="1039" y="2267"/>
                  <a:pt x="1002" y="2267"/>
                </a:cubicBezTo>
                <a:cubicBezTo>
                  <a:pt x="997" y="2267"/>
                  <a:pt x="991" y="2268"/>
                  <a:pt x="985" y="2269"/>
                </a:cubicBezTo>
                <a:cubicBezTo>
                  <a:pt x="979" y="2271"/>
                  <a:pt x="973" y="2273"/>
                  <a:pt x="967" y="2276"/>
                </a:cubicBezTo>
                <a:cubicBezTo>
                  <a:pt x="964" y="2277"/>
                  <a:pt x="961" y="2279"/>
                  <a:pt x="958" y="2281"/>
                </a:cubicBezTo>
                <a:cubicBezTo>
                  <a:pt x="955" y="2283"/>
                  <a:pt x="952" y="2286"/>
                  <a:pt x="949" y="2289"/>
                </a:cubicBezTo>
                <a:cubicBezTo>
                  <a:pt x="929" y="2307"/>
                  <a:pt x="918" y="2335"/>
                  <a:pt x="925" y="2364"/>
                </a:cubicBezTo>
                <a:cubicBezTo>
                  <a:pt x="931" y="2395"/>
                  <a:pt x="956" y="2417"/>
                  <a:pt x="985" y="2424"/>
                </a:cubicBezTo>
                <a:cubicBezTo>
                  <a:pt x="988" y="2425"/>
                  <a:pt x="992" y="2425"/>
                  <a:pt x="996" y="2426"/>
                </a:cubicBezTo>
                <a:cubicBezTo>
                  <a:pt x="998" y="2426"/>
                  <a:pt x="1000" y="2426"/>
                  <a:pt x="1002" y="2426"/>
                </a:cubicBezTo>
                <a:cubicBezTo>
                  <a:pt x="1004" y="2426"/>
                  <a:pt x="1005" y="2426"/>
                  <a:pt x="1007" y="2426"/>
                </a:cubicBezTo>
                <a:cubicBezTo>
                  <a:pt x="1011" y="2425"/>
                  <a:pt x="1015" y="2425"/>
                  <a:pt x="1019" y="2424"/>
                </a:cubicBezTo>
                <a:cubicBezTo>
                  <a:pt x="1062" y="2415"/>
                  <a:pt x="1089" y="2373"/>
                  <a:pt x="1080" y="233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solidFill>
                <a:srgbClr val="3A3A3A"/>
              </a:solidFill>
            </a:endParaRPr>
          </a:p>
        </p:txBody>
      </p:sp>
      <p:sp>
        <p:nvSpPr>
          <p:cNvPr id="17" name="Oval 16"/>
          <p:cNvSpPr/>
          <p:nvPr/>
        </p:nvSpPr>
        <p:spPr>
          <a:xfrm>
            <a:off x="2019284" y="2447111"/>
            <a:ext cx="2530080" cy="2530080"/>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86301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964D9122-7304-4ACD-A4A0-A55FB9B09894}"/>
              </a:ext>
            </a:extLst>
          </p:cNvPr>
          <p:cNvSpPr>
            <a:spLocks noGrp="1"/>
          </p:cNvSpPr>
          <p:nvPr>
            <p:ph type="pic" sz="quarter" idx="10"/>
          </p:nvPr>
        </p:nvSpPr>
        <p:spPr/>
      </p:sp>
      <p:sp>
        <p:nvSpPr>
          <p:cNvPr id="5" name="Title 4">
            <a:extLst>
              <a:ext uri="{FF2B5EF4-FFF2-40B4-BE49-F238E27FC236}">
                <a16:creationId xmlns:a16="http://schemas.microsoft.com/office/drawing/2014/main" id="{E6621B92-495A-4091-A8EC-412B6DDBF0A1}"/>
              </a:ext>
            </a:extLst>
          </p:cNvPr>
          <p:cNvSpPr>
            <a:spLocks noGrp="1"/>
          </p:cNvSpPr>
          <p:nvPr>
            <p:ph type="ctrTitle"/>
          </p:nvPr>
        </p:nvSpPr>
        <p:spPr>
          <a:xfrm>
            <a:off x="912874" y="4697963"/>
            <a:ext cx="10363200" cy="806939"/>
          </a:xfrm>
        </p:spPr>
        <p:txBody>
          <a:bodyPr/>
          <a:lstStyle/>
          <a:p>
            <a:r>
              <a:rPr lang="en-US" sz="4000" b="0" kern="1200" dirty="0">
                <a:latin typeface="+mn-lt"/>
                <a:ea typeface="+mn-ea"/>
                <a:cs typeface="+mn-cs"/>
              </a:rPr>
              <a:t>We are Protectors: </a:t>
            </a:r>
            <a:br>
              <a:rPr lang="en-US" sz="4000" b="0" kern="1200" dirty="0">
                <a:latin typeface="+mn-lt"/>
                <a:ea typeface="+mn-ea"/>
                <a:cs typeface="+mn-cs"/>
              </a:rPr>
            </a:br>
            <a:r>
              <a:rPr lang="en-US" sz="4000" b="0" kern="1200" dirty="0">
                <a:latin typeface="+mn-lt"/>
                <a:ea typeface="+mn-ea"/>
                <a:cs typeface="+mn-cs"/>
              </a:rPr>
              <a:t>Guarantees and Performance … as Expected</a:t>
            </a:r>
            <a:endParaRPr lang="en-US" sz="4000" dirty="0"/>
          </a:p>
        </p:txBody>
      </p:sp>
    </p:spTree>
    <p:extLst>
      <p:ext uri="{BB962C8B-B14F-4D97-AF65-F5344CB8AC3E}">
        <p14:creationId xmlns:p14="http://schemas.microsoft.com/office/powerpoint/2010/main" val="23365215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otective">
  <a:themeElements>
    <a:clrScheme name="Protective">
      <a:dk1>
        <a:srgbClr val="000000"/>
      </a:dk1>
      <a:lt1>
        <a:srgbClr val="FFFFFF"/>
      </a:lt1>
      <a:dk2>
        <a:srgbClr val="4C12A1"/>
      </a:dk2>
      <a:lt2>
        <a:srgbClr val="B2B2B2"/>
      </a:lt2>
      <a:accent1>
        <a:srgbClr val="4C12A1"/>
      </a:accent1>
      <a:accent2>
        <a:srgbClr val="50C3FF"/>
      </a:accent2>
      <a:accent3>
        <a:srgbClr val="7D55C7"/>
      </a:accent3>
      <a:accent4>
        <a:srgbClr val="FFAD00"/>
      </a:accent4>
      <a:accent5>
        <a:srgbClr val="DA281C"/>
      </a:accent5>
      <a:accent6>
        <a:srgbClr val="B2B2B2"/>
      </a:accent6>
      <a:hlink>
        <a:srgbClr val="4C12A1"/>
      </a:hlink>
      <a:folHlink>
        <a:srgbClr val="7D55C7"/>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9" id="{1F8EA845-C80A-C748-A4AC-DF430843374C}" vid="{5BAAC3EE-8736-4A4C-9615-A53CEDD6C85C}"/>
    </a:ext>
  </a:extLst>
</a:theme>
</file>

<file path=ppt/theme/theme2.xml><?xml version="1.0" encoding="utf-8"?>
<a:theme xmlns:a="http://schemas.openxmlformats.org/drawingml/2006/main" name="2_Protective">
  <a:themeElements>
    <a:clrScheme name="Protective">
      <a:dk1>
        <a:srgbClr val="000000"/>
      </a:dk1>
      <a:lt1>
        <a:srgbClr val="FFFFFF"/>
      </a:lt1>
      <a:dk2>
        <a:srgbClr val="4C12A1"/>
      </a:dk2>
      <a:lt2>
        <a:srgbClr val="B2B2B2"/>
      </a:lt2>
      <a:accent1>
        <a:srgbClr val="4C12A1"/>
      </a:accent1>
      <a:accent2>
        <a:srgbClr val="50C3FF"/>
      </a:accent2>
      <a:accent3>
        <a:srgbClr val="7D55C7"/>
      </a:accent3>
      <a:accent4>
        <a:srgbClr val="FFAD00"/>
      </a:accent4>
      <a:accent5>
        <a:srgbClr val="DA281C"/>
      </a:accent5>
      <a:accent6>
        <a:srgbClr val="B2B2B2"/>
      </a:accent6>
      <a:hlink>
        <a:srgbClr val="4C12A1"/>
      </a:hlink>
      <a:folHlink>
        <a:srgbClr val="7D55C7"/>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9" id="{1F8EA845-C80A-C748-A4AC-DF430843374C}" vid="{5BAAC3EE-8736-4A4C-9615-A53CEDD6C85C}"/>
    </a:ext>
  </a:extLst>
</a:theme>
</file>

<file path=ppt/theme/theme3.xml><?xml version="1.0" encoding="utf-8"?>
<a:theme xmlns:a="http://schemas.openxmlformats.org/drawingml/2006/main" name="3_Protective">
  <a:themeElements>
    <a:clrScheme name="Protective">
      <a:dk1>
        <a:srgbClr val="000000"/>
      </a:dk1>
      <a:lt1>
        <a:srgbClr val="FFFFFF"/>
      </a:lt1>
      <a:dk2>
        <a:srgbClr val="4C12A1"/>
      </a:dk2>
      <a:lt2>
        <a:srgbClr val="B2B2B2"/>
      </a:lt2>
      <a:accent1>
        <a:srgbClr val="4C12A1"/>
      </a:accent1>
      <a:accent2>
        <a:srgbClr val="50C3FF"/>
      </a:accent2>
      <a:accent3>
        <a:srgbClr val="7D55C7"/>
      </a:accent3>
      <a:accent4>
        <a:srgbClr val="FFAD00"/>
      </a:accent4>
      <a:accent5>
        <a:srgbClr val="DA281C"/>
      </a:accent5>
      <a:accent6>
        <a:srgbClr val="B2B2B2"/>
      </a:accent6>
      <a:hlink>
        <a:srgbClr val="4C12A1"/>
      </a:hlink>
      <a:folHlink>
        <a:srgbClr val="7D55C7"/>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9" id="{1F8EA845-C80A-C748-A4AC-DF430843374C}" vid="{5BAAC3EE-8736-4A4C-9615-A53CEDD6C85C}"/>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888</TotalTime>
  <Words>1718</Words>
  <Application>Microsoft Office PowerPoint</Application>
  <PresentationFormat>Widescreen</PresentationFormat>
  <Paragraphs>208</Paragraphs>
  <Slides>30</Slides>
  <Notes>15</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30</vt:i4>
      </vt:variant>
    </vt:vector>
  </HeadingPairs>
  <TitlesOfParts>
    <vt:vector size="42" baseType="lpstr">
      <vt:lpstr>Arial</vt:lpstr>
      <vt:lpstr>Calibri</vt:lpstr>
      <vt:lpstr>Courier New</vt:lpstr>
      <vt:lpstr>Gill Sans</vt:lpstr>
      <vt:lpstr>System Font Regular</vt:lpstr>
      <vt:lpstr>Times New Roman</vt:lpstr>
      <vt:lpstr>Wingdings</vt:lpstr>
      <vt:lpstr>Wingdings 3</vt:lpstr>
      <vt:lpstr>Protective</vt:lpstr>
      <vt:lpstr>2_Protective</vt:lpstr>
      <vt:lpstr>3_Protective</vt:lpstr>
      <vt:lpstr>think-cell Slide</vt:lpstr>
      <vt:lpstr>Protective Life: Protective Life and Levinson and Associates</vt:lpstr>
      <vt:lpstr>Agenda</vt:lpstr>
      <vt:lpstr>Why Life Insurance?</vt:lpstr>
      <vt:lpstr>We Are All Protectors: My Why</vt:lpstr>
      <vt:lpstr>Protective Life: Strength, Stability, Protection</vt:lpstr>
      <vt:lpstr>Protective at a Glance</vt:lpstr>
      <vt:lpstr>We Are Highly Rated</vt:lpstr>
      <vt:lpstr>The Protective Way</vt:lpstr>
      <vt:lpstr>We are Protectors:  Guarantees and Performance … as Expected</vt:lpstr>
      <vt:lpstr>Foundation of Protection: Custom Choice Term UL</vt:lpstr>
      <vt:lpstr>Level Pay Term</vt:lpstr>
      <vt:lpstr>Stepped Premium</vt:lpstr>
      <vt:lpstr>1035 Exchange to “Term”</vt:lpstr>
      <vt:lpstr>Foundation of Protection: Classic Choice Term</vt:lpstr>
      <vt:lpstr>Foundation: Classic Choice Term</vt:lpstr>
      <vt:lpstr>We are Protectors:  Guaranteed Death Benefit UL</vt:lpstr>
      <vt:lpstr>Diminishing GUL Offerings</vt:lpstr>
      <vt:lpstr>Protection from Foundation to Lifetime:  Guaranteed Death Benefit UL (GUL)      -  Lifetime Assurance GUL      -  Advantage Choice GUL      -  Index Choice G – IUL   All Designed to be low-priced, and perform as the agent and the customer expected them to perform when they were originally sold – no surprises.  </vt:lpstr>
      <vt:lpstr>       GUL Product Positioning</vt:lpstr>
      <vt:lpstr>Protective Lifetime AssuranceSM UL</vt:lpstr>
      <vt:lpstr>Return of Premium Endorsement</vt:lpstr>
      <vt:lpstr>PowerPoint Presentation</vt:lpstr>
      <vt:lpstr>We are Protectors:  Index Choice UL – Guaranteed Death Benefit with Cash</vt:lpstr>
      <vt:lpstr>Foundation of Protection: Index Choice G-IUL</vt:lpstr>
      <vt:lpstr>Foundation of Protection: Advantage Choice GUL</vt:lpstr>
      <vt:lpstr>We are Protectors:  Extend Care Rider – Chronic Illness</vt:lpstr>
      <vt:lpstr>PowerPoint Presentation</vt:lpstr>
      <vt:lpstr>My Story: Elder Care</vt:lpstr>
      <vt:lpstr>Foundation of Protection: Extend Care, Chronic Illness Rider</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tective Life: Protecting Clients with the Extend Care Rider</dc:title>
  <dc:creator>Salamon, Christopher</dc:creator>
  <cp:lastModifiedBy>Salamon, Christopher</cp:lastModifiedBy>
  <cp:revision>18</cp:revision>
  <dcterms:created xsi:type="dcterms:W3CDTF">2022-02-07T19:04:52Z</dcterms:created>
  <dcterms:modified xsi:type="dcterms:W3CDTF">2022-04-06T02:00:50Z</dcterms:modified>
</cp:coreProperties>
</file>